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6" r:id="rId2"/>
    <p:sldMasterId id="2147483684" r:id="rId3"/>
    <p:sldMasterId id="2147483708" r:id="rId4"/>
    <p:sldMasterId id="2147483720" r:id="rId5"/>
    <p:sldMasterId id="2147483728" r:id="rId6"/>
    <p:sldMasterId id="2147483737" r:id="rId7"/>
  </p:sldMasterIdLst>
  <p:notesMasterIdLst>
    <p:notesMasterId r:id="rId32"/>
  </p:notesMasterIdLst>
  <p:sldIdLst>
    <p:sldId id="264" r:id="rId8"/>
    <p:sldId id="265" r:id="rId9"/>
    <p:sldId id="2147482139" r:id="rId10"/>
    <p:sldId id="2147482138" r:id="rId11"/>
    <p:sldId id="2147482142" r:id="rId12"/>
    <p:sldId id="2147482146" r:id="rId13"/>
    <p:sldId id="2147482147" r:id="rId14"/>
    <p:sldId id="2141411678" r:id="rId15"/>
    <p:sldId id="2147482143" r:id="rId16"/>
    <p:sldId id="2147482148" r:id="rId17"/>
    <p:sldId id="2147482150" r:id="rId18"/>
    <p:sldId id="2147482157" r:id="rId19"/>
    <p:sldId id="2147482154" r:id="rId20"/>
    <p:sldId id="2147482152" r:id="rId21"/>
    <p:sldId id="2141411679" r:id="rId22"/>
    <p:sldId id="2147482153" r:id="rId23"/>
    <p:sldId id="2147479528" r:id="rId24"/>
    <p:sldId id="2141411153" r:id="rId25"/>
    <p:sldId id="2147482136" r:id="rId26"/>
    <p:sldId id="2147479898" r:id="rId27"/>
    <p:sldId id="2147482151" r:id="rId28"/>
    <p:sldId id="376" r:id="rId29"/>
    <p:sldId id="2147482155" r:id="rId30"/>
    <p:sldId id="2147482156" r:id="rId31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F7D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FEB44B5-38C7-4AA4-BC05-EC20BBC7386B}" v="734" dt="2025-11-16T19:17:29.34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950" autoAdjust="0"/>
    <p:restoredTop sz="94643"/>
  </p:normalViewPr>
  <p:slideViewPr>
    <p:cSldViewPr>
      <p:cViewPr varScale="1">
        <p:scale>
          <a:sx n="100" d="100"/>
          <a:sy n="100" d="100"/>
        </p:scale>
        <p:origin x="368" y="16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/>
              <a:t>All Heart Failure (US)</a:t>
            </a:r>
          </a:p>
          <a:p>
            <a:pPr>
              <a:defRPr sz="2400"/>
            </a:pPr>
            <a:r>
              <a:rPr lang="en-US" sz="1600" dirty="0"/>
              <a:t>7.3M</a:t>
            </a:r>
            <a:r>
              <a:rPr lang="en-US" sz="1600" baseline="30000" dirty="0"/>
              <a:t>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8882750984251967E-2"/>
          <c:y val="0.20933387729415365"/>
          <c:w val="0.88972268700787405"/>
          <c:h val="0.693799550437722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HFrEF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3:$A$6</c:f>
              <c:strCache>
                <c:ptCount val="4"/>
                <c:pt idx="0">
                  <c:v>Class IV</c:v>
                </c:pt>
                <c:pt idx="1">
                  <c:v>Class III</c:v>
                </c:pt>
                <c:pt idx="2">
                  <c:v>Class II</c:v>
                </c:pt>
                <c:pt idx="3">
                  <c:v>Class I</c:v>
                </c:pt>
              </c:strCache>
            </c:strRef>
          </c:cat>
          <c:val>
            <c:numRef>
              <c:f>Sheet1!$B$3:$B$6</c:f>
              <c:numCache>
                <c:formatCode>#,##0</c:formatCode>
                <c:ptCount val="4"/>
                <c:pt idx="0">
                  <c:v>356693.60565380583</c:v>
                </c:pt>
                <c:pt idx="1">
                  <c:v>1272248.3346295608</c:v>
                </c:pt>
                <c:pt idx="2">
                  <c:v>1576486.9982754539</c:v>
                </c:pt>
                <c:pt idx="3">
                  <c:v>444571.061441179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73-4176-BC9D-FFE4F9EC4D80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HFpEF</c:v>
                </c:pt>
              </c:strCache>
            </c:strRef>
          </c:tx>
          <c:spPr>
            <a:solidFill>
              <a:srgbClr val="00A1E3"/>
            </a:solidFill>
            <a:ln>
              <a:noFill/>
            </a:ln>
            <a:effectLst/>
          </c:spPr>
          <c:invertIfNegative val="0"/>
          <c:cat>
            <c:strRef>
              <c:f>Sheet1!$A$3:$A$6</c:f>
              <c:strCache>
                <c:ptCount val="4"/>
                <c:pt idx="0">
                  <c:v>Class IV</c:v>
                </c:pt>
                <c:pt idx="1">
                  <c:v>Class III</c:v>
                </c:pt>
                <c:pt idx="2">
                  <c:v>Class II</c:v>
                </c:pt>
                <c:pt idx="3">
                  <c:v>Class I</c:v>
                </c:pt>
              </c:strCache>
            </c:strRef>
          </c:cat>
          <c:val>
            <c:numRef>
              <c:f>Sheet1!$C$3:$C$6</c:f>
              <c:numCache>
                <c:formatCode>#,##0</c:formatCode>
                <c:ptCount val="4"/>
                <c:pt idx="0">
                  <c:v>-356693.60565380583</c:v>
                </c:pt>
                <c:pt idx="1">
                  <c:v>-1272248.3346295608</c:v>
                </c:pt>
                <c:pt idx="2">
                  <c:v>-1576486.9982754539</c:v>
                </c:pt>
                <c:pt idx="3">
                  <c:v>-444571.061441179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73-4176-BC9D-FFE4F9EC4D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06875647"/>
        <c:axId val="606856927"/>
      </c:barChart>
      <c:catAx>
        <c:axId val="60687564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06856927"/>
        <c:crosses val="autoZero"/>
        <c:auto val="1"/>
        <c:lblAlgn val="ctr"/>
        <c:lblOffset val="100"/>
        <c:noMultiLvlLbl val="0"/>
      </c:catAx>
      <c:valAx>
        <c:axId val="606856927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60687564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b="0" i="0" baseline="0" dirty="0">
                <a:effectLst/>
              </a:rPr>
              <a:t>NYHA II &amp; III </a:t>
            </a:r>
            <a:endParaRPr lang="en-US" sz="2400" dirty="0">
              <a:effectLst/>
            </a:endParaRPr>
          </a:p>
          <a:p>
            <a:pPr>
              <a:defRPr sz="1600"/>
            </a:pPr>
            <a:r>
              <a:rPr lang="en-US" sz="1600" b="0" i="0" baseline="0" dirty="0">
                <a:effectLst/>
              </a:rPr>
              <a:t>HFrEF = 2.85M</a:t>
            </a:r>
            <a:endParaRPr lang="en-US" sz="16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2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chemeClr val="bg1">
                  <a:lumMod val="85000"/>
                </a:schemeClr>
              </a:solidFill>
            </a:ln>
          </c:spPr>
          <c:explosion val="1"/>
          <c:dPt>
            <c:idx val="0"/>
            <c:bubble3D val="0"/>
            <c:explosion val="0"/>
            <c:spPr>
              <a:solidFill>
                <a:schemeClr val="bg1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DAE-472F-97A0-DCAD70338ADB}"/>
              </c:ext>
            </c:extLst>
          </c:dPt>
          <c:dPt>
            <c:idx val="1"/>
            <c:bubble3D val="0"/>
            <c:explosion val="0"/>
            <c:spPr>
              <a:solidFill>
                <a:srgbClr val="92D050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DAE-472F-97A0-DCAD70338ADB}"/>
              </c:ext>
            </c:extLst>
          </c:dPt>
          <c:dPt>
            <c:idx val="2"/>
            <c:bubble3D val="0"/>
            <c:explosion val="0"/>
            <c:spPr>
              <a:solidFill>
                <a:srgbClr val="D6DCE5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DAE-472F-97A0-DCAD70338ADB}"/>
              </c:ext>
            </c:extLst>
          </c:dPt>
          <c:dLbls>
            <c:dLbl>
              <c:idx val="0"/>
              <c:layout>
                <c:manualLayout>
                  <c:x val="-0.22171436886279258"/>
                  <c:y val="-0.19317878425183121"/>
                </c:manualLayout>
              </c:layout>
              <c:tx>
                <c:rich>
                  <a:bodyPr/>
                  <a:lstStyle/>
                  <a:p>
                    <a:fld id="{F88C2CC0-52CE-4233-9D49-55838C6500B9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</a:p>
                  <a:p>
                    <a:fld id="{70C1044F-1B31-4865-8224-0D6824B233FE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121048720765333"/>
                      <c:h val="0.1479115168972976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DAE-472F-97A0-DCAD70338ADB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0.27172826386428939"/>
                      <c:h val="0.101490943368126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4DAE-472F-97A0-DCAD70338ADB}"/>
                </c:ext>
              </c:extLst>
            </c:dLbl>
            <c:dLbl>
              <c:idx val="2"/>
              <c:layout>
                <c:manualLayout>
                  <c:x val="0.15853373742144553"/>
                  <c:y val="0.1825197832874129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DAE-472F-97A0-DCAD70338A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3:$A$5</c:f>
              <c:strCache>
                <c:ptCount val="3"/>
                <c:pt idx="0">
                  <c:v>No Option</c:v>
                </c:pt>
                <c:pt idx="1">
                  <c:v>CCM</c:v>
                </c:pt>
                <c:pt idx="2">
                  <c:v>CRT</c:v>
                </c:pt>
              </c:strCache>
            </c:strRef>
          </c:cat>
          <c:val>
            <c:numRef>
              <c:f>Sheet1!$B$3:$B$5</c:f>
              <c:numCache>
                <c:formatCode>#,##0</c:formatCode>
                <c:ptCount val="3"/>
                <c:pt idx="0">
                  <c:v>2394879.5</c:v>
                </c:pt>
                <c:pt idx="1">
                  <c:v>0</c:v>
                </c:pt>
                <c:pt idx="2">
                  <c:v>4538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DAE-472F-97A0-DCAD70338ADB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Column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4DAE-472F-97A0-DCAD70338AD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4DAE-472F-97A0-DCAD70338AD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4DAE-472F-97A0-DCAD70338ADB}"/>
              </c:ext>
            </c:extLst>
          </c:dPt>
          <c:cat>
            <c:strRef>
              <c:f>Sheet1!$A$3:$A$5</c:f>
              <c:strCache>
                <c:ptCount val="3"/>
                <c:pt idx="0">
                  <c:v>No Option</c:v>
                </c:pt>
                <c:pt idx="1">
                  <c:v>CCM</c:v>
                </c:pt>
                <c:pt idx="2">
                  <c:v>CRT</c:v>
                </c:pt>
              </c:strCache>
            </c:strRef>
          </c:cat>
          <c:val>
            <c:numRef>
              <c:f>Sheet1!$C$3:$C$5</c:f>
              <c:numCache>
                <c:formatCode>0.00%</c:formatCode>
                <c:ptCount val="3"/>
                <c:pt idx="0">
                  <c:v>0.83330000000000004</c:v>
                </c:pt>
                <c:pt idx="1">
                  <c:v>0</c:v>
                </c:pt>
                <c:pt idx="2">
                  <c:v>0.16666666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DAE-472F-97A0-DCAD70338A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871915914737577E-3"/>
          <c:y val="6.9144103107273924E-2"/>
          <c:w val="0.95830621419393192"/>
          <c:h val="0.819131589116632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R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0.9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07AF-4792-A6E6-95FFF8F1E93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2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07AF-4792-A6E6-95FFF8F1E93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67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07AF-4792-A6E6-95FFF8F1E9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eak Vo2 (ml/kg/min)</c:v>
                </c:pt>
                <c:pt idx="1">
                  <c:v>MLWHFQ (points)
Clinically Meaningful @ 5 Points</c:v>
                </c:pt>
                <c:pt idx="2">
                  <c:v>6MHW (meters)
Clinically Meaningful @ 25M</c:v>
                </c:pt>
                <c:pt idx="3">
                  <c:v>NYHA (% Improving ≥ 1 Class)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55</c:v>
                </c:pt>
                <c:pt idx="1">
                  <c:v>9.5</c:v>
                </c:pt>
                <c:pt idx="2">
                  <c:v>6.666666666666667</c:v>
                </c:pt>
                <c:pt idx="3">
                  <c:v>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AF-4792-A6E6-95FFF8F1E93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C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200" dirty="0"/>
                      <a:t>0.8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07AF-4792-A6E6-95FFF8F1E93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33.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07AF-4792-A6E6-95FFF8F1E93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81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07AF-4792-A6E6-95FFF8F1E9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eak Vo2 (ml/kg/min)</c:v>
                </c:pt>
                <c:pt idx="1">
                  <c:v>MLWHFQ (points)
Clinically Meaningful @ 5 Points</c:v>
                </c:pt>
                <c:pt idx="2">
                  <c:v>6MHW (meters)
Clinically Meaningful @ 25M</c:v>
                </c:pt>
                <c:pt idx="3">
                  <c:v>NYHA (% Improving ≥ 1 Class)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.2</c:v>
                </c:pt>
                <c:pt idx="1">
                  <c:v>11.7</c:v>
                </c:pt>
                <c:pt idx="2">
                  <c:v>11.333333333333334</c:v>
                </c:pt>
                <c:pt idx="3">
                  <c:v>8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7AF-4792-A6E6-95FFF8F1E93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.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6336-4D4D-B643-43A54E3BC35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6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368B-4E4C-9FD8-4838D973EF2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6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368B-4E4C-9FD8-4838D973EF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eak Vo2 (ml/kg/min)</c:v>
                </c:pt>
                <c:pt idx="1">
                  <c:v>MLWHFQ (points)
Clinically Meaningful @ 5 Points</c:v>
                </c:pt>
                <c:pt idx="2">
                  <c:v>6MHW (meters)
Clinically Meaningful @ 25M</c:v>
                </c:pt>
                <c:pt idx="3">
                  <c:v>NYHA (% Improving ≥ 1 Class)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1">
                  <c:v>10</c:v>
                </c:pt>
                <c:pt idx="2">
                  <c:v>21</c:v>
                </c:pt>
                <c:pt idx="3">
                  <c:v>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7AF-4792-A6E6-95FFF8F1E9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10"/>
        <c:axId val="2140118015"/>
        <c:axId val="2140119663"/>
      </c:barChart>
      <c:catAx>
        <c:axId val="2140118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0119663"/>
        <c:crosses val="autoZero"/>
        <c:auto val="1"/>
        <c:lblAlgn val="ctr"/>
        <c:lblOffset val="100"/>
        <c:noMultiLvlLbl val="0"/>
      </c:catAx>
      <c:valAx>
        <c:axId val="2140119663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0118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9728BE-A7A1-0242-AB2A-977EE0F11976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C1EED9-69AB-0F40-931D-7D6314A5F9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0055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C1EED9-69AB-0F40-931D-7D6314A5F9A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628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8F3A2C-36F4-3257-66A8-60E10B71C6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9A75CD1-505E-6C63-4863-513861531A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630FD8-C394-4B87-0B5B-33EBC0CFBA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FE8B21-196C-0DB2-AA89-87A6FAFF20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C1EED9-69AB-0F40-931D-7D6314A5F9A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640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6BF742-30FD-7BAD-F87C-A215028C78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A0ABB5-CD56-71B4-F7C4-F1C80A7965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05F18D-05E7-2003-32B8-99735A52D5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FF0809-BDC4-B05D-CFA3-BB6A0E332F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1EED9-69AB-0F40-931D-7D6314A5F9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0024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573088"/>
            <a:ext cx="4654550" cy="2617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"/>
            </a:pPr>
            <a:r>
              <a:rPr lang="en-US" sz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arly intervention, like in A-fib, leads to better outcomes, and the same applies to heart failure.</a:t>
            </a:r>
            <a:endParaRPr lang="en-US" sz="1800" dirty="0">
              <a:solidFill>
                <a:srgbClr val="00000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"/>
            </a:pPr>
            <a:r>
              <a:rPr lang="en-US" sz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tients with higher ejection fractions who received CCM therapy showed significantly greater improvements in functional capacity and quality of life.</a:t>
            </a:r>
            <a:endParaRPr lang="en-US" sz="1800" dirty="0">
              <a:solidFill>
                <a:srgbClr val="0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"/>
            </a:pPr>
            <a:r>
              <a:rPr lang="en-US" sz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is reinforces the importance of timely intervention for optimal clinical respons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529">
              <a:defRPr/>
            </a:pPr>
            <a:fld id="{6EFB50BD-5ECE-4031-BD55-494D4EAE407C}" type="slidenum">
              <a:rPr lang="en-US" sz="1300">
                <a:solidFill>
                  <a:prstClr val="black"/>
                </a:solidFill>
                <a:latin typeface="Calibri" panose="020F0502020204030204"/>
              </a:rPr>
              <a:pPr defTabSz="966529">
                <a:defRPr/>
              </a:pPr>
              <a:t>15</a:t>
            </a:fld>
            <a:endParaRPr lang="en-US" sz="13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253617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D945CB-3E85-4306-51EE-74AB6FF864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C16301-A1B7-23C6-9E7F-11B47D8559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FB177F-8FB7-C21A-C85C-1F040337AD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None/>
            </a:pPr>
            <a:r>
              <a:rPr lang="en-US" sz="1100" dirty="0">
                <a:solidFill>
                  <a:srgbClr val="000000"/>
                </a:solidFill>
                <a:effectLst/>
                <a:latin typeface="+mn-lt"/>
                <a:ea typeface="Calibri" panose="020F0502020204030204" pitchFamily="34" charset="0"/>
              </a:rPr>
              <a:t>The primary focus early on was ensuring CCM therapy did not increase mortality or morbidity, unlike inotropic therapy.</a:t>
            </a:r>
            <a:endParaRPr lang="en-US" sz="1100" dirty="0">
              <a:solidFill>
                <a:srgbClr val="000000"/>
              </a:solidFill>
              <a:effectLst/>
              <a:latin typeface="+mn-lt"/>
              <a:ea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0000"/>
                </a:solidFill>
                <a:effectLst/>
                <a:latin typeface="+mn-lt"/>
                <a:ea typeface="Calibri" panose="020F0502020204030204" pitchFamily="34" charset="0"/>
              </a:rPr>
              <a:t>In Europe, where CCM has been used since 2016 for patients with EF &lt;50%, data show no reduction in predicted survival (MAGGIC score) and a trend towards extended survival.</a:t>
            </a:r>
            <a:endParaRPr lang="en-US" sz="1100" dirty="0">
              <a:solidFill>
                <a:srgbClr val="000000"/>
              </a:solidFill>
              <a:effectLst/>
              <a:latin typeface="+mn-lt"/>
              <a:ea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0000"/>
                </a:solidFill>
                <a:effectLst/>
                <a:latin typeface="+mn-lt"/>
                <a:ea typeface="Calibri" panose="020F0502020204030204" pitchFamily="34" charset="0"/>
              </a:rPr>
              <a:t>A matched-control study in Hong Kong with sicker patients (EF &lt;45%) also showed no increase in mortality or morbidity, with a similar trend towards reduced events.</a:t>
            </a:r>
            <a:endParaRPr lang="en-US" sz="1100" dirty="0">
              <a:solidFill>
                <a:srgbClr val="000000"/>
              </a:solidFill>
              <a:effectLst/>
              <a:latin typeface="+mn-lt"/>
              <a:ea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BF33B5-578F-6D1B-A537-442699B21D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98B5F3-BE2A-C044-B773-99CB28D5AA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97077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+mn-cs"/>
              </a:rPr>
              <a:t>CRT is well-established for patients with LBBB and QRS &gt;150 ms, but it applies to a small subset of heart failure patients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+mn-cs"/>
              </a:rPr>
              <a:t>For those who don’t qualify for CRT, CCM now offers a strong alternative to improve symptoms and functional capacity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Times New Roman" panose="02020603050405020304" pitchFamily="18" charset="0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+mn-cs"/>
              </a:rPr>
              <a:t>For every one patient eligible for CRT, there are two who don’t qualify and could benefit from CCM instead of relying solely on a primary prevention ICD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Times New Roman" panose="02020603050405020304" pitchFamily="18" charset="0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+mn-cs"/>
              </a:rPr>
              <a:t>Patients with EF 25-45%, even with an ICD, can now get CCM to improve symptoms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+mn-cs"/>
              </a:rPr>
              <a:t>CCM also offers a solution for symptomatic patients who remain symptomatic despite CRT and are no longer receiving CCM therapy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98B5F3-BE2A-C044-B773-99CB28D5AA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29656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9A01E1-86AB-B741-94C7-22B4DFEFE09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505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w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AINT LUKE'S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974C06-D635-6840-86C4-CC118938EC92}" type="datetime1">
              <a:rPr lang="en-US" smtClean="0"/>
              <a:t>11/19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int Luke's White - 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465667"/>
            <a:ext cx="10972801" cy="832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 bwMode="auto">
          <a:xfrm>
            <a:off x="609600" y="1600201"/>
            <a:ext cx="10972801" cy="444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2197" y="6254752"/>
            <a:ext cx="460586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B763C13F-A3EC-4D41-8C52-AB98F40535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09600" y="6254752"/>
            <a:ext cx="603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235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aint Luke's White -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18376A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2197" y="6254752"/>
            <a:ext cx="460586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B763C13F-A3EC-4D41-8C52-AB98F40535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09600" y="6254752"/>
            <a:ext cx="603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2899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aint Luke's White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2197" y="6254752"/>
            <a:ext cx="460586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B763C13F-A3EC-4D41-8C52-AB98F40535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9650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White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18376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18376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872197" y="6254752"/>
            <a:ext cx="460586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B763C13F-A3EC-4D41-8C52-AB98F40535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609600" y="6254752"/>
            <a:ext cx="603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1086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White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2197" y="6254752"/>
            <a:ext cx="460586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B763C13F-A3EC-4D41-8C52-AB98F40535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09600" y="6254752"/>
            <a:ext cx="603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877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hit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2197" y="6254752"/>
            <a:ext cx="460586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B763C13F-A3EC-4D41-8C52-AB98F40535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09600" y="6254752"/>
            <a:ext cx="603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2854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White -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2197" y="6254752"/>
            <a:ext cx="460586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B763C13F-A3EC-4D41-8C52-AB98F40535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09600" y="6254752"/>
            <a:ext cx="603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590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White -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2197" y="6254752"/>
            <a:ext cx="460586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B763C13F-A3EC-4D41-8C52-AB98F40535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09600" y="6254752"/>
            <a:ext cx="603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0790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White - 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2197" y="6254752"/>
            <a:ext cx="460586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B763C13F-A3EC-4D41-8C52-AB98F40535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09600" y="6254752"/>
            <a:ext cx="603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9367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White - 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2197" y="6254752"/>
            <a:ext cx="460586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B763C13F-A3EC-4D41-8C52-AB98F40535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09600" y="6254752"/>
            <a:ext cx="603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5000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AINT LUKE'S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86FC50-A045-9745-B604-C1E5F7D071A8}" type="datetime1">
              <a:rPr lang="en-US" smtClean="0"/>
              <a:t>11/19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17BFF-E5A7-C04A-ADDF-378B1EE3C957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88427-4FE9-274E-A814-C442B9E6F9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847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rporate 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41"/>
          <p:cNvSpPr>
            <a:spLocks noGrp="1"/>
          </p:cNvSpPr>
          <p:nvPr>
            <p:ph type="title"/>
          </p:nvPr>
        </p:nvSpPr>
        <p:spPr>
          <a:xfrm>
            <a:off x="3335724" y="4605178"/>
            <a:ext cx="8447315" cy="920559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733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3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335724" y="5638673"/>
            <a:ext cx="5170632" cy="428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spcBef>
                <a:spcPct val="0"/>
              </a:spcBef>
              <a:buFont typeface="Wingdings" pitchFamily="2" charset="2"/>
              <a:buNone/>
              <a:defRPr sz="2667"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854958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rporate 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itle 41"/>
          <p:cNvSpPr>
            <a:spLocks noGrp="1"/>
          </p:cNvSpPr>
          <p:nvPr>
            <p:ph type="title"/>
          </p:nvPr>
        </p:nvSpPr>
        <p:spPr>
          <a:xfrm>
            <a:off x="3335724" y="4605178"/>
            <a:ext cx="8447315" cy="920559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733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3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335724" y="5638673"/>
            <a:ext cx="5170632" cy="428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spcBef>
                <a:spcPct val="0"/>
              </a:spcBef>
              <a:buFont typeface="Wingdings" pitchFamily="2" charset="2"/>
              <a:buNone/>
              <a:defRPr sz="2667"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3458597" y="3975266"/>
            <a:ext cx="3457207" cy="496575"/>
            <a:chOff x="487363" y="2840038"/>
            <a:chExt cx="8167687" cy="1173162"/>
          </a:xfrm>
        </p:grpSpPr>
        <p:sp>
          <p:nvSpPr>
            <p:cNvPr id="13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487363" y="2843213"/>
              <a:ext cx="8167687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531813" y="2892425"/>
              <a:ext cx="803275" cy="1068387"/>
            </a:xfrm>
            <a:custGeom>
              <a:avLst/>
              <a:gdLst>
                <a:gd name="T0" fmla="*/ 126 w 506"/>
                <a:gd name="T1" fmla="*/ 172 h 673"/>
                <a:gd name="T2" fmla="*/ 175 w 506"/>
                <a:gd name="T3" fmla="*/ 125 h 673"/>
                <a:gd name="T4" fmla="*/ 333 w 506"/>
                <a:gd name="T5" fmla="*/ 125 h 673"/>
                <a:gd name="T6" fmla="*/ 383 w 506"/>
                <a:gd name="T7" fmla="*/ 172 h 673"/>
                <a:gd name="T8" fmla="*/ 383 w 506"/>
                <a:gd name="T9" fmla="*/ 500 h 673"/>
                <a:gd name="T10" fmla="*/ 333 w 506"/>
                <a:gd name="T11" fmla="*/ 548 h 673"/>
                <a:gd name="T12" fmla="*/ 175 w 506"/>
                <a:gd name="T13" fmla="*/ 548 h 673"/>
                <a:gd name="T14" fmla="*/ 126 w 506"/>
                <a:gd name="T15" fmla="*/ 500 h 673"/>
                <a:gd name="T16" fmla="*/ 126 w 506"/>
                <a:gd name="T17" fmla="*/ 172 h 673"/>
                <a:gd name="T18" fmla="*/ 126 w 506"/>
                <a:gd name="T19" fmla="*/ 172 h 673"/>
                <a:gd name="T20" fmla="*/ 506 w 506"/>
                <a:gd name="T21" fmla="*/ 120 h 673"/>
                <a:gd name="T22" fmla="*/ 385 w 506"/>
                <a:gd name="T23" fmla="*/ 0 h 673"/>
                <a:gd name="T24" fmla="*/ 123 w 506"/>
                <a:gd name="T25" fmla="*/ 0 h 673"/>
                <a:gd name="T26" fmla="*/ 0 w 506"/>
                <a:gd name="T27" fmla="*/ 120 h 673"/>
                <a:gd name="T28" fmla="*/ 0 w 506"/>
                <a:gd name="T29" fmla="*/ 552 h 673"/>
                <a:gd name="T30" fmla="*/ 123 w 506"/>
                <a:gd name="T31" fmla="*/ 673 h 673"/>
                <a:gd name="T32" fmla="*/ 385 w 506"/>
                <a:gd name="T33" fmla="*/ 673 h 673"/>
                <a:gd name="T34" fmla="*/ 506 w 506"/>
                <a:gd name="T35" fmla="*/ 552 h 673"/>
                <a:gd name="T36" fmla="*/ 506 w 506"/>
                <a:gd name="T37" fmla="*/ 120 h 673"/>
                <a:gd name="T38" fmla="*/ 506 w 506"/>
                <a:gd name="T39" fmla="*/ 12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6" h="673">
                  <a:moveTo>
                    <a:pt x="126" y="172"/>
                  </a:moveTo>
                  <a:lnTo>
                    <a:pt x="175" y="125"/>
                  </a:lnTo>
                  <a:lnTo>
                    <a:pt x="333" y="125"/>
                  </a:lnTo>
                  <a:lnTo>
                    <a:pt x="383" y="172"/>
                  </a:lnTo>
                  <a:lnTo>
                    <a:pt x="383" y="500"/>
                  </a:lnTo>
                  <a:lnTo>
                    <a:pt x="333" y="548"/>
                  </a:lnTo>
                  <a:lnTo>
                    <a:pt x="175" y="548"/>
                  </a:lnTo>
                  <a:lnTo>
                    <a:pt x="126" y="500"/>
                  </a:lnTo>
                  <a:lnTo>
                    <a:pt x="126" y="172"/>
                  </a:lnTo>
                  <a:lnTo>
                    <a:pt x="126" y="172"/>
                  </a:lnTo>
                  <a:close/>
                  <a:moveTo>
                    <a:pt x="506" y="120"/>
                  </a:moveTo>
                  <a:lnTo>
                    <a:pt x="385" y="0"/>
                  </a:lnTo>
                  <a:lnTo>
                    <a:pt x="123" y="0"/>
                  </a:lnTo>
                  <a:lnTo>
                    <a:pt x="0" y="120"/>
                  </a:lnTo>
                  <a:lnTo>
                    <a:pt x="0" y="552"/>
                  </a:lnTo>
                  <a:lnTo>
                    <a:pt x="123" y="673"/>
                  </a:lnTo>
                  <a:lnTo>
                    <a:pt x="385" y="673"/>
                  </a:lnTo>
                  <a:lnTo>
                    <a:pt x="506" y="552"/>
                  </a:lnTo>
                  <a:lnTo>
                    <a:pt x="506" y="120"/>
                  </a:lnTo>
                  <a:lnTo>
                    <a:pt x="506" y="120"/>
                  </a:lnTo>
                  <a:close/>
                </a:path>
              </a:pathLst>
            </a:custGeom>
            <a:solidFill>
              <a:srgbClr val="BB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487363" y="2840038"/>
              <a:ext cx="8167687" cy="1169989"/>
            </a:xfrm>
            <a:custGeom>
              <a:avLst/>
              <a:gdLst>
                <a:gd name="T0" fmla="*/ 397 w 2178"/>
                <a:gd name="T1" fmla="*/ 289 h 312"/>
                <a:gd name="T2" fmla="*/ 430 w 2178"/>
                <a:gd name="T3" fmla="*/ 253 h 312"/>
                <a:gd name="T4" fmla="*/ 493 w 2178"/>
                <a:gd name="T5" fmla="*/ 256 h 312"/>
                <a:gd name="T6" fmla="*/ 535 w 2178"/>
                <a:gd name="T7" fmla="*/ 289 h 312"/>
                <a:gd name="T8" fmla="*/ 608 w 2178"/>
                <a:gd name="T9" fmla="*/ 282 h 312"/>
                <a:gd name="T10" fmla="*/ 678 w 2178"/>
                <a:gd name="T11" fmla="*/ 225 h 312"/>
                <a:gd name="T12" fmla="*/ 660 w 2178"/>
                <a:gd name="T13" fmla="*/ 232 h 312"/>
                <a:gd name="T14" fmla="*/ 761 w 2178"/>
                <a:gd name="T15" fmla="*/ 289 h 312"/>
                <a:gd name="T16" fmla="*/ 814 w 2178"/>
                <a:gd name="T17" fmla="*/ 282 h 312"/>
                <a:gd name="T18" fmla="*/ 858 w 2178"/>
                <a:gd name="T19" fmla="*/ 225 h 312"/>
                <a:gd name="T20" fmla="*/ 923 w 2178"/>
                <a:gd name="T21" fmla="*/ 289 h 312"/>
                <a:gd name="T22" fmla="*/ 941 w 2178"/>
                <a:gd name="T23" fmla="*/ 257 h 312"/>
                <a:gd name="T24" fmla="*/ 1061 w 2178"/>
                <a:gd name="T25" fmla="*/ 289 h 312"/>
                <a:gd name="T26" fmla="*/ 1103 w 2178"/>
                <a:gd name="T27" fmla="*/ 282 h 312"/>
                <a:gd name="T28" fmla="*/ 1182 w 2178"/>
                <a:gd name="T29" fmla="*/ 277 h 312"/>
                <a:gd name="T30" fmla="*/ 1197 w 2178"/>
                <a:gd name="T31" fmla="*/ 232 h 312"/>
                <a:gd name="T32" fmla="*/ 1287 w 2178"/>
                <a:gd name="T33" fmla="*/ 289 h 312"/>
                <a:gd name="T34" fmla="*/ 1351 w 2178"/>
                <a:gd name="T35" fmla="*/ 225 h 312"/>
                <a:gd name="T36" fmla="*/ 1367 w 2178"/>
                <a:gd name="T37" fmla="*/ 232 h 312"/>
                <a:gd name="T38" fmla="*/ 1433 w 2178"/>
                <a:gd name="T39" fmla="*/ 264 h 312"/>
                <a:gd name="T40" fmla="*/ 59 w 2178"/>
                <a:gd name="T41" fmla="*/ 0 h 312"/>
                <a:gd name="T42" fmla="*/ 61 w 2178"/>
                <a:gd name="T43" fmla="*/ 307 h 312"/>
                <a:gd name="T44" fmla="*/ 150 w 2178"/>
                <a:gd name="T45" fmla="*/ 238 h 312"/>
                <a:gd name="T46" fmla="*/ 147 w 2178"/>
                <a:gd name="T47" fmla="*/ 80 h 312"/>
                <a:gd name="T48" fmla="*/ 1628 w 2178"/>
                <a:gd name="T49" fmla="*/ 46 h 312"/>
                <a:gd name="T50" fmla="*/ 1515 w 2178"/>
                <a:gd name="T51" fmla="*/ 107 h 312"/>
                <a:gd name="T52" fmla="*/ 1518 w 2178"/>
                <a:gd name="T53" fmla="*/ 39 h 312"/>
                <a:gd name="T54" fmla="*/ 1438 w 2178"/>
                <a:gd name="T55" fmla="*/ 117 h 312"/>
                <a:gd name="T56" fmla="*/ 1441 w 2178"/>
                <a:gd name="T57" fmla="*/ 107 h 312"/>
                <a:gd name="T58" fmla="*/ 1713 w 2178"/>
                <a:gd name="T59" fmla="*/ 48 h 312"/>
                <a:gd name="T60" fmla="*/ 1634 w 2178"/>
                <a:gd name="T61" fmla="*/ 46 h 312"/>
                <a:gd name="T62" fmla="*/ 1974 w 2178"/>
                <a:gd name="T63" fmla="*/ 107 h 312"/>
                <a:gd name="T64" fmla="*/ 2066 w 2178"/>
                <a:gd name="T65" fmla="*/ 109 h 312"/>
                <a:gd name="T66" fmla="*/ 2122 w 2178"/>
                <a:gd name="T67" fmla="*/ 82 h 312"/>
                <a:gd name="T68" fmla="*/ 2138 w 2178"/>
                <a:gd name="T69" fmla="*/ 39 h 312"/>
                <a:gd name="T70" fmla="*/ 1953 w 2178"/>
                <a:gd name="T71" fmla="*/ 94 h 312"/>
                <a:gd name="T72" fmla="*/ 1920 w 2178"/>
                <a:gd name="T73" fmla="*/ 107 h 312"/>
                <a:gd name="T74" fmla="*/ 1855 w 2178"/>
                <a:gd name="T75" fmla="*/ 98 h 312"/>
                <a:gd name="T76" fmla="*/ 1819 w 2178"/>
                <a:gd name="T77" fmla="*/ 48 h 312"/>
                <a:gd name="T78" fmla="*/ 1839 w 2178"/>
                <a:gd name="T79" fmla="*/ 73 h 312"/>
                <a:gd name="T80" fmla="*/ 1784 w 2178"/>
                <a:gd name="T81" fmla="*/ 61 h 312"/>
                <a:gd name="T82" fmla="*/ 1741 w 2178"/>
                <a:gd name="T83" fmla="*/ 48 h 312"/>
                <a:gd name="T84" fmla="*/ 1323 w 2178"/>
                <a:gd name="T85" fmla="*/ 80 h 312"/>
                <a:gd name="T86" fmla="*/ 1342 w 2178"/>
                <a:gd name="T87" fmla="*/ 39 h 312"/>
                <a:gd name="T88" fmla="*/ 557 w 2178"/>
                <a:gd name="T89" fmla="*/ 106 h 312"/>
                <a:gd name="T90" fmla="*/ 557 w 2178"/>
                <a:gd name="T91" fmla="*/ 49 h 312"/>
                <a:gd name="T92" fmla="*/ 566 w 2178"/>
                <a:gd name="T93" fmla="*/ 95 h 312"/>
                <a:gd name="T94" fmla="*/ 327 w 2178"/>
                <a:gd name="T95" fmla="*/ 28 h 312"/>
                <a:gd name="T96" fmla="*/ 399 w 2178"/>
                <a:gd name="T97" fmla="*/ 40 h 312"/>
                <a:gd name="T98" fmla="*/ 757 w 2178"/>
                <a:gd name="T99" fmla="*/ 109 h 312"/>
                <a:gd name="T100" fmla="*/ 768 w 2178"/>
                <a:gd name="T101" fmla="*/ 71 h 312"/>
                <a:gd name="T102" fmla="*/ 750 w 2178"/>
                <a:gd name="T103" fmla="*/ 116 h 312"/>
                <a:gd name="T104" fmla="*/ 480 w 2178"/>
                <a:gd name="T105" fmla="*/ 107 h 312"/>
                <a:gd name="T106" fmla="*/ 445 w 2178"/>
                <a:gd name="T107" fmla="*/ 39 h 312"/>
                <a:gd name="T108" fmla="*/ 1226 w 2178"/>
                <a:gd name="T109" fmla="*/ 107 h 312"/>
                <a:gd name="T110" fmla="*/ 1200 w 2178"/>
                <a:gd name="T111" fmla="*/ 39 h 312"/>
                <a:gd name="T112" fmla="*/ 1093 w 2178"/>
                <a:gd name="T113" fmla="*/ 107 h 312"/>
                <a:gd name="T114" fmla="*/ 1147 w 2178"/>
                <a:gd name="T115" fmla="*/ 116 h 312"/>
                <a:gd name="T116" fmla="*/ 1168 w 2178"/>
                <a:gd name="T117" fmla="*/ 39 h 312"/>
                <a:gd name="T118" fmla="*/ 1011 w 2178"/>
                <a:gd name="T119" fmla="*/ 27 h 312"/>
                <a:gd name="T120" fmla="*/ 984 w 2178"/>
                <a:gd name="T121" fmla="*/ 91 h 312"/>
                <a:gd name="T122" fmla="*/ 806 w 2178"/>
                <a:gd name="T123" fmla="*/ 46 h 312"/>
                <a:gd name="T124" fmla="*/ 890 w 2178"/>
                <a:gd name="T125" fmla="*/ 1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8" h="312">
                  <a:moveTo>
                    <a:pt x="393" y="278"/>
                  </a:moveTo>
                  <a:cubicBezTo>
                    <a:pt x="378" y="225"/>
                    <a:pt x="378" y="225"/>
                    <a:pt x="378" y="225"/>
                  </a:cubicBezTo>
                  <a:cubicBezTo>
                    <a:pt x="371" y="225"/>
                    <a:pt x="371" y="225"/>
                    <a:pt x="371" y="225"/>
                  </a:cubicBezTo>
                  <a:cubicBezTo>
                    <a:pt x="357" y="278"/>
                    <a:pt x="357" y="278"/>
                    <a:pt x="357" y="278"/>
                  </a:cubicBezTo>
                  <a:cubicBezTo>
                    <a:pt x="343" y="225"/>
                    <a:pt x="343" y="225"/>
                    <a:pt x="343" y="225"/>
                  </a:cubicBezTo>
                  <a:cubicBezTo>
                    <a:pt x="334" y="225"/>
                    <a:pt x="334" y="225"/>
                    <a:pt x="334" y="225"/>
                  </a:cubicBezTo>
                  <a:cubicBezTo>
                    <a:pt x="352" y="289"/>
                    <a:pt x="352" y="289"/>
                    <a:pt x="352" y="289"/>
                  </a:cubicBezTo>
                  <a:cubicBezTo>
                    <a:pt x="361" y="289"/>
                    <a:pt x="361" y="289"/>
                    <a:pt x="361" y="289"/>
                  </a:cubicBezTo>
                  <a:cubicBezTo>
                    <a:pt x="375" y="237"/>
                    <a:pt x="375" y="237"/>
                    <a:pt x="375" y="237"/>
                  </a:cubicBezTo>
                  <a:cubicBezTo>
                    <a:pt x="389" y="289"/>
                    <a:pt x="389" y="289"/>
                    <a:pt x="389" y="289"/>
                  </a:cubicBezTo>
                  <a:cubicBezTo>
                    <a:pt x="397" y="289"/>
                    <a:pt x="397" y="289"/>
                    <a:pt x="397" y="289"/>
                  </a:cubicBezTo>
                  <a:cubicBezTo>
                    <a:pt x="416" y="225"/>
                    <a:pt x="416" y="225"/>
                    <a:pt x="416" y="225"/>
                  </a:cubicBezTo>
                  <a:cubicBezTo>
                    <a:pt x="407" y="225"/>
                    <a:pt x="407" y="225"/>
                    <a:pt x="407" y="225"/>
                  </a:cubicBezTo>
                  <a:lnTo>
                    <a:pt x="393" y="278"/>
                  </a:lnTo>
                  <a:close/>
                  <a:moveTo>
                    <a:pt x="422" y="289"/>
                  </a:moveTo>
                  <a:cubicBezTo>
                    <a:pt x="464" y="289"/>
                    <a:pt x="464" y="289"/>
                    <a:pt x="464" y="289"/>
                  </a:cubicBezTo>
                  <a:cubicBezTo>
                    <a:pt x="464" y="282"/>
                    <a:pt x="464" y="282"/>
                    <a:pt x="464" y="282"/>
                  </a:cubicBezTo>
                  <a:cubicBezTo>
                    <a:pt x="430" y="282"/>
                    <a:pt x="430" y="282"/>
                    <a:pt x="430" y="282"/>
                  </a:cubicBezTo>
                  <a:cubicBezTo>
                    <a:pt x="430" y="260"/>
                    <a:pt x="430" y="260"/>
                    <a:pt x="430" y="260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63" y="253"/>
                    <a:pt x="463" y="253"/>
                    <a:pt x="463" y="253"/>
                  </a:cubicBezTo>
                  <a:cubicBezTo>
                    <a:pt x="430" y="253"/>
                    <a:pt x="430" y="253"/>
                    <a:pt x="430" y="253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464" y="232"/>
                    <a:pt x="464" y="232"/>
                    <a:pt x="464" y="232"/>
                  </a:cubicBezTo>
                  <a:cubicBezTo>
                    <a:pt x="464" y="225"/>
                    <a:pt x="464" y="225"/>
                    <a:pt x="464" y="225"/>
                  </a:cubicBezTo>
                  <a:cubicBezTo>
                    <a:pt x="422" y="225"/>
                    <a:pt x="422" y="225"/>
                    <a:pt x="422" y="225"/>
                  </a:cubicBezTo>
                  <a:lnTo>
                    <a:pt x="422" y="289"/>
                  </a:lnTo>
                  <a:close/>
                  <a:moveTo>
                    <a:pt x="527" y="225"/>
                  </a:moveTo>
                  <a:cubicBezTo>
                    <a:pt x="517" y="225"/>
                    <a:pt x="517" y="225"/>
                    <a:pt x="517" y="225"/>
                  </a:cubicBezTo>
                  <a:cubicBezTo>
                    <a:pt x="498" y="251"/>
                    <a:pt x="498" y="251"/>
                    <a:pt x="498" y="251"/>
                  </a:cubicBezTo>
                  <a:cubicBezTo>
                    <a:pt x="479" y="225"/>
                    <a:pt x="479" y="225"/>
                    <a:pt x="479" y="225"/>
                  </a:cubicBezTo>
                  <a:cubicBezTo>
                    <a:pt x="470" y="225"/>
                    <a:pt x="470" y="225"/>
                    <a:pt x="470" y="225"/>
                  </a:cubicBezTo>
                  <a:cubicBezTo>
                    <a:pt x="493" y="256"/>
                    <a:pt x="493" y="256"/>
                    <a:pt x="493" y="256"/>
                  </a:cubicBezTo>
                  <a:cubicBezTo>
                    <a:pt x="468" y="289"/>
                    <a:pt x="468" y="289"/>
                    <a:pt x="468" y="289"/>
                  </a:cubicBezTo>
                  <a:cubicBezTo>
                    <a:pt x="478" y="289"/>
                    <a:pt x="478" y="289"/>
                    <a:pt x="478" y="289"/>
                  </a:cubicBezTo>
                  <a:cubicBezTo>
                    <a:pt x="498" y="262"/>
                    <a:pt x="498" y="262"/>
                    <a:pt x="498" y="262"/>
                  </a:cubicBezTo>
                  <a:cubicBezTo>
                    <a:pt x="519" y="289"/>
                    <a:pt x="519" y="289"/>
                    <a:pt x="519" y="289"/>
                  </a:cubicBezTo>
                  <a:cubicBezTo>
                    <a:pt x="528" y="289"/>
                    <a:pt x="528" y="289"/>
                    <a:pt x="528" y="289"/>
                  </a:cubicBezTo>
                  <a:cubicBezTo>
                    <a:pt x="503" y="256"/>
                    <a:pt x="503" y="256"/>
                    <a:pt x="503" y="256"/>
                  </a:cubicBezTo>
                  <a:lnTo>
                    <a:pt x="527" y="225"/>
                  </a:lnTo>
                  <a:close/>
                  <a:moveTo>
                    <a:pt x="580" y="275"/>
                  </a:moveTo>
                  <a:cubicBezTo>
                    <a:pt x="543" y="225"/>
                    <a:pt x="543" y="225"/>
                    <a:pt x="543" y="225"/>
                  </a:cubicBezTo>
                  <a:cubicBezTo>
                    <a:pt x="535" y="225"/>
                    <a:pt x="535" y="225"/>
                    <a:pt x="535" y="225"/>
                  </a:cubicBezTo>
                  <a:cubicBezTo>
                    <a:pt x="535" y="289"/>
                    <a:pt x="535" y="289"/>
                    <a:pt x="535" y="289"/>
                  </a:cubicBezTo>
                  <a:cubicBezTo>
                    <a:pt x="543" y="289"/>
                    <a:pt x="543" y="289"/>
                    <a:pt x="543" y="289"/>
                  </a:cubicBezTo>
                  <a:cubicBezTo>
                    <a:pt x="543" y="238"/>
                    <a:pt x="543" y="238"/>
                    <a:pt x="543" y="238"/>
                  </a:cubicBezTo>
                  <a:cubicBezTo>
                    <a:pt x="580" y="289"/>
                    <a:pt x="580" y="289"/>
                    <a:pt x="580" y="289"/>
                  </a:cubicBezTo>
                  <a:cubicBezTo>
                    <a:pt x="588" y="289"/>
                    <a:pt x="588" y="289"/>
                    <a:pt x="588" y="289"/>
                  </a:cubicBezTo>
                  <a:cubicBezTo>
                    <a:pt x="588" y="225"/>
                    <a:pt x="588" y="225"/>
                    <a:pt x="588" y="225"/>
                  </a:cubicBezTo>
                  <a:cubicBezTo>
                    <a:pt x="580" y="225"/>
                    <a:pt x="580" y="225"/>
                    <a:pt x="580" y="225"/>
                  </a:cubicBezTo>
                  <a:lnTo>
                    <a:pt x="580" y="275"/>
                  </a:lnTo>
                  <a:close/>
                  <a:moveTo>
                    <a:pt x="600" y="289"/>
                  </a:moveTo>
                  <a:cubicBezTo>
                    <a:pt x="642" y="289"/>
                    <a:pt x="642" y="289"/>
                    <a:pt x="642" y="289"/>
                  </a:cubicBezTo>
                  <a:cubicBezTo>
                    <a:pt x="642" y="282"/>
                    <a:pt x="642" y="282"/>
                    <a:pt x="642" y="282"/>
                  </a:cubicBezTo>
                  <a:cubicBezTo>
                    <a:pt x="608" y="282"/>
                    <a:pt x="608" y="282"/>
                    <a:pt x="608" y="282"/>
                  </a:cubicBezTo>
                  <a:cubicBezTo>
                    <a:pt x="608" y="260"/>
                    <a:pt x="608" y="260"/>
                    <a:pt x="608" y="260"/>
                  </a:cubicBezTo>
                  <a:cubicBezTo>
                    <a:pt x="641" y="260"/>
                    <a:pt x="641" y="260"/>
                    <a:pt x="641" y="260"/>
                  </a:cubicBezTo>
                  <a:cubicBezTo>
                    <a:pt x="641" y="253"/>
                    <a:pt x="641" y="253"/>
                    <a:pt x="641" y="253"/>
                  </a:cubicBezTo>
                  <a:cubicBezTo>
                    <a:pt x="608" y="253"/>
                    <a:pt x="608" y="253"/>
                    <a:pt x="608" y="253"/>
                  </a:cubicBezTo>
                  <a:cubicBezTo>
                    <a:pt x="608" y="232"/>
                    <a:pt x="608" y="232"/>
                    <a:pt x="608" y="232"/>
                  </a:cubicBezTo>
                  <a:cubicBezTo>
                    <a:pt x="642" y="232"/>
                    <a:pt x="642" y="232"/>
                    <a:pt x="642" y="232"/>
                  </a:cubicBezTo>
                  <a:cubicBezTo>
                    <a:pt x="642" y="225"/>
                    <a:pt x="642" y="225"/>
                    <a:pt x="642" y="225"/>
                  </a:cubicBezTo>
                  <a:cubicBezTo>
                    <a:pt x="600" y="225"/>
                    <a:pt x="600" y="225"/>
                    <a:pt x="600" y="225"/>
                  </a:cubicBezTo>
                  <a:lnTo>
                    <a:pt x="600" y="289"/>
                  </a:lnTo>
                  <a:close/>
                  <a:moveTo>
                    <a:pt x="698" y="244"/>
                  </a:moveTo>
                  <a:cubicBezTo>
                    <a:pt x="698" y="233"/>
                    <a:pt x="690" y="225"/>
                    <a:pt x="678" y="225"/>
                  </a:cubicBezTo>
                  <a:cubicBezTo>
                    <a:pt x="652" y="225"/>
                    <a:pt x="652" y="225"/>
                    <a:pt x="652" y="225"/>
                  </a:cubicBezTo>
                  <a:cubicBezTo>
                    <a:pt x="652" y="289"/>
                    <a:pt x="652" y="289"/>
                    <a:pt x="652" y="289"/>
                  </a:cubicBezTo>
                  <a:cubicBezTo>
                    <a:pt x="660" y="289"/>
                    <a:pt x="660" y="289"/>
                    <a:pt x="660" y="289"/>
                  </a:cubicBezTo>
                  <a:cubicBezTo>
                    <a:pt x="660" y="264"/>
                    <a:pt x="660" y="264"/>
                    <a:pt x="660" y="264"/>
                  </a:cubicBezTo>
                  <a:cubicBezTo>
                    <a:pt x="673" y="264"/>
                    <a:pt x="673" y="264"/>
                    <a:pt x="673" y="264"/>
                  </a:cubicBezTo>
                  <a:cubicBezTo>
                    <a:pt x="689" y="289"/>
                    <a:pt x="689" y="289"/>
                    <a:pt x="689" y="289"/>
                  </a:cubicBezTo>
                  <a:cubicBezTo>
                    <a:pt x="699" y="289"/>
                    <a:pt x="699" y="289"/>
                    <a:pt x="699" y="289"/>
                  </a:cubicBezTo>
                  <a:cubicBezTo>
                    <a:pt x="682" y="263"/>
                    <a:pt x="682" y="263"/>
                    <a:pt x="682" y="263"/>
                  </a:cubicBezTo>
                  <a:cubicBezTo>
                    <a:pt x="690" y="262"/>
                    <a:pt x="698" y="256"/>
                    <a:pt x="698" y="244"/>
                  </a:cubicBezTo>
                  <a:close/>
                  <a:moveTo>
                    <a:pt x="660" y="257"/>
                  </a:moveTo>
                  <a:cubicBezTo>
                    <a:pt x="660" y="232"/>
                    <a:pt x="660" y="232"/>
                    <a:pt x="660" y="232"/>
                  </a:cubicBezTo>
                  <a:cubicBezTo>
                    <a:pt x="677" y="232"/>
                    <a:pt x="677" y="232"/>
                    <a:pt x="677" y="232"/>
                  </a:cubicBezTo>
                  <a:cubicBezTo>
                    <a:pt x="685" y="232"/>
                    <a:pt x="690" y="237"/>
                    <a:pt x="690" y="244"/>
                  </a:cubicBezTo>
                  <a:cubicBezTo>
                    <a:pt x="690" y="252"/>
                    <a:pt x="685" y="257"/>
                    <a:pt x="677" y="257"/>
                  </a:cubicBezTo>
                  <a:lnTo>
                    <a:pt x="660" y="257"/>
                  </a:lnTo>
                  <a:close/>
                  <a:moveTo>
                    <a:pt x="762" y="274"/>
                  </a:moveTo>
                  <a:cubicBezTo>
                    <a:pt x="742" y="225"/>
                    <a:pt x="742" y="225"/>
                    <a:pt x="742" y="225"/>
                  </a:cubicBezTo>
                  <a:cubicBezTo>
                    <a:pt x="731" y="225"/>
                    <a:pt x="731" y="225"/>
                    <a:pt x="731" y="225"/>
                  </a:cubicBezTo>
                  <a:cubicBezTo>
                    <a:pt x="731" y="289"/>
                    <a:pt x="731" y="289"/>
                    <a:pt x="731" y="289"/>
                  </a:cubicBezTo>
                  <a:cubicBezTo>
                    <a:pt x="739" y="289"/>
                    <a:pt x="739" y="289"/>
                    <a:pt x="739" y="289"/>
                  </a:cubicBezTo>
                  <a:cubicBezTo>
                    <a:pt x="739" y="235"/>
                    <a:pt x="739" y="235"/>
                    <a:pt x="739" y="235"/>
                  </a:cubicBezTo>
                  <a:cubicBezTo>
                    <a:pt x="761" y="289"/>
                    <a:pt x="761" y="289"/>
                    <a:pt x="761" y="289"/>
                  </a:cubicBezTo>
                  <a:cubicBezTo>
                    <a:pt x="764" y="289"/>
                    <a:pt x="764" y="289"/>
                    <a:pt x="764" y="289"/>
                  </a:cubicBezTo>
                  <a:cubicBezTo>
                    <a:pt x="786" y="235"/>
                    <a:pt x="786" y="235"/>
                    <a:pt x="786" y="235"/>
                  </a:cubicBezTo>
                  <a:cubicBezTo>
                    <a:pt x="786" y="289"/>
                    <a:pt x="786" y="289"/>
                    <a:pt x="786" y="289"/>
                  </a:cubicBezTo>
                  <a:cubicBezTo>
                    <a:pt x="794" y="289"/>
                    <a:pt x="794" y="289"/>
                    <a:pt x="794" y="289"/>
                  </a:cubicBezTo>
                  <a:cubicBezTo>
                    <a:pt x="794" y="225"/>
                    <a:pt x="794" y="225"/>
                    <a:pt x="794" y="225"/>
                  </a:cubicBezTo>
                  <a:cubicBezTo>
                    <a:pt x="782" y="225"/>
                    <a:pt x="782" y="225"/>
                    <a:pt x="782" y="225"/>
                  </a:cubicBezTo>
                  <a:lnTo>
                    <a:pt x="762" y="274"/>
                  </a:lnTo>
                  <a:close/>
                  <a:moveTo>
                    <a:pt x="806" y="289"/>
                  </a:moveTo>
                  <a:cubicBezTo>
                    <a:pt x="848" y="289"/>
                    <a:pt x="848" y="289"/>
                    <a:pt x="848" y="289"/>
                  </a:cubicBezTo>
                  <a:cubicBezTo>
                    <a:pt x="848" y="282"/>
                    <a:pt x="848" y="282"/>
                    <a:pt x="848" y="282"/>
                  </a:cubicBezTo>
                  <a:cubicBezTo>
                    <a:pt x="814" y="282"/>
                    <a:pt x="814" y="282"/>
                    <a:pt x="814" y="282"/>
                  </a:cubicBezTo>
                  <a:cubicBezTo>
                    <a:pt x="814" y="260"/>
                    <a:pt x="814" y="260"/>
                    <a:pt x="814" y="260"/>
                  </a:cubicBezTo>
                  <a:cubicBezTo>
                    <a:pt x="847" y="260"/>
                    <a:pt x="847" y="260"/>
                    <a:pt x="847" y="260"/>
                  </a:cubicBezTo>
                  <a:cubicBezTo>
                    <a:pt x="847" y="253"/>
                    <a:pt x="847" y="253"/>
                    <a:pt x="847" y="253"/>
                  </a:cubicBezTo>
                  <a:cubicBezTo>
                    <a:pt x="814" y="253"/>
                    <a:pt x="814" y="253"/>
                    <a:pt x="814" y="253"/>
                  </a:cubicBezTo>
                  <a:cubicBezTo>
                    <a:pt x="814" y="232"/>
                    <a:pt x="814" y="232"/>
                    <a:pt x="814" y="232"/>
                  </a:cubicBezTo>
                  <a:cubicBezTo>
                    <a:pt x="848" y="232"/>
                    <a:pt x="848" y="232"/>
                    <a:pt x="848" y="232"/>
                  </a:cubicBezTo>
                  <a:cubicBezTo>
                    <a:pt x="848" y="225"/>
                    <a:pt x="848" y="225"/>
                    <a:pt x="848" y="225"/>
                  </a:cubicBezTo>
                  <a:cubicBezTo>
                    <a:pt x="806" y="225"/>
                    <a:pt x="806" y="225"/>
                    <a:pt x="806" y="225"/>
                  </a:cubicBezTo>
                  <a:lnTo>
                    <a:pt x="806" y="289"/>
                  </a:lnTo>
                  <a:close/>
                  <a:moveTo>
                    <a:pt x="880" y="225"/>
                  </a:moveTo>
                  <a:cubicBezTo>
                    <a:pt x="858" y="225"/>
                    <a:pt x="858" y="225"/>
                    <a:pt x="858" y="225"/>
                  </a:cubicBezTo>
                  <a:cubicBezTo>
                    <a:pt x="858" y="289"/>
                    <a:pt x="858" y="289"/>
                    <a:pt x="858" y="289"/>
                  </a:cubicBezTo>
                  <a:cubicBezTo>
                    <a:pt x="880" y="289"/>
                    <a:pt x="880" y="289"/>
                    <a:pt x="880" y="289"/>
                  </a:cubicBezTo>
                  <a:cubicBezTo>
                    <a:pt x="900" y="289"/>
                    <a:pt x="913" y="275"/>
                    <a:pt x="913" y="257"/>
                  </a:cubicBezTo>
                  <a:cubicBezTo>
                    <a:pt x="913" y="239"/>
                    <a:pt x="900" y="225"/>
                    <a:pt x="880" y="225"/>
                  </a:cubicBezTo>
                  <a:close/>
                  <a:moveTo>
                    <a:pt x="880" y="282"/>
                  </a:moveTo>
                  <a:cubicBezTo>
                    <a:pt x="866" y="282"/>
                    <a:pt x="866" y="282"/>
                    <a:pt x="866" y="282"/>
                  </a:cubicBezTo>
                  <a:cubicBezTo>
                    <a:pt x="866" y="232"/>
                    <a:pt x="866" y="232"/>
                    <a:pt x="866" y="232"/>
                  </a:cubicBezTo>
                  <a:cubicBezTo>
                    <a:pt x="880" y="232"/>
                    <a:pt x="880" y="232"/>
                    <a:pt x="880" y="232"/>
                  </a:cubicBezTo>
                  <a:cubicBezTo>
                    <a:pt x="896" y="232"/>
                    <a:pt x="905" y="243"/>
                    <a:pt x="905" y="257"/>
                  </a:cubicBezTo>
                  <a:cubicBezTo>
                    <a:pt x="905" y="271"/>
                    <a:pt x="896" y="282"/>
                    <a:pt x="880" y="282"/>
                  </a:cubicBezTo>
                  <a:close/>
                  <a:moveTo>
                    <a:pt x="923" y="289"/>
                  </a:moveTo>
                  <a:cubicBezTo>
                    <a:pt x="931" y="289"/>
                    <a:pt x="931" y="289"/>
                    <a:pt x="931" y="289"/>
                  </a:cubicBezTo>
                  <a:cubicBezTo>
                    <a:pt x="931" y="225"/>
                    <a:pt x="931" y="225"/>
                    <a:pt x="931" y="225"/>
                  </a:cubicBezTo>
                  <a:cubicBezTo>
                    <a:pt x="923" y="225"/>
                    <a:pt x="923" y="225"/>
                    <a:pt x="923" y="225"/>
                  </a:cubicBezTo>
                  <a:lnTo>
                    <a:pt x="923" y="289"/>
                  </a:lnTo>
                  <a:close/>
                  <a:moveTo>
                    <a:pt x="974" y="283"/>
                  </a:moveTo>
                  <a:cubicBezTo>
                    <a:pt x="960" y="283"/>
                    <a:pt x="949" y="272"/>
                    <a:pt x="949" y="257"/>
                  </a:cubicBezTo>
                  <a:cubicBezTo>
                    <a:pt x="949" y="242"/>
                    <a:pt x="960" y="231"/>
                    <a:pt x="974" y="231"/>
                  </a:cubicBezTo>
                  <a:cubicBezTo>
                    <a:pt x="981" y="231"/>
                    <a:pt x="988" y="235"/>
                    <a:pt x="992" y="240"/>
                  </a:cubicBezTo>
                  <a:cubicBezTo>
                    <a:pt x="998" y="237"/>
                    <a:pt x="998" y="237"/>
                    <a:pt x="998" y="237"/>
                  </a:cubicBezTo>
                  <a:cubicBezTo>
                    <a:pt x="993" y="229"/>
                    <a:pt x="985" y="224"/>
                    <a:pt x="974" y="224"/>
                  </a:cubicBezTo>
                  <a:cubicBezTo>
                    <a:pt x="956" y="224"/>
                    <a:pt x="941" y="237"/>
                    <a:pt x="941" y="257"/>
                  </a:cubicBezTo>
                  <a:cubicBezTo>
                    <a:pt x="941" y="277"/>
                    <a:pt x="956" y="290"/>
                    <a:pt x="974" y="290"/>
                  </a:cubicBezTo>
                  <a:cubicBezTo>
                    <a:pt x="985" y="290"/>
                    <a:pt x="993" y="285"/>
                    <a:pt x="998" y="277"/>
                  </a:cubicBezTo>
                  <a:cubicBezTo>
                    <a:pt x="992" y="274"/>
                    <a:pt x="992" y="274"/>
                    <a:pt x="992" y="274"/>
                  </a:cubicBezTo>
                  <a:cubicBezTo>
                    <a:pt x="988" y="279"/>
                    <a:pt x="981" y="283"/>
                    <a:pt x="974" y="283"/>
                  </a:cubicBezTo>
                  <a:close/>
                  <a:moveTo>
                    <a:pt x="1025" y="225"/>
                  </a:moveTo>
                  <a:cubicBezTo>
                    <a:pt x="999" y="289"/>
                    <a:pt x="999" y="289"/>
                    <a:pt x="999" y="289"/>
                  </a:cubicBezTo>
                  <a:cubicBezTo>
                    <a:pt x="1008" y="289"/>
                    <a:pt x="1008" y="289"/>
                    <a:pt x="1008" y="289"/>
                  </a:cubicBezTo>
                  <a:cubicBezTo>
                    <a:pt x="1014" y="275"/>
                    <a:pt x="1014" y="275"/>
                    <a:pt x="1014" y="275"/>
                  </a:cubicBezTo>
                  <a:cubicBezTo>
                    <a:pt x="1046" y="275"/>
                    <a:pt x="1046" y="275"/>
                    <a:pt x="1046" y="275"/>
                  </a:cubicBezTo>
                  <a:cubicBezTo>
                    <a:pt x="1052" y="289"/>
                    <a:pt x="1052" y="289"/>
                    <a:pt x="1052" y="289"/>
                  </a:cubicBezTo>
                  <a:cubicBezTo>
                    <a:pt x="1061" y="289"/>
                    <a:pt x="1061" y="289"/>
                    <a:pt x="1061" y="289"/>
                  </a:cubicBezTo>
                  <a:cubicBezTo>
                    <a:pt x="1035" y="225"/>
                    <a:pt x="1035" y="225"/>
                    <a:pt x="1035" y="225"/>
                  </a:cubicBezTo>
                  <a:lnTo>
                    <a:pt x="1025" y="225"/>
                  </a:lnTo>
                  <a:close/>
                  <a:moveTo>
                    <a:pt x="1017" y="268"/>
                  </a:moveTo>
                  <a:cubicBezTo>
                    <a:pt x="1030" y="233"/>
                    <a:pt x="1030" y="233"/>
                    <a:pt x="1030" y="233"/>
                  </a:cubicBezTo>
                  <a:cubicBezTo>
                    <a:pt x="1044" y="268"/>
                    <a:pt x="1044" y="268"/>
                    <a:pt x="1044" y="268"/>
                  </a:cubicBezTo>
                  <a:lnTo>
                    <a:pt x="1017" y="268"/>
                  </a:lnTo>
                  <a:close/>
                  <a:moveTo>
                    <a:pt x="1074" y="225"/>
                  </a:moveTo>
                  <a:cubicBezTo>
                    <a:pt x="1066" y="225"/>
                    <a:pt x="1066" y="225"/>
                    <a:pt x="1066" y="225"/>
                  </a:cubicBezTo>
                  <a:cubicBezTo>
                    <a:pt x="1066" y="289"/>
                    <a:pt x="1066" y="289"/>
                    <a:pt x="1066" y="289"/>
                  </a:cubicBezTo>
                  <a:cubicBezTo>
                    <a:pt x="1103" y="289"/>
                    <a:pt x="1103" y="289"/>
                    <a:pt x="1103" y="289"/>
                  </a:cubicBezTo>
                  <a:cubicBezTo>
                    <a:pt x="1103" y="282"/>
                    <a:pt x="1103" y="282"/>
                    <a:pt x="1103" y="282"/>
                  </a:cubicBezTo>
                  <a:cubicBezTo>
                    <a:pt x="1074" y="282"/>
                    <a:pt x="1074" y="282"/>
                    <a:pt x="1074" y="282"/>
                  </a:cubicBezTo>
                  <a:lnTo>
                    <a:pt x="1074" y="225"/>
                  </a:lnTo>
                  <a:close/>
                  <a:moveTo>
                    <a:pt x="1157" y="283"/>
                  </a:moveTo>
                  <a:cubicBezTo>
                    <a:pt x="1143" y="283"/>
                    <a:pt x="1133" y="272"/>
                    <a:pt x="1133" y="257"/>
                  </a:cubicBezTo>
                  <a:cubicBezTo>
                    <a:pt x="1133" y="242"/>
                    <a:pt x="1143" y="231"/>
                    <a:pt x="1157" y="231"/>
                  </a:cubicBezTo>
                  <a:cubicBezTo>
                    <a:pt x="1165" y="231"/>
                    <a:pt x="1171" y="235"/>
                    <a:pt x="1175" y="240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76" y="229"/>
                    <a:pt x="1169" y="224"/>
                    <a:pt x="1157" y="224"/>
                  </a:cubicBezTo>
                  <a:cubicBezTo>
                    <a:pt x="1139" y="224"/>
                    <a:pt x="1124" y="237"/>
                    <a:pt x="1124" y="257"/>
                  </a:cubicBezTo>
                  <a:cubicBezTo>
                    <a:pt x="1124" y="277"/>
                    <a:pt x="1139" y="290"/>
                    <a:pt x="1157" y="290"/>
                  </a:cubicBezTo>
                  <a:cubicBezTo>
                    <a:pt x="1169" y="290"/>
                    <a:pt x="1176" y="285"/>
                    <a:pt x="1182" y="277"/>
                  </a:cubicBezTo>
                  <a:cubicBezTo>
                    <a:pt x="1175" y="274"/>
                    <a:pt x="1175" y="274"/>
                    <a:pt x="1175" y="274"/>
                  </a:cubicBezTo>
                  <a:cubicBezTo>
                    <a:pt x="1171" y="279"/>
                    <a:pt x="1165" y="283"/>
                    <a:pt x="1157" y="283"/>
                  </a:cubicBezTo>
                  <a:close/>
                  <a:moveTo>
                    <a:pt x="1189" y="289"/>
                  </a:moveTo>
                  <a:cubicBezTo>
                    <a:pt x="1231" y="289"/>
                    <a:pt x="1231" y="289"/>
                    <a:pt x="1231" y="289"/>
                  </a:cubicBezTo>
                  <a:cubicBezTo>
                    <a:pt x="1231" y="282"/>
                    <a:pt x="1231" y="282"/>
                    <a:pt x="1231" y="282"/>
                  </a:cubicBezTo>
                  <a:cubicBezTo>
                    <a:pt x="1197" y="282"/>
                    <a:pt x="1197" y="282"/>
                    <a:pt x="1197" y="282"/>
                  </a:cubicBezTo>
                  <a:cubicBezTo>
                    <a:pt x="1197" y="260"/>
                    <a:pt x="1197" y="260"/>
                    <a:pt x="1197" y="260"/>
                  </a:cubicBezTo>
                  <a:cubicBezTo>
                    <a:pt x="1231" y="260"/>
                    <a:pt x="1231" y="260"/>
                    <a:pt x="1231" y="260"/>
                  </a:cubicBezTo>
                  <a:cubicBezTo>
                    <a:pt x="1231" y="253"/>
                    <a:pt x="1231" y="253"/>
                    <a:pt x="1231" y="253"/>
                  </a:cubicBezTo>
                  <a:cubicBezTo>
                    <a:pt x="1197" y="253"/>
                    <a:pt x="1197" y="253"/>
                    <a:pt x="1197" y="253"/>
                  </a:cubicBezTo>
                  <a:cubicBezTo>
                    <a:pt x="1197" y="232"/>
                    <a:pt x="1197" y="232"/>
                    <a:pt x="1197" y="232"/>
                  </a:cubicBezTo>
                  <a:cubicBezTo>
                    <a:pt x="1231" y="232"/>
                    <a:pt x="1231" y="232"/>
                    <a:pt x="1231" y="232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189" y="225"/>
                    <a:pt x="1189" y="225"/>
                    <a:pt x="1189" y="225"/>
                  </a:cubicBezTo>
                  <a:lnTo>
                    <a:pt x="1189" y="289"/>
                  </a:lnTo>
                  <a:close/>
                  <a:moveTo>
                    <a:pt x="1287" y="275"/>
                  </a:moveTo>
                  <a:cubicBezTo>
                    <a:pt x="1250" y="225"/>
                    <a:pt x="1250" y="225"/>
                    <a:pt x="1250" y="225"/>
                  </a:cubicBezTo>
                  <a:cubicBezTo>
                    <a:pt x="1242" y="225"/>
                    <a:pt x="1242" y="225"/>
                    <a:pt x="1242" y="225"/>
                  </a:cubicBezTo>
                  <a:cubicBezTo>
                    <a:pt x="1242" y="289"/>
                    <a:pt x="1242" y="289"/>
                    <a:pt x="1242" y="289"/>
                  </a:cubicBezTo>
                  <a:cubicBezTo>
                    <a:pt x="1250" y="289"/>
                    <a:pt x="1250" y="289"/>
                    <a:pt x="1250" y="289"/>
                  </a:cubicBezTo>
                  <a:cubicBezTo>
                    <a:pt x="1250" y="238"/>
                    <a:pt x="1250" y="238"/>
                    <a:pt x="1250" y="238"/>
                  </a:cubicBezTo>
                  <a:cubicBezTo>
                    <a:pt x="1287" y="289"/>
                    <a:pt x="1287" y="289"/>
                    <a:pt x="1287" y="289"/>
                  </a:cubicBezTo>
                  <a:cubicBezTo>
                    <a:pt x="1295" y="289"/>
                    <a:pt x="1295" y="289"/>
                    <a:pt x="1295" y="289"/>
                  </a:cubicBezTo>
                  <a:cubicBezTo>
                    <a:pt x="1295" y="225"/>
                    <a:pt x="1295" y="225"/>
                    <a:pt x="1295" y="225"/>
                  </a:cubicBezTo>
                  <a:cubicBezTo>
                    <a:pt x="1287" y="225"/>
                    <a:pt x="1287" y="225"/>
                    <a:pt x="1287" y="225"/>
                  </a:cubicBezTo>
                  <a:lnTo>
                    <a:pt x="1287" y="275"/>
                  </a:lnTo>
                  <a:close/>
                  <a:moveTo>
                    <a:pt x="1303" y="232"/>
                  </a:moveTo>
                  <a:cubicBezTo>
                    <a:pt x="1323" y="232"/>
                    <a:pt x="1323" y="232"/>
                    <a:pt x="1323" y="232"/>
                  </a:cubicBezTo>
                  <a:cubicBezTo>
                    <a:pt x="1323" y="289"/>
                    <a:pt x="1323" y="289"/>
                    <a:pt x="1323" y="289"/>
                  </a:cubicBezTo>
                  <a:cubicBezTo>
                    <a:pt x="1331" y="289"/>
                    <a:pt x="1331" y="289"/>
                    <a:pt x="1331" y="289"/>
                  </a:cubicBezTo>
                  <a:cubicBezTo>
                    <a:pt x="1331" y="232"/>
                    <a:pt x="1331" y="232"/>
                    <a:pt x="1331" y="232"/>
                  </a:cubicBezTo>
                  <a:cubicBezTo>
                    <a:pt x="1351" y="232"/>
                    <a:pt x="1351" y="232"/>
                    <a:pt x="1351" y="232"/>
                  </a:cubicBezTo>
                  <a:cubicBezTo>
                    <a:pt x="1351" y="225"/>
                    <a:pt x="1351" y="225"/>
                    <a:pt x="1351" y="225"/>
                  </a:cubicBezTo>
                  <a:cubicBezTo>
                    <a:pt x="1303" y="225"/>
                    <a:pt x="1303" y="225"/>
                    <a:pt x="1303" y="225"/>
                  </a:cubicBezTo>
                  <a:lnTo>
                    <a:pt x="1303" y="232"/>
                  </a:lnTo>
                  <a:close/>
                  <a:moveTo>
                    <a:pt x="1360" y="289"/>
                  </a:moveTo>
                  <a:cubicBezTo>
                    <a:pt x="1401" y="289"/>
                    <a:pt x="1401" y="289"/>
                    <a:pt x="1401" y="289"/>
                  </a:cubicBezTo>
                  <a:cubicBezTo>
                    <a:pt x="1401" y="282"/>
                    <a:pt x="1401" y="282"/>
                    <a:pt x="1401" y="282"/>
                  </a:cubicBezTo>
                  <a:cubicBezTo>
                    <a:pt x="1367" y="282"/>
                    <a:pt x="1367" y="282"/>
                    <a:pt x="1367" y="282"/>
                  </a:cubicBezTo>
                  <a:cubicBezTo>
                    <a:pt x="1367" y="260"/>
                    <a:pt x="1367" y="260"/>
                    <a:pt x="1367" y="260"/>
                  </a:cubicBezTo>
                  <a:cubicBezTo>
                    <a:pt x="1401" y="260"/>
                    <a:pt x="1401" y="260"/>
                    <a:pt x="1401" y="260"/>
                  </a:cubicBezTo>
                  <a:cubicBezTo>
                    <a:pt x="1401" y="253"/>
                    <a:pt x="1401" y="253"/>
                    <a:pt x="1401" y="253"/>
                  </a:cubicBezTo>
                  <a:cubicBezTo>
                    <a:pt x="1367" y="253"/>
                    <a:pt x="1367" y="253"/>
                    <a:pt x="1367" y="253"/>
                  </a:cubicBezTo>
                  <a:cubicBezTo>
                    <a:pt x="1367" y="232"/>
                    <a:pt x="1367" y="232"/>
                    <a:pt x="1367" y="232"/>
                  </a:cubicBezTo>
                  <a:cubicBezTo>
                    <a:pt x="1401" y="232"/>
                    <a:pt x="1401" y="232"/>
                    <a:pt x="1401" y="232"/>
                  </a:cubicBezTo>
                  <a:cubicBezTo>
                    <a:pt x="1401" y="225"/>
                    <a:pt x="1401" y="225"/>
                    <a:pt x="1401" y="225"/>
                  </a:cubicBezTo>
                  <a:cubicBezTo>
                    <a:pt x="1360" y="225"/>
                    <a:pt x="1360" y="225"/>
                    <a:pt x="1360" y="225"/>
                  </a:cubicBezTo>
                  <a:lnTo>
                    <a:pt x="1360" y="289"/>
                  </a:lnTo>
                  <a:close/>
                  <a:moveTo>
                    <a:pt x="1458" y="244"/>
                  </a:moveTo>
                  <a:cubicBezTo>
                    <a:pt x="1458" y="233"/>
                    <a:pt x="1449" y="225"/>
                    <a:pt x="1437" y="225"/>
                  </a:cubicBezTo>
                  <a:cubicBezTo>
                    <a:pt x="1412" y="225"/>
                    <a:pt x="1412" y="225"/>
                    <a:pt x="1412" y="225"/>
                  </a:cubicBezTo>
                  <a:cubicBezTo>
                    <a:pt x="1412" y="289"/>
                    <a:pt x="1412" y="289"/>
                    <a:pt x="1412" y="289"/>
                  </a:cubicBezTo>
                  <a:cubicBezTo>
                    <a:pt x="1420" y="289"/>
                    <a:pt x="1420" y="289"/>
                    <a:pt x="1420" y="289"/>
                  </a:cubicBezTo>
                  <a:cubicBezTo>
                    <a:pt x="1420" y="264"/>
                    <a:pt x="1420" y="264"/>
                    <a:pt x="1420" y="264"/>
                  </a:cubicBezTo>
                  <a:cubicBezTo>
                    <a:pt x="1433" y="264"/>
                    <a:pt x="1433" y="264"/>
                    <a:pt x="1433" y="264"/>
                  </a:cubicBezTo>
                  <a:cubicBezTo>
                    <a:pt x="1449" y="289"/>
                    <a:pt x="1449" y="289"/>
                    <a:pt x="1449" y="289"/>
                  </a:cubicBezTo>
                  <a:cubicBezTo>
                    <a:pt x="1458" y="289"/>
                    <a:pt x="1458" y="289"/>
                    <a:pt x="1458" y="289"/>
                  </a:cubicBezTo>
                  <a:cubicBezTo>
                    <a:pt x="1441" y="263"/>
                    <a:pt x="1441" y="263"/>
                    <a:pt x="1441" y="263"/>
                  </a:cubicBezTo>
                  <a:cubicBezTo>
                    <a:pt x="1450" y="262"/>
                    <a:pt x="1458" y="256"/>
                    <a:pt x="1458" y="244"/>
                  </a:cubicBezTo>
                  <a:close/>
                  <a:moveTo>
                    <a:pt x="1420" y="257"/>
                  </a:moveTo>
                  <a:cubicBezTo>
                    <a:pt x="1420" y="232"/>
                    <a:pt x="1420" y="232"/>
                    <a:pt x="1420" y="232"/>
                  </a:cubicBezTo>
                  <a:cubicBezTo>
                    <a:pt x="1437" y="232"/>
                    <a:pt x="1437" y="232"/>
                    <a:pt x="1437" y="232"/>
                  </a:cubicBezTo>
                  <a:cubicBezTo>
                    <a:pt x="1444" y="232"/>
                    <a:pt x="1449" y="237"/>
                    <a:pt x="1449" y="244"/>
                  </a:cubicBezTo>
                  <a:cubicBezTo>
                    <a:pt x="1449" y="252"/>
                    <a:pt x="1444" y="257"/>
                    <a:pt x="1437" y="257"/>
                  </a:cubicBezTo>
                  <a:lnTo>
                    <a:pt x="1420" y="257"/>
                  </a:lnTo>
                  <a:close/>
                  <a:moveTo>
                    <a:pt x="59" y="0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58" y="312"/>
                    <a:pt x="58" y="312"/>
                    <a:pt x="58" y="312"/>
                  </a:cubicBezTo>
                  <a:cubicBezTo>
                    <a:pt x="180" y="312"/>
                    <a:pt x="180" y="312"/>
                    <a:pt x="180" y="312"/>
                  </a:cubicBezTo>
                  <a:cubicBezTo>
                    <a:pt x="239" y="253"/>
                    <a:pt x="239" y="253"/>
                    <a:pt x="239" y="25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180" y="0"/>
                    <a:pt x="180" y="0"/>
                    <a:pt x="180" y="0"/>
                  </a:cubicBezTo>
                  <a:lnTo>
                    <a:pt x="59" y="0"/>
                  </a:lnTo>
                  <a:close/>
                  <a:moveTo>
                    <a:pt x="233" y="251"/>
                  </a:moveTo>
                  <a:cubicBezTo>
                    <a:pt x="178" y="307"/>
                    <a:pt x="178" y="307"/>
                    <a:pt x="178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5" y="251"/>
                    <a:pt x="5" y="251"/>
                    <a:pt x="5" y="25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233" y="60"/>
                    <a:pt x="233" y="60"/>
                    <a:pt x="233" y="60"/>
                  </a:cubicBezTo>
                  <a:lnTo>
                    <a:pt x="233" y="251"/>
                  </a:lnTo>
                  <a:close/>
                  <a:moveTo>
                    <a:pt x="89" y="75"/>
                  </a:moveTo>
                  <a:cubicBezTo>
                    <a:pt x="73" y="91"/>
                    <a:pt x="73" y="91"/>
                    <a:pt x="73" y="91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89" y="238"/>
                    <a:pt x="89" y="238"/>
                    <a:pt x="89" y="238"/>
                  </a:cubicBezTo>
                  <a:cubicBezTo>
                    <a:pt x="150" y="238"/>
                    <a:pt x="150" y="238"/>
                    <a:pt x="150" y="238"/>
                  </a:cubicBezTo>
                  <a:cubicBezTo>
                    <a:pt x="165" y="222"/>
                    <a:pt x="165" y="222"/>
                    <a:pt x="165" y="222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49" y="75"/>
                    <a:pt x="149" y="75"/>
                    <a:pt x="149" y="75"/>
                  </a:cubicBezTo>
                  <a:lnTo>
                    <a:pt x="89" y="75"/>
                  </a:lnTo>
                  <a:close/>
                  <a:moveTo>
                    <a:pt x="160" y="220"/>
                  </a:moveTo>
                  <a:cubicBezTo>
                    <a:pt x="147" y="233"/>
                    <a:pt x="147" y="233"/>
                    <a:pt x="147" y="233"/>
                  </a:cubicBezTo>
                  <a:cubicBezTo>
                    <a:pt x="91" y="233"/>
                    <a:pt x="91" y="233"/>
                    <a:pt x="91" y="233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9" y="93"/>
                    <a:pt x="79" y="93"/>
                    <a:pt x="79" y="93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60" y="93"/>
                    <a:pt x="160" y="93"/>
                    <a:pt x="160" y="93"/>
                  </a:cubicBezTo>
                  <a:lnTo>
                    <a:pt x="160" y="220"/>
                  </a:lnTo>
                  <a:close/>
                  <a:moveTo>
                    <a:pt x="318" y="169"/>
                  </a:moveTo>
                  <a:cubicBezTo>
                    <a:pt x="318" y="174"/>
                    <a:pt x="318" y="174"/>
                    <a:pt x="318" y="174"/>
                  </a:cubicBezTo>
                  <a:cubicBezTo>
                    <a:pt x="2178" y="174"/>
                    <a:pt x="2178" y="174"/>
                    <a:pt x="2178" y="174"/>
                  </a:cubicBezTo>
                  <a:cubicBezTo>
                    <a:pt x="2178" y="169"/>
                    <a:pt x="2178" y="169"/>
                    <a:pt x="2178" y="169"/>
                  </a:cubicBezTo>
                  <a:lnTo>
                    <a:pt x="318" y="169"/>
                  </a:lnTo>
                  <a:close/>
                  <a:moveTo>
                    <a:pt x="1628" y="109"/>
                  </a:moveTo>
                  <a:cubicBezTo>
                    <a:pt x="1616" y="107"/>
                    <a:pt x="1616" y="107"/>
                    <a:pt x="1616" y="107"/>
                  </a:cubicBezTo>
                  <a:cubicBezTo>
                    <a:pt x="1616" y="48"/>
                    <a:pt x="1616" y="48"/>
                    <a:pt x="1616" y="48"/>
                  </a:cubicBezTo>
                  <a:cubicBezTo>
                    <a:pt x="1628" y="46"/>
                    <a:pt x="1628" y="46"/>
                    <a:pt x="1628" y="46"/>
                  </a:cubicBezTo>
                  <a:cubicBezTo>
                    <a:pt x="1628" y="39"/>
                    <a:pt x="1628" y="39"/>
                    <a:pt x="1628" y="39"/>
                  </a:cubicBezTo>
                  <a:cubicBezTo>
                    <a:pt x="1587" y="39"/>
                    <a:pt x="1587" y="39"/>
                    <a:pt x="1587" y="39"/>
                  </a:cubicBezTo>
                  <a:cubicBezTo>
                    <a:pt x="1587" y="46"/>
                    <a:pt x="1587" y="46"/>
                    <a:pt x="1587" y="46"/>
                  </a:cubicBezTo>
                  <a:cubicBezTo>
                    <a:pt x="1599" y="48"/>
                    <a:pt x="1599" y="48"/>
                    <a:pt x="1599" y="48"/>
                  </a:cubicBezTo>
                  <a:cubicBezTo>
                    <a:pt x="1599" y="107"/>
                    <a:pt x="1599" y="107"/>
                    <a:pt x="1599" y="107"/>
                  </a:cubicBezTo>
                  <a:cubicBezTo>
                    <a:pt x="1587" y="109"/>
                    <a:pt x="1587" y="109"/>
                    <a:pt x="1587" y="109"/>
                  </a:cubicBezTo>
                  <a:cubicBezTo>
                    <a:pt x="1587" y="116"/>
                    <a:pt x="1587" y="116"/>
                    <a:pt x="1587" y="116"/>
                  </a:cubicBezTo>
                  <a:cubicBezTo>
                    <a:pt x="1628" y="116"/>
                    <a:pt x="1628" y="116"/>
                    <a:pt x="1628" y="116"/>
                  </a:cubicBezTo>
                  <a:lnTo>
                    <a:pt x="1628" y="109"/>
                  </a:lnTo>
                  <a:close/>
                  <a:moveTo>
                    <a:pt x="1526" y="109"/>
                  </a:moveTo>
                  <a:cubicBezTo>
                    <a:pt x="1515" y="107"/>
                    <a:pt x="1515" y="107"/>
                    <a:pt x="1515" y="107"/>
                  </a:cubicBezTo>
                  <a:cubicBezTo>
                    <a:pt x="1515" y="61"/>
                    <a:pt x="1515" y="61"/>
                    <a:pt x="1515" y="61"/>
                  </a:cubicBezTo>
                  <a:cubicBezTo>
                    <a:pt x="1553" y="116"/>
                    <a:pt x="1553" y="116"/>
                    <a:pt x="1553" y="116"/>
                  </a:cubicBezTo>
                  <a:cubicBezTo>
                    <a:pt x="1567" y="116"/>
                    <a:pt x="1567" y="116"/>
                    <a:pt x="1567" y="116"/>
                  </a:cubicBezTo>
                  <a:cubicBezTo>
                    <a:pt x="1567" y="48"/>
                    <a:pt x="1567" y="48"/>
                    <a:pt x="1567" y="48"/>
                  </a:cubicBezTo>
                  <a:cubicBezTo>
                    <a:pt x="1578" y="46"/>
                    <a:pt x="1578" y="46"/>
                    <a:pt x="1578" y="46"/>
                  </a:cubicBezTo>
                  <a:cubicBezTo>
                    <a:pt x="1578" y="39"/>
                    <a:pt x="1578" y="39"/>
                    <a:pt x="1578" y="39"/>
                  </a:cubicBezTo>
                  <a:cubicBezTo>
                    <a:pt x="1544" y="39"/>
                    <a:pt x="1544" y="39"/>
                    <a:pt x="1544" y="39"/>
                  </a:cubicBezTo>
                  <a:cubicBezTo>
                    <a:pt x="1544" y="46"/>
                    <a:pt x="1544" y="46"/>
                    <a:pt x="1544" y="46"/>
                  </a:cubicBezTo>
                  <a:cubicBezTo>
                    <a:pt x="1556" y="48"/>
                    <a:pt x="1556" y="48"/>
                    <a:pt x="1556" y="48"/>
                  </a:cubicBezTo>
                  <a:cubicBezTo>
                    <a:pt x="1556" y="91"/>
                    <a:pt x="1556" y="91"/>
                    <a:pt x="1556" y="91"/>
                  </a:cubicBezTo>
                  <a:cubicBezTo>
                    <a:pt x="1518" y="39"/>
                    <a:pt x="1518" y="39"/>
                    <a:pt x="1518" y="39"/>
                  </a:cubicBezTo>
                  <a:cubicBezTo>
                    <a:pt x="1492" y="39"/>
                    <a:pt x="1492" y="39"/>
                    <a:pt x="1492" y="39"/>
                  </a:cubicBezTo>
                  <a:cubicBezTo>
                    <a:pt x="1492" y="46"/>
                    <a:pt x="1492" y="46"/>
                    <a:pt x="1492" y="46"/>
                  </a:cubicBezTo>
                  <a:cubicBezTo>
                    <a:pt x="1503" y="48"/>
                    <a:pt x="1503" y="48"/>
                    <a:pt x="1503" y="48"/>
                  </a:cubicBezTo>
                  <a:cubicBezTo>
                    <a:pt x="1503" y="107"/>
                    <a:pt x="1503" y="107"/>
                    <a:pt x="1503" y="107"/>
                  </a:cubicBezTo>
                  <a:cubicBezTo>
                    <a:pt x="1492" y="109"/>
                    <a:pt x="1492" y="109"/>
                    <a:pt x="1492" y="109"/>
                  </a:cubicBezTo>
                  <a:cubicBezTo>
                    <a:pt x="1492" y="116"/>
                    <a:pt x="1492" y="116"/>
                    <a:pt x="1492" y="116"/>
                  </a:cubicBezTo>
                  <a:cubicBezTo>
                    <a:pt x="1526" y="116"/>
                    <a:pt x="1526" y="116"/>
                    <a:pt x="1526" y="116"/>
                  </a:cubicBezTo>
                  <a:lnTo>
                    <a:pt x="1526" y="109"/>
                  </a:lnTo>
                  <a:close/>
                  <a:moveTo>
                    <a:pt x="1400" y="76"/>
                  </a:moveTo>
                  <a:cubicBezTo>
                    <a:pt x="1400" y="86"/>
                    <a:pt x="1399" y="99"/>
                    <a:pt x="1407" y="107"/>
                  </a:cubicBezTo>
                  <a:cubicBezTo>
                    <a:pt x="1414" y="114"/>
                    <a:pt x="1424" y="117"/>
                    <a:pt x="1438" y="117"/>
                  </a:cubicBezTo>
                  <a:cubicBezTo>
                    <a:pt x="1451" y="117"/>
                    <a:pt x="1461" y="115"/>
                    <a:pt x="1466" y="109"/>
                  </a:cubicBezTo>
                  <a:cubicBezTo>
                    <a:pt x="1474" y="101"/>
                    <a:pt x="1475" y="94"/>
                    <a:pt x="1475" y="77"/>
                  </a:cubicBezTo>
                  <a:cubicBezTo>
                    <a:pt x="1475" y="27"/>
                    <a:pt x="1475" y="27"/>
                    <a:pt x="1475" y="27"/>
                  </a:cubicBezTo>
                  <a:cubicBezTo>
                    <a:pt x="1487" y="26"/>
                    <a:pt x="1487" y="26"/>
                    <a:pt x="1487" y="26"/>
                  </a:cubicBezTo>
                  <a:cubicBezTo>
                    <a:pt x="1487" y="18"/>
                    <a:pt x="1487" y="18"/>
                    <a:pt x="1487" y="18"/>
                  </a:cubicBezTo>
                  <a:cubicBezTo>
                    <a:pt x="1452" y="18"/>
                    <a:pt x="1452" y="18"/>
                    <a:pt x="1452" y="18"/>
                  </a:cubicBezTo>
                  <a:cubicBezTo>
                    <a:pt x="1452" y="26"/>
                    <a:pt x="1452" y="26"/>
                    <a:pt x="1452" y="26"/>
                  </a:cubicBezTo>
                  <a:cubicBezTo>
                    <a:pt x="1463" y="27"/>
                    <a:pt x="1463" y="27"/>
                    <a:pt x="1463" y="27"/>
                  </a:cubicBezTo>
                  <a:cubicBezTo>
                    <a:pt x="1463" y="84"/>
                    <a:pt x="1463" y="84"/>
                    <a:pt x="1463" y="84"/>
                  </a:cubicBezTo>
                  <a:cubicBezTo>
                    <a:pt x="1463" y="92"/>
                    <a:pt x="1461" y="97"/>
                    <a:pt x="1458" y="101"/>
                  </a:cubicBezTo>
                  <a:cubicBezTo>
                    <a:pt x="1454" y="105"/>
                    <a:pt x="1448" y="107"/>
                    <a:pt x="1441" y="107"/>
                  </a:cubicBezTo>
                  <a:cubicBezTo>
                    <a:pt x="1427" y="107"/>
                    <a:pt x="1418" y="100"/>
                    <a:pt x="1418" y="84"/>
                  </a:cubicBezTo>
                  <a:cubicBezTo>
                    <a:pt x="1418" y="27"/>
                    <a:pt x="1418" y="27"/>
                    <a:pt x="1418" y="27"/>
                  </a:cubicBezTo>
                  <a:cubicBezTo>
                    <a:pt x="1430" y="26"/>
                    <a:pt x="1430" y="26"/>
                    <a:pt x="1430" y="26"/>
                  </a:cubicBezTo>
                  <a:cubicBezTo>
                    <a:pt x="1430" y="18"/>
                    <a:pt x="1430" y="18"/>
                    <a:pt x="1430" y="18"/>
                  </a:cubicBezTo>
                  <a:cubicBezTo>
                    <a:pt x="1388" y="18"/>
                    <a:pt x="1388" y="18"/>
                    <a:pt x="1388" y="18"/>
                  </a:cubicBezTo>
                  <a:cubicBezTo>
                    <a:pt x="1388" y="26"/>
                    <a:pt x="1388" y="26"/>
                    <a:pt x="1388" y="26"/>
                  </a:cubicBezTo>
                  <a:cubicBezTo>
                    <a:pt x="1400" y="27"/>
                    <a:pt x="1400" y="27"/>
                    <a:pt x="1400" y="27"/>
                  </a:cubicBezTo>
                  <a:lnTo>
                    <a:pt x="1400" y="76"/>
                  </a:lnTo>
                  <a:close/>
                  <a:moveTo>
                    <a:pt x="1671" y="116"/>
                  </a:moveTo>
                  <a:cubicBezTo>
                    <a:pt x="1687" y="116"/>
                    <a:pt x="1687" y="116"/>
                    <a:pt x="1687" y="116"/>
                  </a:cubicBezTo>
                  <a:cubicBezTo>
                    <a:pt x="1713" y="48"/>
                    <a:pt x="1713" y="48"/>
                    <a:pt x="1713" y="48"/>
                  </a:cubicBezTo>
                  <a:cubicBezTo>
                    <a:pt x="1724" y="46"/>
                    <a:pt x="1724" y="46"/>
                    <a:pt x="1724" y="46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690" y="39"/>
                    <a:pt x="1690" y="39"/>
                    <a:pt x="1690" y="39"/>
                  </a:cubicBezTo>
                  <a:cubicBezTo>
                    <a:pt x="1690" y="46"/>
                    <a:pt x="1690" y="46"/>
                    <a:pt x="1690" y="46"/>
                  </a:cubicBezTo>
                  <a:cubicBezTo>
                    <a:pt x="1701" y="48"/>
                    <a:pt x="1701" y="48"/>
                    <a:pt x="1701" y="48"/>
                  </a:cubicBezTo>
                  <a:cubicBezTo>
                    <a:pt x="1682" y="100"/>
                    <a:pt x="1682" y="100"/>
                    <a:pt x="1682" y="100"/>
                  </a:cubicBezTo>
                  <a:cubicBezTo>
                    <a:pt x="1663" y="48"/>
                    <a:pt x="1663" y="48"/>
                    <a:pt x="1663" y="48"/>
                  </a:cubicBezTo>
                  <a:cubicBezTo>
                    <a:pt x="1674" y="46"/>
                    <a:pt x="1674" y="46"/>
                    <a:pt x="1674" y="46"/>
                  </a:cubicBezTo>
                  <a:cubicBezTo>
                    <a:pt x="1674" y="39"/>
                    <a:pt x="1674" y="39"/>
                    <a:pt x="1674" y="39"/>
                  </a:cubicBezTo>
                  <a:cubicBezTo>
                    <a:pt x="1634" y="39"/>
                    <a:pt x="1634" y="39"/>
                    <a:pt x="1634" y="39"/>
                  </a:cubicBezTo>
                  <a:cubicBezTo>
                    <a:pt x="1634" y="46"/>
                    <a:pt x="1634" y="46"/>
                    <a:pt x="1634" y="46"/>
                  </a:cubicBezTo>
                  <a:cubicBezTo>
                    <a:pt x="1645" y="48"/>
                    <a:pt x="1645" y="48"/>
                    <a:pt x="1645" y="48"/>
                  </a:cubicBezTo>
                  <a:lnTo>
                    <a:pt x="1671" y="116"/>
                  </a:lnTo>
                  <a:close/>
                  <a:moveTo>
                    <a:pt x="2003" y="109"/>
                  </a:moveTo>
                  <a:cubicBezTo>
                    <a:pt x="1992" y="107"/>
                    <a:pt x="1992" y="107"/>
                    <a:pt x="1992" y="107"/>
                  </a:cubicBezTo>
                  <a:cubicBezTo>
                    <a:pt x="1992" y="48"/>
                    <a:pt x="1992" y="48"/>
                    <a:pt x="1992" y="48"/>
                  </a:cubicBezTo>
                  <a:cubicBezTo>
                    <a:pt x="2003" y="46"/>
                    <a:pt x="2003" y="46"/>
                    <a:pt x="2003" y="46"/>
                  </a:cubicBezTo>
                  <a:cubicBezTo>
                    <a:pt x="2003" y="39"/>
                    <a:pt x="2003" y="39"/>
                    <a:pt x="2003" y="39"/>
                  </a:cubicBezTo>
                  <a:cubicBezTo>
                    <a:pt x="1963" y="39"/>
                    <a:pt x="1963" y="39"/>
                    <a:pt x="1963" y="39"/>
                  </a:cubicBezTo>
                  <a:cubicBezTo>
                    <a:pt x="1963" y="46"/>
                    <a:pt x="1963" y="46"/>
                    <a:pt x="1963" y="46"/>
                  </a:cubicBezTo>
                  <a:cubicBezTo>
                    <a:pt x="1974" y="48"/>
                    <a:pt x="1974" y="48"/>
                    <a:pt x="1974" y="48"/>
                  </a:cubicBezTo>
                  <a:cubicBezTo>
                    <a:pt x="1974" y="107"/>
                    <a:pt x="1974" y="107"/>
                    <a:pt x="1974" y="107"/>
                  </a:cubicBezTo>
                  <a:cubicBezTo>
                    <a:pt x="1963" y="109"/>
                    <a:pt x="1963" y="109"/>
                    <a:pt x="1963" y="109"/>
                  </a:cubicBezTo>
                  <a:cubicBezTo>
                    <a:pt x="1963" y="116"/>
                    <a:pt x="1963" y="116"/>
                    <a:pt x="1963" y="116"/>
                  </a:cubicBezTo>
                  <a:cubicBezTo>
                    <a:pt x="2003" y="116"/>
                    <a:pt x="2003" y="116"/>
                    <a:pt x="2003" y="116"/>
                  </a:cubicBezTo>
                  <a:lnTo>
                    <a:pt x="2003" y="109"/>
                  </a:lnTo>
                  <a:close/>
                  <a:moveTo>
                    <a:pt x="2021" y="49"/>
                  </a:moveTo>
                  <a:cubicBezTo>
                    <a:pt x="2037" y="49"/>
                    <a:pt x="2037" y="49"/>
                    <a:pt x="2037" y="49"/>
                  </a:cubicBezTo>
                  <a:cubicBezTo>
                    <a:pt x="2037" y="107"/>
                    <a:pt x="2037" y="107"/>
                    <a:pt x="2037" y="107"/>
                  </a:cubicBezTo>
                  <a:cubicBezTo>
                    <a:pt x="2026" y="109"/>
                    <a:pt x="2026" y="109"/>
                    <a:pt x="2026" y="109"/>
                  </a:cubicBezTo>
                  <a:cubicBezTo>
                    <a:pt x="2026" y="116"/>
                    <a:pt x="2026" y="116"/>
                    <a:pt x="2026" y="116"/>
                  </a:cubicBezTo>
                  <a:cubicBezTo>
                    <a:pt x="2066" y="116"/>
                    <a:pt x="2066" y="116"/>
                    <a:pt x="2066" y="116"/>
                  </a:cubicBezTo>
                  <a:cubicBezTo>
                    <a:pt x="2066" y="109"/>
                    <a:pt x="2066" y="109"/>
                    <a:pt x="2066" y="109"/>
                  </a:cubicBezTo>
                  <a:cubicBezTo>
                    <a:pt x="2055" y="107"/>
                    <a:pt x="2055" y="107"/>
                    <a:pt x="2055" y="107"/>
                  </a:cubicBezTo>
                  <a:cubicBezTo>
                    <a:pt x="2055" y="49"/>
                    <a:pt x="2055" y="49"/>
                    <a:pt x="2055" y="49"/>
                  </a:cubicBezTo>
                  <a:cubicBezTo>
                    <a:pt x="2072" y="49"/>
                    <a:pt x="2072" y="49"/>
                    <a:pt x="2072" y="49"/>
                  </a:cubicBezTo>
                  <a:cubicBezTo>
                    <a:pt x="2074" y="60"/>
                    <a:pt x="2074" y="60"/>
                    <a:pt x="2074" y="60"/>
                  </a:cubicBezTo>
                  <a:cubicBezTo>
                    <a:pt x="2081" y="60"/>
                    <a:pt x="2081" y="60"/>
                    <a:pt x="2081" y="60"/>
                  </a:cubicBezTo>
                  <a:cubicBezTo>
                    <a:pt x="2081" y="39"/>
                    <a:pt x="2081" y="39"/>
                    <a:pt x="2081" y="39"/>
                  </a:cubicBezTo>
                  <a:cubicBezTo>
                    <a:pt x="2011" y="39"/>
                    <a:pt x="2011" y="39"/>
                    <a:pt x="2011" y="39"/>
                  </a:cubicBezTo>
                  <a:cubicBezTo>
                    <a:pt x="2011" y="60"/>
                    <a:pt x="2011" y="60"/>
                    <a:pt x="2011" y="60"/>
                  </a:cubicBezTo>
                  <a:cubicBezTo>
                    <a:pt x="2019" y="60"/>
                    <a:pt x="2019" y="60"/>
                    <a:pt x="2019" y="60"/>
                  </a:cubicBezTo>
                  <a:lnTo>
                    <a:pt x="2021" y="49"/>
                  </a:lnTo>
                  <a:close/>
                  <a:moveTo>
                    <a:pt x="2122" y="82"/>
                  </a:moveTo>
                  <a:cubicBezTo>
                    <a:pt x="2122" y="107"/>
                    <a:pt x="2122" y="107"/>
                    <a:pt x="2122" y="107"/>
                  </a:cubicBezTo>
                  <a:cubicBezTo>
                    <a:pt x="2110" y="109"/>
                    <a:pt x="2110" y="109"/>
                    <a:pt x="2110" y="109"/>
                  </a:cubicBezTo>
                  <a:cubicBezTo>
                    <a:pt x="2110" y="116"/>
                    <a:pt x="2110" y="116"/>
                    <a:pt x="2110" y="116"/>
                  </a:cubicBezTo>
                  <a:cubicBezTo>
                    <a:pt x="2150" y="116"/>
                    <a:pt x="2150" y="116"/>
                    <a:pt x="2150" y="116"/>
                  </a:cubicBezTo>
                  <a:cubicBezTo>
                    <a:pt x="2150" y="109"/>
                    <a:pt x="2150" y="109"/>
                    <a:pt x="2150" y="109"/>
                  </a:cubicBezTo>
                  <a:cubicBezTo>
                    <a:pt x="2139" y="107"/>
                    <a:pt x="2139" y="107"/>
                    <a:pt x="2139" y="107"/>
                  </a:cubicBezTo>
                  <a:cubicBezTo>
                    <a:pt x="2139" y="82"/>
                    <a:pt x="2139" y="82"/>
                    <a:pt x="2139" y="82"/>
                  </a:cubicBezTo>
                  <a:cubicBezTo>
                    <a:pt x="2161" y="48"/>
                    <a:pt x="2161" y="48"/>
                    <a:pt x="2161" y="48"/>
                  </a:cubicBezTo>
                  <a:cubicBezTo>
                    <a:pt x="2172" y="46"/>
                    <a:pt x="2172" y="46"/>
                    <a:pt x="2172" y="46"/>
                  </a:cubicBezTo>
                  <a:cubicBezTo>
                    <a:pt x="2172" y="39"/>
                    <a:pt x="2172" y="39"/>
                    <a:pt x="2172" y="39"/>
                  </a:cubicBezTo>
                  <a:cubicBezTo>
                    <a:pt x="2138" y="39"/>
                    <a:pt x="2138" y="39"/>
                    <a:pt x="2138" y="39"/>
                  </a:cubicBezTo>
                  <a:cubicBezTo>
                    <a:pt x="2138" y="46"/>
                    <a:pt x="2138" y="46"/>
                    <a:pt x="2138" y="46"/>
                  </a:cubicBezTo>
                  <a:cubicBezTo>
                    <a:pt x="2149" y="48"/>
                    <a:pt x="2149" y="48"/>
                    <a:pt x="2149" y="48"/>
                  </a:cubicBezTo>
                  <a:cubicBezTo>
                    <a:pt x="2133" y="73"/>
                    <a:pt x="2133" y="73"/>
                    <a:pt x="2133" y="73"/>
                  </a:cubicBezTo>
                  <a:cubicBezTo>
                    <a:pt x="2118" y="48"/>
                    <a:pt x="2118" y="48"/>
                    <a:pt x="2118" y="48"/>
                  </a:cubicBezTo>
                  <a:cubicBezTo>
                    <a:pt x="2129" y="46"/>
                    <a:pt x="2129" y="46"/>
                    <a:pt x="2129" y="46"/>
                  </a:cubicBezTo>
                  <a:cubicBezTo>
                    <a:pt x="2129" y="39"/>
                    <a:pt x="2129" y="39"/>
                    <a:pt x="2129" y="39"/>
                  </a:cubicBezTo>
                  <a:cubicBezTo>
                    <a:pt x="2088" y="39"/>
                    <a:pt x="2088" y="39"/>
                    <a:pt x="2088" y="39"/>
                  </a:cubicBezTo>
                  <a:cubicBezTo>
                    <a:pt x="2088" y="46"/>
                    <a:pt x="2088" y="46"/>
                    <a:pt x="2088" y="46"/>
                  </a:cubicBezTo>
                  <a:cubicBezTo>
                    <a:pt x="2099" y="48"/>
                    <a:pt x="2099" y="48"/>
                    <a:pt x="2099" y="48"/>
                  </a:cubicBezTo>
                  <a:lnTo>
                    <a:pt x="2122" y="82"/>
                  </a:lnTo>
                  <a:close/>
                  <a:moveTo>
                    <a:pt x="1953" y="94"/>
                  </a:moveTo>
                  <a:cubicBezTo>
                    <a:pt x="1953" y="63"/>
                    <a:pt x="1913" y="75"/>
                    <a:pt x="1913" y="58"/>
                  </a:cubicBezTo>
                  <a:cubicBezTo>
                    <a:pt x="1913" y="50"/>
                    <a:pt x="1919" y="48"/>
                    <a:pt x="1926" y="48"/>
                  </a:cubicBezTo>
                  <a:cubicBezTo>
                    <a:pt x="1933" y="48"/>
                    <a:pt x="1939" y="49"/>
                    <a:pt x="1939" y="49"/>
                  </a:cubicBezTo>
                  <a:cubicBezTo>
                    <a:pt x="1941" y="61"/>
                    <a:pt x="1941" y="61"/>
                    <a:pt x="1941" y="61"/>
                  </a:cubicBezTo>
                  <a:cubicBezTo>
                    <a:pt x="1949" y="61"/>
                    <a:pt x="1949" y="61"/>
                    <a:pt x="1949" y="61"/>
                  </a:cubicBezTo>
                  <a:cubicBezTo>
                    <a:pt x="1949" y="42"/>
                    <a:pt x="1949" y="42"/>
                    <a:pt x="1949" y="42"/>
                  </a:cubicBezTo>
                  <a:cubicBezTo>
                    <a:pt x="1941" y="40"/>
                    <a:pt x="1933" y="38"/>
                    <a:pt x="1924" y="38"/>
                  </a:cubicBezTo>
                  <a:cubicBezTo>
                    <a:pt x="1905" y="38"/>
                    <a:pt x="1896" y="46"/>
                    <a:pt x="1896" y="60"/>
                  </a:cubicBezTo>
                  <a:cubicBezTo>
                    <a:pt x="1896" y="79"/>
                    <a:pt x="1914" y="81"/>
                    <a:pt x="1928" y="86"/>
                  </a:cubicBezTo>
                  <a:cubicBezTo>
                    <a:pt x="1933" y="87"/>
                    <a:pt x="1936" y="89"/>
                    <a:pt x="1936" y="95"/>
                  </a:cubicBezTo>
                  <a:cubicBezTo>
                    <a:pt x="1936" y="104"/>
                    <a:pt x="1929" y="107"/>
                    <a:pt x="1920" y="107"/>
                  </a:cubicBezTo>
                  <a:cubicBezTo>
                    <a:pt x="1911" y="107"/>
                    <a:pt x="1905" y="105"/>
                    <a:pt x="1905" y="105"/>
                  </a:cubicBezTo>
                  <a:cubicBezTo>
                    <a:pt x="1903" y="92"/>
                    <a:pt x="1903" y="92"/>
                    <a:pt x="1903" y="92"/>
                  </a:cubicBezTo>
                  <a:cubicBezTo>
                    <a:pt x="1896" y="92"/>
                    <a:pt x="1896" y="92"/>
                    <a:pt x="1896" y="92"/>
                  </a:cubicBezTo>
                  <a:cubicBezTo>
                    <a:pt x="1896" y="112"/>
                    <a:pt x="1896" y="112"/>
                    <a:pt x="1896" y="112"/>
                  </a:cubicBezTo>
                  <a:cubicBezTo>
                    <a:pt x="1896" y="112"/>
                    <a:pt x="1908" y="117"/>
                    <a:pt x="1922" y="117"/>
                  </a:cubicBezTo>
                  <a:cubicBezTo>
                    <a:pt x="1942" y="117"/>
                    <a:pt x="1953" y="109"/>
                    <a:pt x="1953" y="94"/>
                  </a:cubicBezTo>
                  <a:close/>
                  <a:moveTo>
                    <a:pt x="1847" y="109"/>
                  </a:moveTo>
                  <a:cubicBezTo>
                    <a:pt x="1836" y="107"/>
                    <a:pt x="1836" y="107"/>
                    <a:pt x="1836" y="107"/>
                  </a:cubicBezTo>
                  <a:cubicBezTo>
                    <a:pt x="1836" y="81"/>
                    <a:pt x="1836" y="81"/>
                    <a:pt x="1836" y="81"/>
                  </a:cubicBezTo>
                  <a:cubicBezTo>
                    <a:pt x="1838" y="81"/>
                    <a:pt x="1838" y="81"/>
                    <a:pt x="1838" y="81"/>
                  </a:cubicBezTo>
                  <a:cubicBezTo>
                    <a:pt x="1848" y="81"/>
                    <a:pt x="1851" y="86"/>
                    <a:pt x="1855" y="98"/>
                  </a:cubicBezTo>
                  <a:cubicBezTo>
                    <a:pt x="1863" y="116"/>
                    <a:pt x="1863" y="116"/>
                    <a:pt x="1863" y="116"/>
                  </a:cubicBezTo>
                  <a:cubicBezTo>
                    <a:pt x="1887" y="116"/>
                    <a:pt x="1887" y="116"/>
                    <a:pt x="1887" y="116"/>
                  </a:cubicBezTo>
                  <a:cubicBezTo>
                    <a:pt x="1887" y="109"/>
                    <a:pt x="1887" y="109"/>
                    <a:pt x="1887" y="109"/>
                  </a:cubicBezTo>
                  <a:cubicBezTo>
                    <a:pt x="1876" y="107"/>
                    <a:pt x="1876" y="107"/>
                    <a:pt x="1876" y="107"/>
                  </a:cubicBezTo>
                  <a:cubicBezTo>
                    <a:pt x="1873" y="99"/>
                    <a:pt x="1868" y="84"/>
                    <a:pt x="1861" y="79"/>
                  </a:cubicBezTo>
                  <a:cubicBezTo>
                    <a:pt x="1869" y="76"/>
                    <a:pt x="1875" y="68"/>
                    <a:pt x="1875" y="59"/>
                  </a:cubicBezTo>
                  <a:cubicBezTo>
                    <a:pt x="1875" y="54"/>
                    <a:pt x="1873" y="49"/>
                    <a:pt x="1869" y="45"/>
                  </a:cubicBezTo>
                  <a:cubicBezTo>
                    <a:pt x="1863" y="40"/>
                    <a:pt x="1854" y="39"/>
                    <a:pt x="1846" y="39"/>
                  </a:cubicBezTo>
                  <a:cubicBezTo>
                    <a:pt x="1807" y="39"/>
                    <a:pt x="1807" y="39"/>
                    <a:pt x="1807" y="39"/>
                  </a:cubicBezTo>
                  <a:cubicBezTo>
                    <a:pt x="1807" y="46"/>
                    <a:pt x="1807" y="46"/>
                    <a:pt x="1807" y="46"/>
                  </a:cubicBezTo>
                  <a:cubicBezTo>
                    <a:pt x="1819" y="48"/>
                    <a:pt x="1819" y="48"/>
                    <a:pt x="1819" y="48"/>
                  </a:cubicBezTo>
                  <a:cubicBezTo>
                    <a:pt x="1819" y="107"/>
                    <a:pt x="1819" y="107"/>
                    <a:pt x="1819" y="107"/>
                  </a:cubicBezTo>
                  <a:cubicBezTo>
                    <a:pt x="1807" y="109"/>
                    <a:pt x="1807" y="109"/>
                    <a:pt x="1807" y="109"/>
                  </a:cubicBezTo>
                  <a:cubicBezTo>
                    <a:pt x="1807" y="116"/>
                    <a:pt x="1807" y="116"/>
                    <a:pt x="1807" y="116"/>
                  </a:cubicBezTo>
                  <a:cubicBezTo>
                    <a:pt x="1847" y="116"/>
                    <a:pt x="1847" y="116"/>
                    <a:pt x="1847" y="116"/>
                  </a:cubicBezTo>
                  <a:lnTo>
                    <a:pt x="1847" y="109"/>
                  </a:lnTo>
                  <a:close/>
                  <a:moveTo>
                    <a:pt x="1836" y="48"/>
                  </a:moveTo>
                  <a:cubicBezTo>
                    <a:pt x="1841" y="48"/>
                    <a:pt x="1841" y="48"/>
                    <a:pt x="1841" y="48"/>
                  </a:cubicBezTo>
                  <a:cubicBezTo>
                    <a:pt x="1845" y="48"/>
                    <a:pt x="1852" y="48"/>
                    <a:pt x="1854" y="51"/>
                  </a:cubicBezTo>
                  <a:cubicBezTo>
                    <a:pt x="1857" y="53"/>
                    <a:pt x="1858" y="57"/>
                    <a:pt x="1858" y="60"/>
                  </a:cubicBezTo>
                  <a:cubicBezTo>
                    <a:pt x="1858" y="63"/>
                    <a:pt x="1857" y="66"/>
                    <a:pt x="1855" y="69"/>
                  </a:cubicBezTo>
                  <a:cubicBezTo>
                    <a:pt x="1851" y="73"/>
                    <a:pt x="1844" y="73"/>
                    <a:pt x="1839" y="73"/>
                  </a:cubicBezTo>
                  <a:cubicBezTo>
                    <a:pt x="1836" y="73"/>
                    <a:pt x="1836" y="73"/>
                    <a:pt x="1836" y="73"/>
                  </a:cubicBezTo>
                  <a:lnTo>
                    <a:pt x="1836" y="48"/>
                  </a:lnTo>
                  <a:close/>
                  <a:moveTo>
                    <a:pt x="1796" y="95"/>
                  </a:moveTo>
                  <a:cubicBezTo>
                    <a:pt x="1788" y="95"/>
                    <a:pt x="1788" y="95"/>
                    <a:pt x="1788" y="95"/>
                  </a:cubicBezTo>
                  <a:cubicBezTo>
                    <a:pt x="1787" y="106"/>
                    <a:pt x="1787" y="106"/>
                    <a:pt x="1787" y="106"/>
                  </a:cubicBezTo>
                  <a:cubicBezTo>
                    <a:pt x="1759" y="106"/>
                    <a:pt x="1759" y="106"/>
                    <a:pt x="1759" y="106"/>
                  </a:cubicBezTo>
                  <a:cubicBezTo>
                    <a:pt x="1759" y="80"/>
                    <a:pt x="1759" y="80"/>
                    <a:pt x="1759" y="80"/>
                  </a:cubicBezTo>
                  <a:cubicBezTo>
                    <a:pt x="1776" y="80"/>
                    <a:pt x="1776" y="80"/>
                    <a:pt x="1776" y="80"/>
                  </a:cubicBezTo>
                  <a:cubicBezTo>
                    <a:pt x="1778" y="90"/>
                    <a:pt x="1778" y="90"/>
                    <a:pt x="1778" y="90"/>
                  </a:cubicBezTo>
                  <a:cubicBezTo>
                    <a:pt x="1784" y="90"/>
                    <a:pt x="1784" y="90"/>
                    <a:pt x="1784" y="90"/>
                  </a:cubicBezTo>
                  <a:cubicBezTo>
                    <a:pt x="1784" y="61"/>
                    <a:pt x="1784" y="61"/>
                    <a:pt x="1784" y="61"/>
                  </a:cubicBezTo>
                  <a:cubicBezTo>
                    <a:pt x="1778" y="61"/>
                    <a:pt x="1778" y="61"/>
                    <a:pt x="1778" y="61"/>
                  </a:cubicBezTo>
                  <a:cubicBezTo>
                    <a:pt x="1776" y="71"/>
                    <a:pt x="1776" y="71"/>
                    <a:pt x="1776" y="71"/>
                  </a:cubicBezTo>
                  <a:cubicBezTo>
                    <a:pt x="1759" y="71"/>
                    <a:pt x="1759" y="71"/>
                    <a:pt x="1759" y="71"/>
                  </a:cubicBezTo>
                  <a:cubicBezTo>
                    <a:pt x="1759" y="49"/>
                    <a:pt x="1759" y="49"/>
                    <a:pt x="1759" y="49"/>
                  </a:cubicBezTo>
                  <a:cubicBezTo>
                    <a:pt x="1787" y="49"/>
                    <a:pt x="1787" y="49"/>
                    <a:pt x="1787" y="49"/>
                  </a:cubicBezTo>
                  <a:cubicBezTo>
                    <a:pt x="1788" y="59"/>
                    <a:pt x="1788" y="59"/>
                    <a:pt x="1788" y="59"/>
                  </a:cubicBezTo>
                  <a:cubicBezTo>
                    <a:pt x="1796" y="59"/>
                    <a:pt x="1796" y="59"/>
                    <a:pt x="1796" y="59"/>
                  </a:cubicBezTo>
                  <a:cubicBezTo>
                    <a:pt x="1796" y="39"/>
                    <a:pt x="1796" y="39"/>
                    <a:pt x="1796" y="39"/>
                  </a:cubicBezTo>
                  <a:cubicBezTo>
                    <a:pt x="1730" y="39"/>
                    <a:pt x="1730" y="39"/>
                    <a:pt x="1730" y="39"/>
                  </a:cubicBezTo>
                  <a:cubicBezTo>
                    <a:pt x="1730" y="46"/>
                    <a:pt x="1730" y="46"/>
                    <a:pt x="1730" y="46"/>
                  </a:cubicBezTo>
                  <a:cubicBezTo>
                    <a:pt x="1741" y="48"/>
                    <a:pt x="1741" y="48"/>
                    <a:pt x="1741" y="48"/>
                  </a:cubicBezTo>
                  <a:cubicBezTo>
                    <a:pt x="1741" y="107"/>
                    <a:pt x="1741" y="107"/>
                    <a:pt x="1741" y="107"/>
                  </a:cubicBezTo>
                  <a:cubicBezTo>
                    <a:pt x="1730" y="109"/>
                    <a:pt x="1730" y="109"/>
                    <a:pt x="1730" y="109"/>
                  </a:cubicBezTo>
                  <a:cubicBezTo>
                    <a:pt x="1730" y="116"/>
                    <a:pt x="1730" y="116"/>
                    <a:pt x="1730" y="116"/>
                  </a:cubicBezTo>
                  <a:cubicBezTo>
                    <a:pt x="1796" y="116"/>
                    <a:pt x="1796" y="116"/>
                    <a:pt x="1796" y="116"/>
                  </a:cubicBezTo>
                  <a:lnTo>
                    <a:pt x="1796" y="95"/>
                  </a:lnTo>
                  <a:close/>
                  <a:moveTo>
                    <a:pt x="1342" y="95"/>
                  </a:moveTo>
                  <a:cubicBezTo>
                    <a:pt x="1335" y="95"/>
                    <a:pt x="1335" y="95"/>
                    <a:pt x="1335" y="95"/>
                  </a:cubicBezTo>
                  <a:cubicBezTo>
                    <a:pt x="1333" y="106"/>
                    <a:pt x="1333" y="106"/>
                    <a:pt x="1333" y="106"/>
                  </a:cubicBezTo>
                  <a:cubicBezTo>
                    <a:pt x="1305" y="106"/>
                    <a:pt x="1305" y="106"/>
                    <a:pt x="1305" y="106"/>
                  </a:cubicBezTo>
                  <a:cubicBezTo>
                    <a:pt x="1305" y="80"/>
                    <a:pt x="1305" y="80"/>
                    <a:pt x="1305" y="80"/>
                  </a:cubicBezTo>
                  <a:cubicBezTo>
                    <a:pt x="1323" y="80"/>
                    <a:pt x="1323" y="80"/>
                    <a:pt x="1323" y="80"/>
                  </a:cubicBezTo>
                  <a:cubicBezTo>
                    <a:pt x="1325" y="90"/>
                    <a:pt x="1325" y="90"/>
                    <a:pt x="1325" y="90"/>
                  </a:cubicBezTo>
                  <a:cubicBezTo>
                    <a:pt x="1331" y="90"/>
                    <a:pt x="1331" y="90"/>
                    <a:pt x="1331" y="90"/>
                  </a:cubicBezTo>
                  <a:cubicBezTo>
                    <a:pt x="1331" y="61"/>
                    <a:pt x="1331" y="61"/>
                    <a:pt x="1331" y="61"/>
                  </a:cubicBezTo>
                  <a:cubicBezTo>
                    <a:pt x="1325" y="61"/>
                    <a:pt x="1325" y="61"/>
                    <a:pt x="1325" y="61"/>
                  </a:cubicBezTo>
                  <a:cubicBezTo>
                    <a:pt x="1323" y="71"/>
                    <a:pt x="1323" y="71"/>
                    <a:pt x="1323" y="71"/>
                  </a:cubicBezTo>
                  <a:cubicBezTo>
                    <a:pt x="1305" y="71"/>
                    <a:pt x="1305" y="71"/>
                    <a:pt x="1305" y="71"/>
                  </a:cubicBezTo>
                  <a:cubicBezTo>
                    <a:pt x="1305" y="49"/>
                    <a:pt x="1305" y="49"/>
                    <a:pt x="1305" y="49"/>
                  </a:cubicBezTo>
                  <a:cubicBezTo>
                    <a:pt x="1333" y="49"/>
                    <a:pt x="1333" y="49"/>
                    <a:pt x="1333" y="49"/>
                  </a:cubicBezTo>
                  <a:cubicBezTo>
                    <a:pt x="1335" y="59"/>
                    <a:pt x="1335" y="59"/>
                    <a:pt x="1335" y="59"/>
                  </a:cubicBezTo>
                  <a:cubicBezTo>
                    <a:pt x="1342" y="59"/>
                    <a:pt x="1342" y="59"/>
                    <a:pt x="1342" y="59"/>
                  </a:cubicBezTo>
                  <a:cubicBezTo>
                    <a:pt x="1342" y="39"/>
                    <a:pt x="1342" y="39"/>
                    <a:pt x="1342" y="39"/>
                  </a:cubicBezTo>
                  <a:cubicBezTo>
                    <a:pt x="1277" y="39"/>
                    <a:pt x="1277" y="39"/>
                    <a:pt x="1277" y="39"/>
                  </a:cubicBezTo>
                  <a:cubicBezTo>
                    <a:pt x="1277" y="46"/>
                    <a:pt x="1277" y="46"/>
                    <a:pt x="1277" y="46"/>
                  </a:cubicBezTo>
                  <a:cubicBezTo>
                    <a:pt x="1288" y="48"/>
                    <a:pt x="1288" y="48"/>
                    <a:pt x="1288" y="48"/>
                  </a:cubicBezTo>
                  <a:cubicBezTo>
                    <a:pt x="1288" y="107"/>
                    <a:pt x="1288" y="107"/>
                    <a:pt x="1288" y="107"/>
                  </a:cubicBezTo>
                  <a:cubicBezTo>
                    <a:pt x="1277" y="109"/>
                    <a:pt x="1277" y="109"/>
                    <a:pt x="1277" y="109"/>
                  </a:cubicBezTo>
                  <a:cubicBezTo>
                    <a:pt x="1277" y="116"/>
                    <a:pt x="1277" y="116"/>
                    <a:pt x="1277" y="116"/>
                  </a:cubicBezTo>
                  <a:cubicBezTo>
                    <a:pt x="1342" y="116"/>
                    <a:pt x="1342" y="116"/>
                    <a:pt x="1342" y="116"/>
                  </a:cubicBezTo>
                  <a:lnTo>
                    <a:pt x="1342" y="95"/>
                  </a:lnTo>
                  <a:close/>
                  <a:moveTo>
                    <a:pt x="566" y="95"/>
                  </a:moveTo>
                  <a:cubicBezTo>
                    <a:pt x="559" y="95"/>
                    <a:pt x="559" y="95"/>
                    <a:pt x="559" y="95"/>
                  </a:cubicBezTo>
                  <a:cubicBezTo>
                    <a:pt x="557" y="106"/>
                    <a:pt x="557" y="106"/>
                    <a:pt x="557" y="106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29" y="80"/>
                    <a:pt x="529" y="80"/>
                    <a:pt x="529" y="80"/>
                  </a:cubicBezTo>
                  <a:cubicBezTo>
                    <a:pt x="546" y="80"/>
                    <a:pt x="546" y="80"/>
                    <a:pt x="546" y="80"/>
                  </a:cubicBezTo>
                  <a:cubicBezTo>
                    <a:pt x="548" y="90"/>
                    <a:pt x="548" y="90"/>
                    <a:pt x="548" y="90"/>
                  </a:cubicBezTo>
                  <a:cubicBezTo>
                    <a:pt x="555" y="90"/>
                    <a:pt x="555" y="90"/>
                    <a:pt x="555" y="90"/>
                  </a:cubicBezTo>
                  <a:cubicBezTo>
                    <a:pt x="555" y="61"/>
                    <a:pt x="555" y="61"/>
                    <a:pt x="555" y="61"/>
                  </a:cubicBezTo>
                  <a:cubicBezTo>
                    <a:pt x="548" y="61"/>
                    <a:pt x="548" y="61"/>
                    <a:pt x="548" y="61"/>
                  </a:cubicBezTo>
                  <a:cubicBezTo>
                    <a:pt x="546" y="71"/>
                    <a:pt x="546" y="71"/>
                    <a:pt x="546" y="71"/>
                  </a:cubicBezTo>
                  <a:cubicBezTo>
                    <a:pt x="529" y="71"/>
                    <a:pt x="529" y="71"/>
                    <a:pt x="529" y="71"/>
                  </a:cubicBezTo>
                  <a:cubicBezTo>
                    <a:pt x="529" y="49"/>
                    <a:pt x="529" y="49"/>
                    <a:pt x="529" y="49"/>
                  </a:cubicBezTo>
                  <a:cubicBezTo>
                    <a:pt x="557" y="49"/>
                    <a:pt x="557" y="49"/>
                    <a:pt x="557" y="49"/>
                  </a:cubicBezTo>
                  <a:cubicBezTo>
                    <a:pt x="559" y="59"/>
                    <a:pt x="559" y="59"/>
                    <a:pt x="559" y="59"/>
                  </a:cubicBezTo>
                  <a:cubicBezTo>
                    <a:pt x="566" y="59"/>
                    <a:pt x="566" y="59"/>
                    <a:pt x="566" y="59"/>
                  </a:cubicBezTo>
                  <a:cubicBezTo>
                    <a:pt x="566" y="39"/>
                    <a:pt x="566" y="39"/>
                    <a:pt x="566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00" y="46"/>
                    <a:pt x="500" y="46"/>
                    <a:pt x="500" y="46"/>
                  </a:cubicBezTo>
                  <a:cubicBezTo>
                    <a:pt x="511" y="48"/>
                    <a:pt x="511" y="48"/>
                    <a:pt x="511" y="48"/>
                  </a:cubicBezTo>
                  <a:cubicBezTo>
                    <a:pt x="511" y="107"/>
                    <a:pt x="511" y="107"/>
                    <a:pt x="511" y="107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16"/>
                    <a:pt x="500" y="116"/>
                    <a:pt x="500" y="116"/>
                  </a:cubicBezTo>
                  <a:cubicBezTo>
                    <a:pt x="566" y="116"/>
                    <a:pt x="566" y="116"/>
                    <a:pt x="566" y="116"/>
                  </a:cubicBezTo>
                  <a:lnTo>
                    <a:pt x="566" y="95"/>
                  </a:lnTo>
                  <a:close/>
                  <a:moveTo>
                    <a:pt x="659" y="117"/>
                  </a:moveTo>
                  <a:cubicBezTo>
                    <a:pt x="689" y="117"/>
                    <a:pt x="702" y="100"/>
                    <a:pt x="702" y="67"/>
                  </a:cubicBezTo>
                  <a:cubicBezTo>
                    <a:pt x="702" y="34"/>
                    <a:pt x="689" y="16"/>
                    <a:pt x="659" y="16"/>
                  </a:cubicBezTo>
                  <a:cubicBezTo>
                    <a:pt x="629" y="16"/>
                    <a:pt x="615" y="34"/>
                    <a:pt x="615" y="67"/>
                  </a:cubicBezTo>
                  <a:cubicBezTo>
                    <a:pt x="615" y="99"/>
                    <a:pt x="628" y="117"/>
                    <a:pt x="659" y="117"/>
                  </a:cubicBezTo>
                  <a:close/>
                  <a:moveTo>
                    <a:pt x="659" y="27"/>
                  </a:moveTo>
                  <a:cubicBezTo>
                    <a:pt x="675" y="27"/>
                    <a:pt x="683" y="40"/>
                    <a:pt x="683" y="67"/>
                  </a:cubicBezTo>
                  <a:cubicBezTo>
                    <a:pt x="683" y="94"/>
                    <a:pt x="675" y="107"/>
                    <a:pt x="659" y="107"/>
                  </a:cubicBezTo>
                  <a:cubicBezTo>
                    <a:pt x="642" y="107"/>
                    <a:pt x="634" y="94"/>
                    <a:pt x="634" y="67"/>
                  </a:cubicBezTo>
                  <a:cubicBezTo>
                    <a:pt x="634" y="40"/>
                    <a:pt x="643" y="27"/>
                    <a:pt x="659" y="27"/>
                  </a:cubicBezTo>
                  <a:close/>
                  <a:moveTo>
                    <a:pt x="327" y="28"/>
                  </a:moveTo>
                  <a:cubicBezTo>
                    <a:pt x="349" y="28"/>
                    <a:pt x="349" y="28"/>
                    <a:pt x="349" y="28"/>
                  </a:cubicBezTo>
                  <a:cubicBezTo>
                    <a:pt x="349" y="106"/>
                    <a:pt x="349" y="106"/>
                    <a:pt x="349" y="106"/>
                  </a:cubicBezTo>
                  <a:cubicBezTo>
                    <a:pt x="337" y="108"/>
                    <a:pt x="337" y="108"/>
                    <a:pt x="337" y="108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79" y="116"/>
                    <a:pt x="379" y="116"/>
                    <a:pt x="379" y="116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67" y="106"/>
                    <a:pt x="367" y="106"/>
                    <a:pt x="367" y="106"/>
                  </a:cubicBezTo>
                  <a:cubicBezTo>
                    <a:pt x="367" y="28"/>
                    <a:pt x="367" y="28"/>
                    <a:pt x="367" y="28"/>
                  </a:cubicBezTo>
                  <a:cubicBezTo>
                    <a:pt x="390" y="28"/>
                    <a:pt x="390" y="28"/>
                    <a:pt x="390" y="28"/>
                  </a:cubicBezTo>
                  <a:cubicBezTo>
                    <a:pt x="391" y="40"/>
                    <a:pt x="391" y="40"/>
                    <a:pt x="391" y="40"/>
                  </a:cubicBezTo>
                  <a:cubicBezTo>
                    <a:pt x="399" y="40"/>
                    <a:pt x="399" y="40"/>
                    <a:pt x="399" y="40"/>
                  </a:cubicBezTo>
                  <a:cubicBezTo>
                    <a:pt x="399" y="18"/>
                    <a:pt x="399" y="18"/>
                    <a:pt x="399" y="18"/>
                  </a:cubicBezTo>
                  <a:cubicBezTo>
                    <a:pt x="317" y="18"/>
                    <a:pt x="317" y="18"/>
                    <a:pt x="317" y="18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25" y="40"/>
                    <a:pt x="325" y="40"/>
                    <a:pt x="325" y="40"/>
                  </a:cubicBezTo>
                  <a:lnTo>
                    <a:pt x="327" y="28"/>
                  </a:lnTo>
                  <a:close/>
                  <a:moveTo>
                    <a:pt x="750" y="109"/>
                  </a:moveTo>
                  <a:cubicBezTo>
                    <a:pt x="739" y="107"/>
                    <a:pt x="739" y="107"/>
                    <a:pt x="739" y="107"/>
                  </a:cubicBezTo>
                  <a:cubicBezTo>
                    <a:pt x="739" y="80"/>
                    <a:pt x="739" y="80"/>
                    <a:pt x="739" y="80"/>
                  </a:cubicBezTo>
                  <a:cubicBezTo>
                    <a:pt x="768" y="80"/>
                    <a:pt x="768" y="80"/>
                    <a:pt x="768" y="80"/>
                  </a:cubicBezTo>
                  <a:cubicBezTo>
                    <a:pt x="768" y="107"/>
                    <a:pt x="768" y="107"/>
                    <a:pt x="768" y="107"/>
                  </a:cubicBezTo>
                  <a:cubicBezTo>
                    <a:pt x="757" y="109"/>
                    <a:pt x="757" y="109"/>
                    <a:pt x="757" y="109"/>
                  </a:cubicBezTo>
                  <a:cubicBezTo>
                    <a:pt x="757" y="116"/>
                    <a:pt x="757" y="116"/>
                    <a:pt x="757" y="116"/>
                  </a:cubicBezTo>
                  <a:cubicBezTo>
                    <a:pt x="797" y="116"/>
                    <a:pt x="797" y="116"/>
                    <a:pt x="797" y="116"/>
                  </a:cubicBezTo>
                  <a:cubicBezTo>
                    <a:pt x="797" y="109"/>
                    <a:pt x="797" y="109"/>
                    <a:pt x="797" y="109"/>
                  </a:cubicBezTo>
                  <a:cubicBezTo>
                    <a:pt x="786" y="107"/>
                    <a:pt x="786" y="107"/>
                    <a:pt x="786" y="107"/>
                  </a:cubicBezTo>
                  <a:cubicBezTo>
                    <a:pt x="786" y="48"/>
                    <a:pt x="786" y="48"/>
                    <a:pt x="786" y="48"/>
                  </a:cubicBezTo>
                  <a:cubicBezTo>
                    <a:pt x="797" y="46"/>
                    <a:pt x="797" y="46"/>
                    <a:pt x="797" y="46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57" y="39"/>
                    <a:pt x="757" y="39"/>
                    <a:pt x="757" y="39"/>
                  </a:cubicBezTo>
                  <a:cubicBezTo>
                    <a:pt x="757" y="46"/>
                    <a:pt x="757" y="46"/>
                    <a:pt x="757" y="46"/>
                  </a:cubicBezTo>
                  <a:cubicBezTo>
                    <a:pt x="768" y="48"/>
                    <a:pt x="768" y="48"/>
                    <a:pt x="768" y="48"/>
                  </a:cubicBezTo>
                  <a:cubicBezTo>
                    <a:pt x="768" y="71"/>
                    <a:pt x="768" y="71"/>
                    <a:pt x="768" y="71"/>
                  </a:cubicBezTo>
                  <a:cubicBezTo>
                    <a:pt x="739" y="71"/>
                    <a:pt x="739" y="71"/>
                    <a:pt x="739" y="71"/>
                  </a:cubicBezTo>
                  <a:cubicBezTo>
                    <a:pt x="739" y="48"/>
                    <a:pt x="739" y="48"/>
                    <a:pt x="739" y="48"/>
                  </a:cubicBezTo>
                  <a:cubicBezTo>
                    <a:pt x="750" y="46"/>
                    <a:pt x="750" y="46"/>
                    <a:pt x="750" y="46"/>
                  </a:cubicBezTo>
                  <a:cubicBezTo>
                    <a:pt x="750" y="39"/>
                    <a:pt x="750" y="39"/>
                    <a:pt x="750" y="39"/>
                  </a:cubicBezTo>
                  <a:cubicBezTo>
                    <a:pt x="710" y="39"/>
                    <a:pt x="710" y="39"/>
                    <a:pt x="710" y="39"/>
                  </a:cubicBezTo>
                  <a:cubicBezTo>
                    <a:pt x="710" y="46"/>
                    <a:pt x="710" y="46"/>
                    <a:pt x="710" y="46"/>
                  </a:cubicBezTo>
                  <a:cubicBezTo>
                    <a:pt x="722" y="48"/>
                    <a:pt x="722" y="48"/>
                    <a:pt x="722" y="48"/>
                  </a:cubicBezTo>
                  <a:cubicBezTo>
                    <a:pt x="722" y="107"/>
                    <a:pt x="722" y="107"/>
                    <a:pt x="722" y="107"/>
                  </a:cubicBezTo>
                  <a:cubicBezTo>
                    <a:pt x="710" y="109"/>
                    <a:pt x="710" y="109"/>
                    <a:pt x="710" y="109"/>
                  </a:cubicBezTo>
                  <a:cubicBezTo>
                    <a:pt x="710" y="116"/>
                    <a:pt x="710" y="116"/>
                    <a:pt x="710" y="116"/>
                  </a:cubicBezTo>
                  <a:cubicBezTo>
                    <a:pt x="750" y="116"/>
                    <a:pt x="750" y="116"/>
                    <a:pt x="750" y="116"/>
                  </a:cubicBezTo>
                  <a:lnTo>
                    <a:pt x="750" y="109"/>
                  </a:lnTo>
                  <a:close/>
                  <a:moveTo>
                    <a:pt x="445" y="109"/>
                  </a:moveTo>
                  <a:cubicBezTo>
                    <a:pt x="434" y="107"/>
                    <a:pt x="434" y="107"/>
                    <a:pt x="434" y="107"/>
                  </a:cubicBezTo>
                  <a:cubicBezTo>
                    <a:pt x="434" y="80"/>
                    <a:pt x="434" y="80"/>
                    <a:pt x="434" y="80"/>
                  </a:cubicBezTo>
                  <a:cubicBezTo>
                    <a:pt x="463" y="80"/>
                    <a:pt x="463" y="80"/>
                    <a:pt x="463" y="80"/>
                  </a:cubicBezTo>
                  <a:cubicBezTo>
                    <a:pt x="463" y="107"/>
                    <a:pt x="463" y="107"/>
                    <a:pt x="463" y="107"/>
                  </a:cubicBezTo>
                  <a:cubicBezTo>
                    <a:pt x="452" y="109"/>
                    <a:pt x="452" y="109"/>
                    <a:pt x="452" y="109"/>
                  </a:cubicBezTo>
                  <a:cubicBezTo>
                    <a:pt x="452" y="116"/>
                    <a:pt x="452" y="116"/>
                    <a:pt x="452" y="116"/>
                  </a:cubicBezTo>
                  <a:cubicBezTo>
                    <a:pt x="492" y="116"/>
                    <a:pt x="492" y="116"/>
                    <a:pt x="492" y="116"/>
                  </a:cubicBezTo>
                  <a:cubicBezTo>
                    <a:pt x="492" y="109"/>
                    <a:pt x="492" y="109"/>
                    <a:pt x="492" y="109"/>
                  </a:cubicBezTo>
                  <a:cubicBezTo>
                    <a:pt x="480" y="107"/>
                    <a:pt x="480" y="107"/>
                    <a:pt x="480" y="107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492" y="46"/>
                    <a:pt x="492" y="46"/>
                    <a:pt x="492" y="46"/>
                  </a:cubicBezTo>
                  <a:cubicBezTo>
                    <a:pt x="492" y="39"/>
                    <a:pt x="492" y="39"/>
                    <a:pt x="492" y="39"/>
                  </a:cubicBezTo>
                  <a:cubicBezTo>
                    <a:pt x="452" y="39"/>
                    <a:pt x="452" y="39"/>
                    <a:pt x="452" y="39"/>
                  </a:cubicBezTo>
                  <a:cubicBezTo>
                    <a:pt x="452" y="46"/>
                    <a:pt x="452" y="46"/>
                    <a:pt x="452" y="46"/>
                  </a:cubicBezTo>
                  <a:cubicBezTo>
                    <a:pt x="463" y="48"/>
                    <a:pt x="463" y="48"/>
                    <a:pt x="463" y="48"/>
                  </a:cubicBezTo>
                  <a:cubicBezTo>
                    <a:pt x="463" y="71"/>
                    <a:pt x="463" y="71"/>
                    <a:pt x="463" y="71"/>
                  </a:cubicBezTo>
                  <a:cubicBezTo>
                    <a:pt x="434" y="71"/>
                    <a:pt x="434" y="71"/>
                    <a:pt x="434" y="71"/>
                  </a:cubicBezTo>
                  <a:cubicBezTo>
                    <a:pt x="434" y="48"/>
                    <a:pt x="434" y="48"/>
                    <a:pt x="434" y="48"/>
                  </a:cubicBezTo>
                  <a:cubicBezTo>
                    <a:pt x="445" y="46"/>
                    <a:pt x="445" y="46"/>
                    <a:pt x="445" y="46"/>
                  </a:cubicBezTo>
                  <a:cubicBezTo>
                    <a:pt x="445" y="39"/>
                    <a:pt x="445" y="39"/>
                    <a:pt x="445" y="39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46"/>
                    <a:pt x="405" y="46"/>
                    <a:pt x="405" y="46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107"/>
                    <a:pt x="416" y="107"/>
                    <a:pt x="416" y="107"/>
                  </a:cubicBezTo>
                  <a:cubicBezTo>
                    <a:pt x="405" y="109"/>
                    <a:pt x="405" y="109"/>
                    <a:pt x="405" y="109"/>
                  </a:cubicBezTo>
                  <a:cubicBezTo>
                    <a:pt x="405" y="116"/>
                    <a:pt x="405" y="116"/>
                    <a:pt x="405" y="116"/>
                  </a:cubicBezTo>
                  <a:cubicBezTo>
                    <a:pt x="445" y="116"/>
                    <a:pt x="445" y="116"/>
                    <a:pt x="445" y="116"/>
                  </a:cubicBezTo>
                  <a:lnTo>
                    <a:pt x="445" y="109"/>
                  </a:lnTo>
                  <a:close/>
                  <a:moveTo>
                    <a:pt x="1209" y="49"/>
                  </a:moveTo>
                  <a:cubicBezTo>
                    <a:pt x="1226" y="49"/>
                    <a:pt x="1226" y="49"/>
                    <a:pt x="1226" y="49"/>
                  </a:cubicBezTo>
                  <a:cubicBezTo>
                    <a:pt x="1226" y="107"/>
                    <a:pt x="1226" y="107"/>
                    <a:pt x="1226" y="107"/>
                  </a:cubicBezTo>
                  <a:cubicBezTo>
                    <a:pt x="1215" y="109"/>
                    <a:pt x="1215" y="109"/>
                    <a:pt x="1215" y="109"/>
                  </a:cubicBezTo>
                  <a:cubicBezTo>
                    <a:pt x="1215" y="116"/>
                    <a:pt x="1215" y="116"/>
                    <a:pt x="1215" y="116"/>
                  </a:cubicBezTo>
                  <a:cubicBezTo>
                    <a:pt x="1255" y="116"/>
                    <a:pt x="1255" y="116"/>
                    <a:pt x="1255" y="116"/>
                  </a:cubicBezTo>
                  <a:cubicBezTo>
                    <a:pt x="1255" y="109"/>
                    <a:pt x="1255" y="109"/>
                    <a:pt x="1255" y="109"/>
                  </a:cubicBezTo>
                  <a:cubicBezTo>
                    <a:pt x="1244" y="107"/>
                    <a:pt x="1244" y="107"/>
                    <a:pt x="1244" y="107"/>
                  </a:cubicBezTo>
                  <a:cubicBezTo>
                    <a:pt x="1244" y="49"/>
                    <a:pt x="1244" y="49"/>
                    <a:pt x="1244" y="49"/>
                  </a:cubicBezTo>
                  <a:cubicBezTo>
                    <a:pt x="1261" y="49"/>
                    <a:pt x="1261" y="49"/>
                    <a:pt x="1261" y="49"/>
                  </a:cubicBezTo>
                  <a:cubicBezTo>
                    <a:pt x="1262" y="60"/>
                    <a:pt x="1262" y="60"/>
                    <a:pt x="1262" y="60"/>
                  </a:cubicBezTo>
                  <a:cubicBezTo>
                    <a:pt x="1270" y="60"/>
                    <a:pt x="1270" y="60"/>
                    <a:pt x="1270" y="60"/>
                  </a:cubicBezTo>
                  <a:cubicBezTo>
                    <a:pt x="1270" y="39"/>
                    <a:pt x="1270" y="39"/>
                    <a:pt x="1270" y="39"/>
                  </a:cubicBezTo>
                  <a:cubicBezTo>
                    <a:pt x="1200" y="39"/>
                    <a:pt x="1200" y="39"/>
                    <a:pt x="1200" y="39"/>
                  </a:cubicBezTo>
                  <a:cubicBezTo>
                    <a:pt x="1200" y="60"/>
                    <a:pt x="1200" y="60"/>
                    <a:pt x="1200" y="60"/>
                  </a:cubicBezTo>
                  <a:cubicBezTo>
                    <a:pt x="1208" y="60"/>
                    <a:pt x="1208" y="60"/>
                    <a:pt x="1208" y="60"/>
                  </a:cubicBezTo>
                  <a:lnTo>
                    <a:pt x="1209" y="49"/>
                  </a:lnTo>
                  <a:close/>
                  <a:moveTo>
                    <a:pt x="1058" y="49"/>
                  </a:moveTo>
                  <a:cubicBezTo>
                    <a:pt x="1075" y="49"/>
                    <a:pt x="1075" y="49"/>
                    <a:pt x="1075" y="49"/>
                  </a:cubicBezTo>
                  <a:cubicBezTo>
                    <a:pt x="1075" y="107"/>
                    <a:pt x="1075" y="107"/>
                    <a:pt x="1075" y="107"/>
                  </a:cubicBezTo>
                  <a:cubicBezTo>
                    <a:pt x="1064" y="109"/>
                    <a:pt x="1064" y="109"/>
                    <a:pt x="1064" y="109"/>
                  </a:cubicBezTo>
                  <a:cubicBezTo>
                    <a:pt x="1064" y="116"/>
                    <a:pt x="1064" y="116"/>
                    <a:pt x="1064" y="116"/>
                  </a:cubicBezTo>
                  <a:cubicBezTo>
                    <a:pt x="1104" y="116"/>
                    <a:pt x="1104" y="116"/>
                    <a:pt x="1104" y="116"/>
                  </a:cubicBezTo>
                  <a:cubicBezTo>
                    <a:pt x="1104" y="109"/>
                    <a:pt x="1104" y="109"/>
                    <a:pt x="1104" y="109"/>
                  </a:cubicBezTo>
                  <a:cubicBezTo>
                    <a:pt x="1093" y="107"/>
                    <a:pt x="1093" y="107"/>
                    <a:pt x="1093" y="107"/>
                  </a:cubicBezTo>
                  <a:cubicBezTo>
                    <a:pt x="1093" y="49"/>
                    <a:pt x="1093" y="49"/>
                    <a:pt x="1093" y="49"/>
                  </a:cubicBezTo>
                  <a:cubicBezTo>
                    <a:pt x="1110" y="49"/>
                    <a:pt x="1110" y="49"/>
                    <a:pt x="1110" y="49"/>
                  </a:cubicBezTo>
                  <a:cubicBezTo>
                    <a:pt x="1111" y="60"/>
                    <a:pt x="1111" y="60"/>
                    <a:pt x="1111" y="60"/>
                  </a:cubicBezTo>
                  <a:cubicBezTo>
                    <a:pt x="1119" y="60"/>
                    <a:pt x="1119" y="60"/>
                    <a:pt x="1119" y="60"/>
                  </a:cubicBezTo>
                  <a:cubicBezTo>
                    <a:pt x="1119" y="39"/>
                    <a:pt x="1119" y="39"/>
                    <a:pt x="1119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60"/>
                    <a:pt x="1049" y="60"/>
                    <a:pt x="1049" y="60"/>
                  </a:cubicBezTo>
                  <a:cubicBezTo>
                    <a:pt x="1057" y="60"/>
                    <a:pt x="1057" y="60"/>
                    <a:pt x="1057" y="60"/>
                  </a:cubicBezTo>
                  <a:lnTo>
                    <a:pt x="1058" y="49"/>
                  </a:lnTo>
                  <a:close/>
                  <a:moveTo>
                    <a:pt x="1114" y="116"/>
                  </a:moveTo>
                  <a:cubicBezTo>
                    <a:pt x="1147" y="116"/>
                    <a:pt x="1147" y="116"/>
                    <a:pt x="1147" y="116"/>
                  </a:cubicBezTo>
                  <a:cubicBezTo>
                    <a:pt x="1147" y="109"/>
                    <a:pt x="1147" y="109"/>
                    <a:pt x="1147" y="109"/>
                  </a:cubicBezTo>
                  <a:cubicBezTo>
                    <a:pt x="1136" y="107"/>
                    <a:pt x="1136" y="107"/>
                    <a:pt x="1136" y="107"/>
                  </a:cubicBezTo>
                  <a:cubicBezTo>
                    <a:pt x="1142" y="93"/>
                    <a:pt x="1142" y="93"/>
                    <a:pt x="1142" y="93"/>
                  </a:cubicBezTo>
                  <a:cubicBezTo>
                    <a:pt x="1171" y="93"/>
                    <a:pt x="1171" y="93"/>
                    <a:pt x="1171" y="93"/>
                  </a:cubicBezTo>
                  <a:cubicBezTo>
                    <a:pt x="1176" y="107"/>
                    <a:pt x="1176" y="107"/>
                    <a:pt x="1176" y="107"/>
                  </a:cubicBezTo>
                  <a:cubicBezTo>
                    <a:pt x="1165" y="109"/>
                    <a:pt x="1165" y="109"/>
                    <a:pt x="1165" y="109"/>
                  </a:cubicBezTo>
                  <a:cubicBezTo>
                    <a:pt x="1165" y="116"/>
                    <a:pt x="1165" y="116"/>
                    <a:pt x="1165" y="116"/>
                  </a:cubicBezTo>
                  <a:cubicBezTo>
                    <a:pt x="1205" y="116"/>
                    <a:pt x="1205" y="116"/>
                    <a:pt x="1205" y="116"/>
                  </a:cubicBezTo>
                  <a:cubicBezTo>
                    <a:pt x="1205" y="109"/>
                    <a:pt x="1205" y="109"/>
                    <a:pt x="1205" y="109"/>
                  </a:cubicBezTo>
                  <a:cubicBezTo>
                    <a:pt x="1194" y="107"/>
                    <a:pt x="1194" y="107"/>
                    <a:pt x="1194" y="107"/>
                  </a:cubicBezTo>
                  <a:cubicBezTo>
                    <a:pt x="1168" y="39"/>
                    <a:pt x="1168" y="39"/>
                    <a:pt x="1168" y="39"/>
                  </a:cubicBezTo>
                  <a:cubicBezTo>
                    <a:pt x="1151" y="39"/>
                    <a:pt x="1151" y="39"/>
                    <a:pt x="1151" y="39"/>
                  </a:cubicBezTo>
                  <a:cubicBezTo>
                    <a:pt x="1125" y="107"/>
                    <a:pt x="1125" y="107"/>
                    <a:pt x="1125" y="107"/>
                  </a:cubicBezTo>
                  <a:cubicBezTo>
                    <a:pt x="1114" y="109"/>
                    <a:pt x="1114" y="109"/>
                    <a:pt x="1114" y="109"/>
                  </a:cubicBezTo>
                  <a:lnTo>
                    <a:pt x="1114" y="116"/>
                  </a:lnTo>
                  <a:close/>
                  <a:moveTo>
                    <a:pt x="1156" y="54"/>
                  </a:moveTo>
                  <a:cubicBezTo>
                    <a:pt x="1167" y="84"/>
                    <a:pt x="1167" y="84"/>
                    <a:pt x="1167" y="84"/>
                  </a:cubicBezTo>
                  <a:cubicBezTo>
                    <a:pt x="1145" y="84"/>
                    <a:pt x="1145" y="84"/>
                    <a:pt x="1145" y="84"/>
                  </a:cubicBezTo>
                  <a:lnTo>
                    <a:pt x="1156" y="54"/>
                  </a:lnTo>
                  <a:close/>
                  <a:moveTo>
                    <a:pt x="1042" y="88"/>
                  </a:moveTo>
                  <a:cubicBezTo>
                    <a:pt x="1042" y="49"/>
                    <a:pt x="993" y="65"/>
                    <a:pt x="993" y="41"/>
                  </a:cubicBezTo>
                  <a:cubicBezTo>
                    <a:pt x="993" y="30"/>
                    <a:pt x="1002" y="27"/>
                    <a:pt x="1011" y="27"/>
                  </a:cubicBezTo>
                  <a:cubicBezTo>
                    <a:pt x="1019" y="27"/>
                    <a:pt x="1028" y="29"/>
                    <a:pt x="1028" y="29"/>
                  </a:cubicBezTo>
                  <a:cubicBezTo>
                    <a:pt x="1030" y="41"/>
                    <a:pt x="1030" y="41"/>
                    <a:pt x="1030" y="41"/>
                  </a:cubicBezTo>
                  <a:cubicBezTo>
                    <a:pt x="1038" y="41"/>
                    <a:pt x="1038" y="41"/>
                    <a:pt x="1038" y="41"/>
                  </a:cubicBezTo>
                  <a:cubicBezTo>
                    <a:pt x="1038" y="22"/>
                    <a:pt x="1038" y="22"/>
                    <a:pt x="1038" y="22"/>
                  </a:cubicBezTo>
                  <a:cubicBezTo>
                    <a:pt x="1030" y="19"/>
                    <a:pt x="1019" y="16"/>
                    <a:pt x="1009" y="16"/>
                  </a:cubicBezTo>
                  <a:cubicBezTo>
                    <a:pt x="987" y="16"/>
                    <a:pt x="976" y="27"/>
                    <a:pt x="976" y="44"/>
                  </a:cubicBezTo>
                  <a:cubicBezTo>
                    <a:pt x="976" y="65"/>
                    <a:pt x="992" y="69"/>
                    <a:pt x="1007" y="74"/>
                  </a:cubicBezTo>
                  <a:cubicBezTo>
                    <a:pt x="1017" y="77"/>
                    <a:pt x="1025" y="79"/>
                    <a:pt x="1025" y="90"/>
                  </a:cubicBezTo>
                  <a:cubicBezTo>
                    <a:pt x="1025" y="102"/>
                    <a:pt x="1015" y="106"/>
                    <a:pt x="1003" y="106"/>
                  </a:cubicBezTo>
                  <a:cubicBezTo>
                    <a:pt x="992" y="106"/>
                    <a:pt x="986" y="104"/>
                    <a:pt x="986" y="104"/>
                  </a:cubicBezTo>
                  <a:cubicBezTo>
                    <a:pt x="984" y="91"/>
                    <a:pt x="984" y="91"/>
                    <a:pt x="984" y="91"/>
                  </a:cubicBezTo>
                  <a:cubicBezTo>
                    <a:pt x="976" y="91"/>
                    <a:pt x="976" y="91"/>
                    <a:pt x="976" y="91"/>
                  </a:cubicBezTo>
                  <a:cubicBezTo>
                    <a:pt x="976" y="112"/>
                    <a:pt x="976" y="112"/>
                    <a:pt x="976" y="112"/>
                  </a:cubicBezTo>
                  <a:cubicBezTo>
                    <a:pt x="976" y="112"/>
                    <a:pt x="989" y="117"/>
                    <a:pt x="1006" y="117"/>
                  </a:cubicBezTo>
                  <a:cubicBezTo>
                    <a:pt x="1030" y="117"/>
                    <a:pt x="1042" y="107"/>
                    <a:pt x="1042" y="88"/>
                  </a:cubicBezTo>
                  <a:close/>
                  <a:moveTo>
                    <a:pt x="847" y="109"/>
                  </a:moveTo>
                  <a:cubicBezTo>
                    <a:pt x="835" y="107"/>
                    <a:pt x="835" y="107"/>
                    <a:pt x="835" y="107"/>
                  </a:cubicBezTo>
                  <a:cubicBezTo>
                    <a:pt x="835" y="48"/>
                    <a:pt x="835" y="48"/>
                    <a:pt x="835" y="48"/>
                  </a:cubicBezTo>
                  <a:cubicBezTo>
                    <a:pt x="847" y="46"/>
                    <a:pt x="847" y="46"/>
                    <a:pt x="847" y="46"/>
                  </a:cubicBezTo>
                  <a:cubicBezTo>
                    <a:pt x="847" y="39"/>
                    <a:pt x="847" y="39"/>
                    <a:pt x="847" y="39"/>
                  </a:cubicBezTo>
                  <a:cubicBezTo>
                    <a:pt x="806" y="39"/>
                    <a:pt x="806" y="39"/>
                    <a:pt x="806" y="39"/>
                  </a:cubicBezTo>
                  <a:cubicBezTo>
                    <a:pt x="806" y="46"/>
                    <a:pt x="806" y="46"/>
                    <a:pt x="806" y="46"/>
                  </a:cubicBezTo>
                  <a:cubicBezTo>
                    <a:pt x="818" y="48"/>
                    <a:pt x="818" y="48"/>
                    <a:pt x="818" y="48"/>
                  </a:cubicBezTo>
                  <a:cubicBezTo>
                    <a:pt x="818" y="107"/>
                    <a:pt x="818" y="107"/>
                    <a:pt x="818" y="107"/>
                  </a:cubicBezTo>
                  <a:cubicBezTo>
                    <a:pt x="806" y="109"/>
                    <a:pt x="806" y="109"/>
                    <a:pt x="806" y="109"/>
                  </a:cubicBezTo>
                  <a:cubicBezTo>
                    <a:pt x="806" y="116"/>
                    <a:pt x="806" y="116"/>
                    <a:pt x="806" y="116"/>
                  </a:cubicBezTo>
                  <a:cubicBezTo>
                    <a:pt x="847" y="116"/>
                    <a:pt x="847" y="116"/>
                    <a:pt x="847" y="116"/>
                  </a:cubicBezTo>
                  <a:lnTo>
                    <a:pt x="847" y="109"/>
                  </a:lnTo>
                  <a:close/>
                  <a:moveTo>
                    <a:pt x="890" y="117"/>
                  </a:moveTo>
                  <a:cubicBezTo>
                    <a:pt x="915" y="117"/>
                    <a:pt x="927" y="103"/>
                    <a:pt x="927" y="78"/>
                  </a:cubicBezTo>
                  <a:cubicBezTo>
                    <a:pt x="927" y="52"/>
                    <a:pt x="915" y="38"/>
                    <a:pt x="890" y="38"/>
                  </a:cubicBezTo>
                  <a:cubicBezTo>
                    <a:pt x="864" y="38"/>
                    <a:pt x="853" y="52"/>
                    <a:pt x="853" y="77"/>
                  </a:cubicBezTo>
                  <a:cubicBezTo>
                    <a:pt x="853" y="103"/>
                    <a:pt x="864" y="117"/>
                    <a:pt x="890" y="117"/>
                  </a:cubicBezTo>
                  <a:close/>
                  <a:moveTo>
                    <a:pt x="890" y="48"/>
                  </a:moveTo>
                  <a:cubicBezTo>
                    <a:pt x="902" y="48"/>
                    <a:pt x="908" y="57"/>
                    <a:pt x="908" y="78"/>
                  </a:cubicBezTo>
                  <a:cubicBezTo>
                    <a:pt x="908" y="98"/>
                    <a:pt x="902" y="107"/>
                    <a:pt x="889" y="107"/>
                  </a:cubicBezTo>
                  <a:cubicBezTo>
                    <a:pt x="877" y="107"/>
                    <a:pt x="871" y="98"/>
                    <a:pt x="871" y="77"/>
                  </a:cubicBezTo>
                  <a:cubicBezTo>
                    <a:pt x="871" y="57"/>
                    <a:pt x="877" y="48"/>
                    <a:pt x="890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pic>
        <p:nvPicPr>
          <p:cNvPr id="9" name="Picture 8" descr="Block O12584_bkg.jp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515" t="20778" r="1106" b="37886"/>
          <a:stretch/>
        </p:blipFill>
        <p:spPr>
          <a:xfrm>
            <a:off x="647196" y="423349"/>
            <a:ext cx="10918109" cy="2620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669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rporate 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itle 41"/>
          <p:cNvSpPr>
            <a:spLocks noGrp="1"/>
          </p:cNvSpPr>
          <p:nvPr>
            <p:ph type="title"/>
          </p:nvPr>
        </p:nvSpPr>
        <p:spPr>
          <a:xfrm>
            <a:off x="3335724" y="4605178"/>
            <a:ext cx="8447315" cy="920559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733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3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335724" y="5638673"/>
            <a:ext cx="5170632" cy="428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spcBef>
                <a:spcPct val="0"/>
              </a:spcBef>
              <a:buFont typeface="Wingdings" pitchFamily="2" charset="2"/>
              <a:buNone/>
              <a:defRPr sz="2667"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3458597" y="3975266"/>
            <a:ext cx="3457207" cy="496575"/>
            <a:chOff x="487363" y="2840038"/>
            <a:chExt cx="8167687" cy="1173162"/>
          </a:xfrm>
        </p:grpSpPr>
        <p:sp>
          <p:nvSpPr>
            <p:cNvPr id="13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487363" y="2843213"/>
              <a:ext cx="8167687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531813" y="2892425"/>
              <a:ext cx="803275" cy="1068387"/>
            </a:xfrm>
            <a:custGeom>
              <a:avLst/>
              <a:gdLst>
                <a:gd name="T0" fmla="*/ 126 w 506"/>
                <a:gd name="T1" fmla="*/ 172 h 673"/>
                <a:gd name="T2" fmla="*/ 175 w 506"/>
                <a:gd name="T3" fmla="*/ 125 h 673"/>
                <a:gd name="T4" fmla="*/ 333 w 506"/>
                <a:gd name="T5" fmla="*/ 125 h 673"/>
                <a:gd name="T6" fmla="*/ 383 w 506"/>
                <a:gd name="T7" fmla="*/ 172 h 673"/>
                <a:gd name="T8" fmla="*/ 383 w 506"/>
                <a:gd name="T9" fmla="*/ 500 h 673"/>
                <a:gd name="T10" fmla="*/ 333 w 506"/>
                <a:gd name="T11" fmla="*/ 548 h 673"/>
                <a:gd name="T12" fmla="*/ 175 w 506"/>
                <a:gd name="T13" fmla="*/ 548 h 673"/>
                <a:gd name="T14" fmla="*/ 126 w 506"/>
                <a:gd name="T15" fmla="*/ 500 h 673"/>
                <a:gd name="T16" fmla="*/ 126 w 506"/>
                <a:gd name="T17" fmla="*/ 172 h 673"/>
                <a:gd name="T18" fmla="*/ 126 w 506"/>
                <a:gd name="T19" fmla="*/ 172 h 673"/>
                <a:gd name="T20" fmla="*/ 506 w 506"/>
                <a:gd name="T21" fmla="*/ 120 h 673"/>
                <a:gd name="T22" fmla="*/ 385 w 506"/>
                <a:gd name="T23" fmla="*/ 0 h 673"/>
                <a:gd name="T24" fmla="*/ 123 w 506"/>
                <a:gd name="T25" fmla="*/ 0 h 673"/>
                <a:gd name="T26" fmla="*/ 0 w 506"/>
                <a:gd name="T27" fmla="*/ 120 h 673"/>
                <a:gd name="T28" fmla="*/ 0 w 506"/>
                <a:gd name="T29" fmla="*/ 552 h 673"/>
                <a:gd name="T30" fmla="*/ 123 w 506"/>
                <a:gd name="T31" fmla="*/ 673 h 673"/>
                <a:gd name="T32" fmla="*/ 385 w 506"/>
                <a:gd name="T33" fmla="*/ 673 h 673"/>
                <a:gd name="T34" fmla="*/ 506 w 506"/>
                <a:gd name="T35" fmla="*/ 552 h 673"/>
                <a:gd name="T36" fmla="*/ 506 w 506"/>
                <a:gd name="T37" fmla="*/ 120 h 673"/>
                <a:gd name="T38" fmla="*/ 506 w 506"/>
                <a:gd name="T39" fmla="*/ 12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6" h="673">
                  <a:moveTo>
                    <a:pt x="126" y="172"/>
                  </a:moveTo>
                  <a:lnTo>
                    <a:pt x="175" y="125"/>
                  </a:lnTo>
                  <a:lnTo>
                    <a:pt x="333" y="125"/>
                  </a:lnTo>
                  <a:lnTo>
                    <a:pt x="383" y="172"/>
                  </a:lnTo>
                  <a:lnTo>
                    <a:pt x="383" y="500"/>
                  </a:lnTo>
                  <a:lnTo>
                    <a:pt x="333" y="548"/>
                  </a:lnTo>
                  <a:lnTo>
                    <a:pt x="175" y="548"/>
                  </a:lnTo>
                  <a:lnTo>
                    <a:pt x="126" y="500"/>
                  </a:lnTo>
                  <a:lnTo>
                    <a:pt x="126" y="172"/>
                  </a:lnTo>
                  <a:lnTo>
                    <a:pt x="126" y="172"/>
                  </a:lnTo>
                  <a:close/>
                  <a:moveTo>
                    <a:pt x="506" y="120"/>
                  </a:moveTo>
                  <a:lnTo>
                    <a:pt x="385" y="0"/>
                  </a:lnTo>
                  <a:lnTo>
                    <a:pt x="123" y="0"/>
                  </a:lnTo>
                  <a:lnTo>
                    <a:pt x="0" y="120"/>
                  </a:lnTo>
                  <a:lnTo>
                    <a:pt x="0" y="552"/>
                  </a:lnTo>
                  <a:lnTo>
                    <a:pt x="123" y="673"/>
                  </a:lnTo>
                  <a:lnTo>
                    <a:pt x="385" y="673"/>
                  </a:lnTo>
                  <a:lnTo>
                    <a:pt x="506" y="552"/>
                  </a:lnTo>
                  <a:lnTo>
                    <a:pt x="506" y="120"/>
                  </a:lnTo>
                  <a:lnTo>
                    <a:pt x="506" y="120"/>
                  </a:lnTo>
                  <a:close/>
                </a:path>
              </a:pathLst>
            </a:custGeom>
            <a:solidFill>
              <a:srgbClr val="BB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487363" y="2840038"/>
              <a:ext cx="8167687" cy="1169989"/>
            </a:xfrm>
            <a:custGeom>
              <a:avLst/>
              <a:gdLst>
                <a:gd name="T0" fmla="*/ 397 w 2178"/>
                <a:gd name="T1" fmla="*/ 289 h 312"/>
                <a:gd name="T2" fmla="*/ 430 w 2178"/>
                <a:gd name="T3" fmla="*/ 253 h 312"/>
                <a:gd name="T4" fmla="*/ 493 w 2178"/>
                <a:gd name="T5" fmla="*/ 256 h 312"/>
                <a:gd name="T6" fmla="*/ 535 w 2178"/>
                <a:gd name="T7" fmla="*/ 289 h 312"/>
                <a:gd name="T8" fmla="*/ 608 w 2178"/>
                <a:gd name="T9" fmla="*/ 282 h 312"/>
                <a:gd name="T10" fmla="*/ 678 w 2178"/>
                <a:gd name="T11" fmla="*/ 225 h 312"/>
                <a:gd name="T12" fmla="*/ 660 w 2178"/>
                <a:gd name="T13" fmla="*/ 232 h 312"/>
                <a:gd name="T14" fmla="*/ 761 w 2178"/>
                <a:gd name="T15" fmla="*/ 289 h 312"/>
                <a:gd name="T16" fmla="*/ 814 w 2178"/>
                <a:gd name="T17" fmla="*/ 282 h 312"/>
                <a:gd name="T18" fmla="*/ 858 w 2178"/>
                <a:gd name="T19" fmla="*/ 225 h 312"/>
                <a:gd name="T20" fmla="*/ 923 w 2178"/>
                <a:gd name="T21" fmla="*/ 289 h 312"/>
                <a:gd name="T22" fmla="*/ 941 w 2178"/>
                <a:gd name="T23" fmla="*/ 257 h 312"/>
                <a:gd name="T24" fmla="*/ 1061 w 2178"/>
                <a:gd name="T25" fmla="*/ 289 h 312"/>
                <a:gd name="T26" fmla="*/ 1103 w 2178"/>
                <a:gd name="T27" fmla="*/ 282 h 312"/>
                <a:gd name="T28" fmla="*/ 1182 w 2178"/>
                <a:gd name="T29" fmla="*/ 277 h 312"/>
                <a:gd name="T30" fmla="*/ 1197 w 2178"/>
                <a:gd name="T31" fmla="*/ 232 h 312"/>
                <a:gd name="T32" fmla="*/ 1287 w 2178"/>
                <a:gd name="T33" fmla="*/ 289 h 312"/>
                <a:gd name="T34" fmla="*/ 1351 w 2178"/>
                <a:gd name="T35" fmla="*/ 225 h 312"/>
                <a:gd name="T36" fmla="*/ 1367 w 2178"/>
                <a:gd name="T37" fmla="*/ 232 h 312"/>
                <a:gd name="T38" fmla="*/ 1433 w 2178"/>
                <a:gd name="T39" fmla="*/ 264 h 312"/>
                <a:gd name="T40" fmla="*/ 59 w 2178"/>
                <a:gd name="T41" fmla="*/ 0 h 312"/>
                <a:gd name="T42" fmla="*/ 61 w 2178"/>
                <a:gd name="T43" fmla="*/ 307 h 312"/>
                <a:gd name="T44" fmla="*/ 150 w 2178"/>
                <a:gd name="T45" fmla="*/ 238 h 312"/>
                <a:gd name="T46" fmla="*/ 147 w 2178"/>
                <a:gd name="T47" fmla="*/ 80 h 312"/>
                <a:gd name="T48" fmla="*/ 1628 w 2178"/>
                <a:gd name="T49" fmla="*/ 46 h 312"/>
                <a:gd name="T50" fmla="*/ 1515 w 2178"/>
                <a:gd name="T51" fmla="*/ 107 h 312"/>
                <a:gd name="T52" fmla="*/ 1518 w 2178"/>
                <a:gd name="T53" fmla="*/ 39 h 312"/>
                <a:gd name="T54" fmla="*/ 1438 w 2178"/>
                <a:gd name="T55" fmla="*/ 117 h 312"/>
                <a:gd name="T56" fmla="*/ 1441 w 2178"/>
                <a:gd name="T57" fmla="*/ 107 h 312"/>
                <a:gd name="T58" fmla="*/ 1713 w 2178"/>
                <a:gd name="T59" fmla="*/ 48 h 312"/>
                <a:gd name="T60" fmla="*/ 1634 w 2178"/>
                <a:gd name="T61" fmla="*/ 46 h 312"/>
                <a:gd name="T62" fmla="*/ 1974 w 2178"/>
                <a:gd name="T63" fmla="*/ 107 h 312"/>
                <a:gd name="T64" fmla="*/ 2066 w 2178"/>
                <a:gd name="T65" fmla="*/ 109 h 312"/>
                <a:gd name="T66" fmla="*/ 2122 w 2178"/>
                <a:gd name="T67" fmla="*/ 82 h 312"/>
                <a:gd name="T68" fmla="*/ 2138 w 2178"/>
                <a:gd name="T69" fmla="*/ 39 h 312"/>
                <a:gd name="T70" fmla="*/ 1953 w 2178"/>
                <a:gd name="T71" fmla="*/ 94 h 312"/>
                <a:gd name="T72" fmla="*/ 1920 w 2178"/>
                <a:gd name="T73" fmla="*/ 107 h 312"/>
                <a:gd name="T74" fmla="*/ 1855 w 2178"/>
                <a:gd name="T75" fmla="*/ 98 h 312"/>
                <a:gd name="T76" fmla="*/ 1819 w 2178"/>
                <a:gd name="T77" fmla="*/ 48 h 312"/>
                <a:gd name="T78" fmla="*/ 1839 w 2178"/>
                <a:gd name="T79" fmla="*/ 73 h 312"/>
                <a:gd name="T80" fmla="*/ 1784 w 2178"/>
                <a:gd name="T81" fmla="*/ 61 h 312"/>
                <a:gd name="T82" fmla="*/ 1741 w 2178"/>
                <a:gd name="T83" fmla="*/ 48 h 312"/>
                <a:gd name="T84" fmla="*/ 1323 w 2178"/>
                <a:gd name="T85" fmla="*/ 80 h 312"/>
                <a:gd name="T86" fmla="*/ 1342 w 2178"/>
                <a:gd name="T87" fmla="*/ 39 h 312"/>
                <a:gd name="T88" fmla="*/ 557 w 2178"/>
                <a:gd name="T89" fmla="*/ 106 h 312"/>
                <a:gd name="T90" fmla="*/ 557 w 2178"/>
                <a:gd name="T91" fmla="*/ 49 h 312"/>
                <a:gd name="T92" fmla="*/ 566 w 2178"/>
                <a:gd name="T93" fmla="*/ 95 h 312"/>
                <a:gd name="T94" fmla="*/ 327 w 2178"/>
                <a:gd name="T95" fmla="*/ 28 h 312"/>
                <a:gd name="T96" fmla="*/ 399 w 2178"/>
                <a:gd name="T97" fmla="*/ 40 h 312"/>
                <a:gd name="T98" fmla="*/ 757 w 2178"/>
                <a:gd name="T99" fmla="*/ 109 h 312"/>
                <a:gd name="T100" fmla="*/ 768 w 2178"/>
                <a:gd name="T101" fmla="*/ 71 h 312"/>
                <a:gd name="T102" fmla="*/ 750 w 2178"/>
                <a:gd name="T103" fmla="*/ 116 h 312"/>
                <a:gd name="T104" fmla="*/ 480 w 2178"/>
                <a:gd name="T105" fmla="*/ 107 h 312"/>
                <a:gd name="T106" fmla="*/ 445 w 2178"/>
                <a:gd name="T107" fmla="*/ 39 h 312"/>
                <a:gd name="T108" fmla="*/ 1226 w 2178"/>
                <a:gd name="T109" fmla="*/ 107 h 312"/>
                <a:gd name="T110" fmla="*/ 1200 w 2178"/>
                <a:gd name="T111" fmla="*/ 39 h 312"/>
                <a:gd name="T112" fmla="*/ 1093 w 2178"/>
                <a:gd name="T113" fmla="*/ 107 h 312"/>
                <a:gd name="T114" fmla="*/ 1147 w 2178"/>
                <a:gd name="T115" fmla="*/ 116 h 312"/>
                <a:gd name="T116" fmla="*/ 1168 w 2178"/>
                <a:gd name="T117" fmla="*/ 39 h 312"/>
                <a:gd name="T118" fmla="*/ 1011 w 2178"/>
                <a:gd name="T119" fmla="*/ 27 h 312"/>
                <a:gd name="T120" fmla="*/ 984 w 2178"/>
                <a:gd name="T121" fmla="*/ 91 h 312"/>
                <a:gd name="T122" fmla="*/ 806 w 2178"/>
                <a:gd name="T123" fmla="*/ 46 h 312"/>
                <a:gd name="T124" fmla="*/ 890 w 2178"/>
                <a:gd name="T125" fmla="*/ 1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8" h="312">
                  <a:moveTo>
                    <a:pt x="393" y="278"/>
                  </a:moveTo>
                  <a:cubicBezTo>
                    <a:pt x="378" y="225"/>
                    <a:pt x="378" y="225"/>
                    <a:pt x="378" y="225"/>
                  </a:cubicBezTo>
                  <a:cubicBezTo>
                    <a:pt x="371" y="225"/>
                    <a:pt x="371" y="225"/>
                    <a:pt x="371" y="225"/>
                  </a:cubicBezTo>
                  <a:cubicBezTo>
                    <a:pt x="357" y="278"/>
                    <a:pt x="357" y="278"/>
                    <a:pt x="357" y="278"/>
                  </a:cubicBezTo>
                  <a:cubicBezTo>
                    <a:pt x="343" y="225"/>
                    <a:pt x="343" y="225"/>
                    <a:pt x="343" y="225"/>
                  </a:cubicBezTo>
                  <a:cubicBezTo>
                    <a:pt x="334" y="225"/>
                    <a:pt x="334" y="225"/>
                    <a:pt x="334" y="225"/>
                  </a:cubicBezTo>
                  <a:cubicBezTo>
                    <a:pt x="352" y="289"/>
                    <a:pt x="352" y="289"/>
                    <a:pt x="352" y="289"/>
                  </a:cubicBezTo>
                  <a:cubicBezTo>
                    <a:pt x="361" y="289"/>
                    <a:pt x="361" y="289"/>
                    <a:pt x="361" y="289"/>
                  </a:cubicBezTo>
                  <a:cubicBezTo>
                    <a:pt x="375" y="237"/>
                    <a:pt x="375" y="237"/>
                    <a:pt x="375" y="237"/>
                  </a:cubicBezTo>
                  <a:cubicBezTo>
                    <a:pt x="389" y="289"/>
                    <a:pt x="389" y="289"/>
                    <a:pt x="389" y="289"/>
                  </a:cubicBezTo>
                  <a:cubicBezTo>
                    <a:pt x="397" y="289"/>
                    <a:pt x="397" y="289"/>
                    <a:pt x="397" y="289"/>
                  </a:cubicBezTo>
                  <a:cubicBezTo>
                    <a:pt x="416" y="225"/>
                    <a:pt x="416" y="225"/>
                    <a:pt x="416" y="225"/>
                  </a:cubicBezTo>
                  <a:cubicBezTo>
                    <a:pt x="407" y="225"/>
                    <a:pt x="407" y="225"/>
                    <a:pt x="407" y="225"/>
                  </a:cubicBezTo>
                  <a:lnTo>
                    <a:pt x="393" y="278"/>
                  </a:lnTo>
                  <a:close/>
                  <a:moveTo>
                    <a:pt x="422" y="289"/>
                  </a:moveTo>
                  <a:cubicBezTo>
                    <a:pt x="464" y="289"/>
                    <a:pt x="464" y="289"/>
                    <a:pt x="464" y="289"/>
                  </a:cubicBezTo>
                  <a:cubicBezTo>
                    <a:pt x="464" y="282"/>
                    <a:pt x="464" y="282"/>
                    <a:pt x="464" y="282"/>
                  </a:cubicBezTo>
                  <a:cubicBezTo>
                    <a:pt x="430" y="282"/>
                    <a:pt x="430" y="282"/>
                    <a:pt x="430" y="282"/>
                  </a:cubicBezTo>
                  <a:cubicBezTo>
                    <a:pt x="430" y="260"/>
                    <a:pt x="430" y="260"/>
                    <a:pt x="430" y="260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63" y="253"/>
                    <a:pt x="463" y="253"/>
                    <a:pt x="463" y="253"/>
                  </a:cubicBezTo>
                  <a:cubicBezTo>
                    <a:pt x="430" y="253"/>
                    <a:pt x="430" y="253"/>
                    <a:pt x="430" y="253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464" y="232"/>
                    <a:pt x="464" y="232"/>
                    <a:pt x="464" y="232"/>
                  </a:cubicBezTo>
                  <a:cubicBezTo>
                    <a:pt x="464" y="225"/>
                    <a:pt x="464" y="225"/>
                    <a:pt x="464" y="225"/>
                  </a:cubicBezTo>
                  <a:cubicBezTo>
                    <a:pt x="422" y="225"/>
                    <a:pt x="422" y="225"/>
                    <a:pt x="422" y="225"/>
                  </a:cubicBezTo>
                  <a:lnTo>
                    <a:pt x="422" y="289"/>
                  </a:lnTo>
                  <a:close/>
                  <a:moveTo>
                    <a:pt x="527" y="225"/>
                  </a:moveTo>
                  <a:cubicBezTo>
                    <a:pt x="517" y="225"/>
                    <a:pt x="517" y="225"/>
                    <a:pt x="517" y="225"/>
                  </a:cubicBezTo>
                  <a:cubicBezTo>
                    <a:pt x="498" y="251"/>
                    <a:pt x="498" y="251"/>
                    <a:pt x="498" y="251"/>
                  </a:cubicBezTo>
                  <a:cubicBezTo>
                    <a:pt x="479" y="225"/>
                    <a:pt x="479" y="225"/>
                    <a:pt x="479" y="225"/>
                  </a:cubicBezTo>
                  <a:cubicBezTo>
                    <a:pt x="470" y="225"/>
                    <a:pt x="470" y="225"/>
                    <a:pt x="470" y="225"/>
                  </a:cubicBezTo>
                  <a:cubicBezTo>
                    <a:pt x="493" y="256"/>
                    <a:pt x="493" y="256"/>
                    <a:pt x="493" y="256"/>
                  </a:cubicBezTo>
                  <a:cubicBezTo>
                    <a:pt x="468" y="289"/>
                    <a:pt x="468" y="289"/>
                    <a:pt x="468" y="289"/>
                  </a:cubicBezTo>
                  <a:cubicBezTo>
                    <a:pt x="478" y="289"/>
                    <a:pt x="478" y="289"/>
                    <a:pt x="478" y="289"/>
                  </a:cubicBezTo>
                  <a:cubicBezTo>
                    <a:pt x="498" y="262"/>
                    <a:pt x="498" y="262"/>
                    <a:pt x="498" y="262"/>
                  </a:cubicBezTo>
                  <a:cubicBezTo>
                    <a:pt x="519" y="289"/>
                    <a:pt x="519" y="289"/>
                    <a:pt x="519" y="289"/>
                  </a:cubicBezTo>
                  <a:cubicBezTo>
                    <a:pt x="528" y="289"/>
                    <a:pt x="528" y="289"/>
                    <a:pt x="528" y="289"/>
                  </a:cubicBezTo>
                  <a:cubicBezTo>
                    <a:pt x="503" y="256"/>
                    <a:pt x="503" y="256"/>
                    <a:pt x="503" y="256"/>
                  </a:cubicBezTo>
                  <a:lnTo>
                    <a:pt x="527" y="225"/>
                  </a:lnTo>
                  <a:close/>
                  <a:moveTo>
                    <a:pt x="580" y="275"/>
                  </a:moveTo>
                  <a:cubicBezTo>
                    <a:pt x="543" y="225"/>
                    <a:pt x="543" y="225"/>
                    <a:pt x="543" y="225"/>
                  </a:cubicBezTo>
                  <a:cubicBezTo>
                    <a:pt x="535" y="225"/>
                    <a:pt x="535" y="225"/>
                    <a:pt x="535" y="225"/>
                  </a:cubicBezTo>
                  <a:cubicBezTo>
                    <a:pt x="535" y="289"/>
                    <a:pt x="535" y="289"/>
                    <a:pt x="535" y="289"/>
                  </a:cubicBezTo>
                  <a:cubicBezTo>
                    <a:pt x="543" y="289"/>
                    <a:pt x="543" y="289"/>
                    <a:pt x="543" y="289"/>
                  </a:cubicBezTo>
                  <a:cubicBezTo>
                    <a:pt x="543" y="238"/>
                    <a:pt x="543" y="238"/>
                    <a:pt x="543" y="238"/>
                  </a:cubicBezTo>
                  <a:cubicBezTo>
                    <a:pt x="580" y="289"/>
                    <a:pt x="580" y="289"/>
                    <a:pt x="580" y="289"/>
                  </a:cubicBezTo>
                  <a:cubicBezTo>
                    <a:pt x="588" y="289"/>
                    <a:pt x="588" y="289"/>
                    <a:pt x="588" y="289"/>
                  </a:cubicBezTo>
                  <a:cubicBezTo>
                    <a:pt x="588" y="225"/>
                    <a:pt x="588" y="225"/>
                    <a:pt x="588" y="225"/>
                  </a:cubicBezTo>
                  <a:cubicBezTo>
                    <a:pt x="580" y="225"/>
                    <a:pt x="580" y="225"/>
                    <a:pt x="580" y="225"/>
                  </a:cubicBezTo>
                  <a:lnTo>
                    <a:pt x="580" y="275"/>
                  </a:lnTo>
                  <a:close/>
                  <a:moveTo>
                    <a:pt x="600" y="289"/>
                  </a:moveTo>
                  <a:cubicBezTo>
                    <a:pt x="642" y="289"/>
                    <a:pt x="642" y="289"/>
                    <a:pt x="642" y="289"/>
                  </a:cubicBezTo>
                  <a:cubicBezTo>
                    <a:pt x="642" y="282"/>
                    <a:pt x="642" y="282"/>
                    <a:pt x="642" y="282"/>
                  </a:cubicBezTo>
                  <a:cubicBezTo>
                    <a:pt x="608" y="282"/>
                    <a:pt x="608" y="282"/>
                    <a:pt x="608" y="282"/>
                  </a:cubicBezTo>
                  <a:cubicBezTo>
                    <a:pt x="608" y="260"/>
                    <a:pt x="608" y="260"/>
                    <a:pt x="608" y="260"/>
                  </a:cubicBezTo>
                  <a:cubicBezTo>
                    <a:pt x="641" y="260"/>
                    <a:pt x="641" y="260"/>
                    <a:pt x="641" y="260"/>
                  </a:cubicBezTo>
                  <a:cubicBezTo>
                    <a:pt x="641" y="253"/>
                    <a:pt x="641" y="253"/>
                    <a:pt x="641" y="253"/>
                  </a:cubicBezTo>
                  <a:cubicBezTo>
                    <a:pt x="608" y="253"/>
                    <a:pt x="608" y="253"/>
                    <a:pt x="608" y="253"/>
                  </a:cubicBezTo>
                  <a:cubicBezTo>
                    <a:pt x="608" y="232"/>
                    <a:pt x="608" y="232"/>
                    <a:pt x="608" y="232"/>
                  </a:cubicBezTo>
                  <a:cubicBezTo>
                    <a:pt x="642" y="232"/>
                    <a:pt x="642" y="232"/>
                    <a:pt x="642" y="232"/>
                  </a:cubicBezTo>
                  <a:cubicBezTo>
                    <a:pt x="642" y="225"/>
                    <a:pt x="642" y="225"/>
                    <a:pt x="642" y="225"/>
                  </a:cubicBezTo>
                  <a:cubicBezTo>
                    <a:pt x="600" y="225"/>
                    <a:pt x="600" y="225"/>
                    <a:pt x="600" y="225"/>
                  </a:cubicBezTo>
                  <a:lnTo>
                    <a:pt x="600" y="289"/>
                  </a:lnTo>
                  <a:close/>
                  <a:moveTo>
                    <a:pt x="698" y="244"/>
                  </a:moveTo>
                  <a:cubicBezTo>
                    <a:pt x="698" y="233"/>
                    <a:pt x="690" y="225"/>
                    <a:pt x="678" y="225"/>
                  </a:cubicBezTo>
                  <a:cubicBezTo>
                    <a:pt x="652" y="225"/>
                    <a:pt x="652" y="225"/>
                    <a:pt x="652" y="225"/>
                  </a:cubicBezTo>
                  <a:cubicBezTo>
                    <a:pt x="652" y="289"/>
                    <a:pt x="652" y="289"/>
                    <a:pt x="652" y="289"/>
                  </a:cubicBezTo>
                  <a:cubicBezTo>
                    <a:pt x="660" y="289"/>
                    <a:pt x="660" y="289"/>
                    <a:pt x="660" y="289"/>
                  </a:cubicBezTo>
                  <a:cubicBezTo>
                    <a:pt x="660" y="264"/>
                    <a:pt x="660" y="264"/>
                    <a:pt x="660" y="264"/>
                  </a:cubicBezTo>
                  <a:cubicBezTo>
                    <a:pt x="673" y="264"/>
                    <a:pt x="673" y="264"/>
                    <a:pt x="673" y="264"/>
                  </a:cubicBezTo>
                  <a:cubicBezTo>
                    <a:pt x="689" y="289"/>
                    <a:pt x="689" y="289"/>
                    <a:pt x="689" y="289"/>
                  </a:cubicBezTo>
                  <a:cubicBezTo>
                    <a:pt x="699" y="289"/>
                    <a:pt x="699" y="289"/>
                    <a:pt x="699" y="289"/>
                  </a:cubicBezTo>
                  <a:cubicBezTo>
                    <a:pt x="682" y="263"/>
                    <a:pt x="682" y="263"/>
                    <a:pt x="682" y="263"/>
                  </a:cubicBezTo>
                  <a:cubicBezTo>
                    <a:pt x="690" y="262"/>
                    <a:pt x="698" y="256"/>
                    <a:pt x="698" y="244"/>
                  </a:cubicBezTo>
                  <a:close/>
                  <a:moveTo>
                    <a:pt x="660" y="257"/>
                  </a:moveTo>
                  <a:cubicBezTo>
                    <a:pt x="660" y="232"/>
                    <a:pt x="660" y="232"/>
                    <a:pt x="660" y="232"/>
                  </a:cubicBezTo>
                  <a:cubicBezTo>
                    <a:pt x="677" y="232"/>
                    <a:pt x="677" y="232"/>
                    <a:pt x="677" y="232"/>
                  </a:cubicBezTo>
                  <a:cubicBezTo>
                    <a:pt x="685" y="232"/>
                    <a:pt x="690" y="237"/>
                    <a:pt x="690" y="244"/>
                  </a:cubicBezTo>
                  <a:cubicBezTo>
                    <a:pt x="690" y="252"/>
                    <a:pt x="685" y="257"/>
                    <a:pt x="677" y="257"/>
                  </a:cubicBezTo>
                  <a:lnTo>
                    <a:pt x="660" y="257"/>
                  </a:lnTo>
                  <a:close/>
                  <a:moveTo>
                    <a:pt x="762" y="274"/>
                  </a:moveTo>
                  <a:cubicBezTo>
                    <a:pt x="742" y="225"/>
                    <a:pt x="742" y="225"/>
                    <a:pt x="742" y="225"/>
                  </a:cubicBezTo>
                  <a:cubicBezTo>
                    <a:pt x="731" y="225"/>
                    <a:pt x="731" y="225"/>
                    <a:pt x="731" y="225"/>
                  </a:cubicBezTo>
                  <a:cubicBezTo>
                    <a:pt x="731" y="289"/>
                    <a:pt x="731" y="289"/>
                    <a:pt x="731" y="289"/>
                  </a:cubicBezTo>
                  <a:cubicBezTo>
                    <a:pt x="739" y="289"/>
                    <a:pt x="739" y="289"/>
                    <a:pt x="739" y="289"/>
                  </a:cubicBezTo>
                  <a:cubicBezTo>
                    <a:pt x="739" y="235"/>
                    <a:pt x="739" y="235"/>
                    <a:pt x="739" y="235"/>
                  </a:cubicBezTo>
                  <a:cubicBezTo>
                    <a:pt x="761" y="289"/>
                    <a:pt x="761" y="289"/>
                    <a:pt x="761" y="289"/>
                  </a:cubicBezTo>
                  <a:cubicBezTo>
                    <a:pt x="764" y="289"/>
                    <a:pt x="764" y="289"/>
                    <a:pt x="764" y="289"/>
                  </a:cubicBezTo>
                  <a:cubicBezTo>
                    <a:pt x="786" y="235"/>
                    <a:pt x="786" y="235"/>
                    <a:pt x="786" y="235"/>
                  </a:cubicBezTo>
                  <a:cubicBezTo>
                    <a:pt x="786" y="289"/>
                    <a:pt x="786" y="289"/>
                    <a:pt x="786" y="289"/>
                  </a:cubicBezTo>
                  <a:cubicBezTo>
                    <a:pt x="794" y="289"/>
                    <a:pt x="794" y="289"/>
                    <a:pt x="794" y="289"/>
                  </a:cubicBezTo>
                  <a:cubicBezTo>
                    <a:pt x="794" y="225"/>
                    <a:pt x="794" y="225"/>
                    <a:pt x="794" y="225"/>
                  </a:cubicBezTo>
                  <a:cubicBezTo>
                    <a:pt x="782" y="225"/>
                    <a:pt x="782" y="225"/>
                    <a:pt x="782" y="225"/>
                  </a:cubicBezTo>
                  <a:lnTo>
                    <a:pt x="762" y="274"/>
                  </a:lnTo>
                  <a:close/>
                  <a:moveTo>
                    <a:pt x="806" y="289"/>
                  </a:moveTo>
                  <a:cubicBezTo>
                    <a:pt x="848" y="289"/>
                    <a:pt x="848" y="289"/>
                    <a:pt x="848" y="289"/>
                  </a:cubicBezTo>
                  <a:cubicBezTo>
                    <a:pt x="848" y="282"/>
                    <a:pt x="848" y="282"/>
                    <a:pt x="848" y="282"/>
                  </a:cubicBezTo>
                  <a:cubicBezTo>
                    <a:pt x="814" y="282"/>
                    <a:pt x="814" y="282"/>
                    <a:pt x="814" y="282"/>
                  </a:cubicBezTo>
                  <a:cubicBezTo>
                    <a:pt x="814" y="260"/>
                    <a:pt x="814" y="260"/>
                    <a:pt x="814" y="260"/>
                  </a:cubicBezTo>
                  <a:cubicBezTo>
                    <a:pt x="847" y="260"/>
                    <a:pt x="847" y="260"/>
                    <a:pt x="847" y="260"/>
                  </a:cubicBezTo>
                  <a:cubicBezTo>
                    <a:pt x="847" y="253"/>
                    <a:pt x="847" y="253"/>
                    <a:pt x="847" y="253"/>
                  </a:cubicBezTo>
                  <a:cubicBezTo>
                    <a:pt x="814" y="253"/>
                    <a:pt x="814" y="253"/>
                    <a:pt x="814" y="253"/>
                  </a:cubicBezTo>
                  <a:cubicBezTo>
                    <a:pt x="814" y="232"/>
                    <a:pt x="814" y="232"/>
                    <a:pt x="814" y="232"/>
                  </a:cubicBezTo>
                  <a:cubicBezTo>
                    <a:pt x="848" y="232"/>
                    <a:pt x="848" y="232"/>
                    <a:pt x="848" y="232"/>
                  </a:cubicBezTo>
                  <a:cubicBezTo>
                    <a:pt x="848" y="225"/>
                    <a:pt x="848" y="225"/>
                    <a:pt x="848" y="225"/>
                  </a:cubicBezTo>
                  <a:cubicBezTo>
                    <a:pt x="806" y="225"/>
                    <a:pt x="806" y="225"/>
                    <a:pt x="806" y="225"/>
                  </a:cubicBezTo>
                  <a:lnTo>
                    <a:pt x="806" y="289"/>
                  </a:lnTo>
                  <a:close/>
                  <a:moveTo>
                    <a:pt x="880" y="225"/>
                  </a:moveTo>
                  <a:cubicBezTo>
                    <a:pt x="858" y="225"/>
                    <a:pt x="858" y="225"/>
                    <a:pt x="858" y="225"/>
                  </a:cubicBezTo>
                  <a:cubicBezTo>
                    <a:pt x="858" y="289"/>
                    <a:pt x="858" y="289"/>
                    <a:pt x="858" y="289"/>
                  </a:cubicBezTo>
                  <a:cubicBezTo>
                    <a:pt x="880" y="289"/>
                    <a:pt x="880" y="289"/>
                    <a:pt x="880" y="289"/>
                  </a:cubicBezTo>
                  <a:cubicBezTo>
                    <a:pt x="900" y="289"/>
                    <a:pt x="913" y="275"/>
                    <a:pt x="913" y="257"/>
                  </a:cubicBezTo>
                  <a:cubicBezTo>
                    <a:pt x="913" y="239"/>
                    <a:pt x="900" y="225"/>
                    <a:pt x="880" y="225"/>
                  </a:cubicBezTo>
                  <a:close/>
                  <a:moveTo>
                    <a:pt x="880" y="282"/>
                  </a:moveTo>
                  <a:cubicBezTo>
                    <a:pt x="866" y="282"/>
                    <a:pt x="866" y="282"/>
                    <a:pt x="866" y="282"/>
                  </a:cubicBezTo>
                  <a:cubicBezTo>
                    <a:pt x="866" y="232"/>
                    <a:pt x="866" y="232"/>
                    <a:pt x="866" y="232"/>
                  </a:cubicBezTo>
                  <a:cubicBezTo>
                    <a:pt x="880" y="232"/>
                    <a:pt x="880" y="232"/>
                    <a:pt x="880" y="232"/>
                  </a:cubicBezTo>
                  <a:cubicBezTo>
                    <a:pt x="896" y="232"/>
                    <a:pt x="905" y="243"/>
                    <a:pt x="905" y="257"/>
                  </a:cubicBezTo>
                  <a:cubicBezTo>
                    <a:pt x="905" y="271"/>
                    <a:pt x="896" y="282"/>
                    <a:pt x="880" y="282"/>
                  </a:cubicBezTo>
                  <a:close/>
                  <a:moveTo>
                    <a:pt x="923" y="289"/>
                  </a:moveTo>
                  <a:cubicBezTo>
                    <a:pt x="931" y="289"/>
                    <a:pt x="931" y="289"/>
                    <a:pt x="931" y="289"/>
                  </a:cubicBezTo>
                  <a:cubicBezTo>
                    <a:pt x="931" y="225"/>
                    <a:pt x="931" y="225"/>
                    <a:pt x="931" y="225"/>
                  </a:cubicBezTo>
                  <a:cubicBezTo>
                    <a:pt x="923" y="225"/>
                    <a:pt x="923" y="225"/>
                    <a:pt x="923" y="225"/>
                  </a:cubicBezTo>
                  <a:lnTo>
                    <a:pt x="923" y="289"/>
                  </a:lnTo>
                  <a:close/>
                  <a:moveTo>
                    <a:pt x="974" y="283"/>
                  </a:moveTo>
                  <a:cubicBezTo>
                    <a:pt x="960" y="283"/>
                    <a:pt x="949" y="272"/>
                    <a:pt x="949" y="257"/>
                  </a:cubicBezTo>
                  <a:cubicBezTo>
                    <a:pt x="949" y="242"/>
                    <a:pt x="960" y="231"/>
                    <a:pt x="974" y="231"/>
                  </a:cubicBezTo>
                  <a:cubicBezTo>
                    <a:pt x="981" y="231"/>
                    <a:pt x="988" y="235"/>
                    <a:pt x="992" y="240"/>
                  </a:cubicBezTo>
                  <a:cubicBezTo>
                    <a:pt x="998" y="237"/>
                    <a:pt x="998" y="237"/>
                    <a:pt x="998" y="237"/>
                  </a:cubicBezTo>
                  <a:cubicBezTo>
                    <a:pt x="993" y="229"/>
                    <a:pt x="985" y="224"/>
                    <a:pt x="974" y="224"/>
                  </a:cubicBezTo>
                  <a:cubicBezTo>
                    <a:pt x="956" y="224"/>
                    <a:pt x="941" y="237"/>
                    <a:pt x="941" y="257"/>
                  </a:cubicBezTo>
                  <a:cubicBezTo>
                    <a:pt x="941" y="277"/>
                    <a:pt x="956" y="290"/>
                    <a:pt x="974" y="290"/>
                  </a:cubicBezTo>
                  <a:cubicBezTo>
                    <a:pt x="985" y="290"/>
                    <a:pt x="993" y="285"/>
                    <a:pt x="998" y="277"/>
                  </a:cubicBezTo>
                  <a:cubicBezTo>
                    <a:pt x="992" y="274"/>
                    <a:pt x="992" y="274"/>
                    <a:pt x="992" y="274"/>
                  </a:cubicBezTo>
                  <a:cubicBezTo>
                    <a:pt x="988" y="279"/>
                    <a:pt x="981" y="283"/>
                    <a:pt x="974" y="283"/>
                  </a:cubicBezTo>
                  <a:close/>
                  <a:moveTo>
                    <a:pt x="1025" y="225"/>
                  </a:moveTo>
                  <a:cubicBezTo>
                    <a:pt x="999" y="289"/>
                    <a:pt x="999" y="289"/>
                    <a:pt x="999" y="289"/>
                  </a:cubicBezTo>
                  <a:cubicBezTo>
                    <a:pt x="1008" y="289"/>
                    <a:pt x="1008" y="289"/>
                    <a:pt x="1008" y="289"/>
                  </a:cubicBezTo>
                  <a:cubicBezTo>
                    <a:pt x="1014" y="275"/>
                    <a:pt x="1014" y="275"/>
                    <a:pt x="1014" y="275"/>
                  </a:cubicBezTo>
                  <a:cubicBezTo>
                    <a:pt x="1046" y="275"/>
                    <a:pt x="1046" y="275"/>
                    <a:pt x="1046" y="275"/>
                  </a:cubicBezTo>
                  <a:cubicBezTo>
                    <a:pt x="1052" y="289"/>
                    <a:pt x="1052" y="289"/>
                    <a:pt x="1052" y="289"/>
                  </a:cubicBezTo>
                  <a:cubicBezTo>
                    <a:pt x="1061" y="289"/>
                    <a:pt x="1061" y="289"/>
                    <a:pt x="1061" y="289"/>
                  </a:cubicBezTo>
                  <a:cubicBezTo>
                    <a:pt x="1035" y="225"/>
                    <a:pt x="1035" y="225"/>
                    <a:pt x="1035" y="225"/>
                  </a:cubicBezTo>
                  <a:lnTo>
                    <a:pt x="1025" y="225"/>
                  </a:lnTo>
                  <a:close/>
                  <a:moveTo>
                    <a:pt x="1017" y="268"/>
                  </a:moveTo>
                  <a:cubicBezTo>
                    <a:pt x="1030" y="233"/>
                    <a:pt x="1030" y="233"/>
                    <a:pt x="1030" y="233"/>
                  </a:cubicBezTo>
                  <a:cubicBezTo>
                    <a:pt x="1044" y="268"/>
                    <a:pt x="1044" y="268"/>
                    <a:pt x="1044" y="268"/>
                  </a:cubicBezTo>
                  <a:lnTo>
                    <a:pt x="1017" y="268"/>
                  </a:lnTo>
                  <a:close/>
                  <a:moveTo>
                    <a:pt x="1074" y="225"/>
                  </a:moveTo>
                  <a:cubicBezTo>
                    <a:pt x="1066" y="225"/>
                    <a:pt x="1066" y="225"/>
                    <a:pt x="1066" y="225"/>
                  </a:cubicBezTo>
                  <a:cubicBezTo>
                    <a:pt x="1066" y="289"/>
                    <a:pt x="1066" y="289"/>
                    <a:pt x="1066" y="289"/>
                  </a:cubicBezTo>
                  <a:cubicBezTo>
                    <a:pt x="1103" y="289"/>
                    <a:pt x="1103" y="289"/>
                    <a:pt x="1103" y="289"/>
                  </a:cubicBezTo>
                  <a:cubicBezTo>
                    <a:pt x="1103" y="282"/>
                    <a:pt x="1103" y="282"/>
                    <a:pt x="1103" y="282"/>
                  </a:cubicBezTo>
                  <a:cubicBezTo>
                    <a:pt x="1074" y="282"/>
                    <a:pt x="1074" y="282"/>
                    <a:pt x="1074" y="282"/>
                  </a:cubicBezTo>
                  <a:lnTo>
                    <a:pt x="1074" y="225"/>
                  </a:lnTo>
                  <a:close/>
                  <a:moveTo>
                    <a:pt x="1157" y="283"/>
                  </a:moveTo>
                  <a:cubicBezTo>
                    <a:pt x="1143" y="283"/>
                    <a:pt x="1133" y="272"/>
                    <a:pt x="1133" y="257"/>
                  </a:cubicBezTo>
                  <a:cubicBezTo>
                    <a:pt x="1133" y="242"/>
                    <a:pt x="1143" y="231"/>
                    <a:pt x="1157" y="231"/>
                  </a:cubicBezTo>
                  <a:cubicBezTo>
                    <a:pt x="1165" y="231"/>
                    <a:pt x="1171" y="235"/>
                    <a:pt x="1175" y="240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76" y="229"/>
                    <a:pt x="1169" y="224"/>
                    <a:pt x="1157" y="224"/>
                  </a:cubicBezTo>
                  <a:cubicBezTo>
                    <a:pt x="1139" y="224"/>
                    <a:pt x="1124" y="237"/>
                    <a:pt x="1124" y="257"/>
                  </a:cubicBezTo>
                  <a:cubicBezTo>
                    <a:pt x="1124" y="277"/>
                    <a:pt x="1139" y="290"/>
                    <a:pt x="1157" y="290"/>
                  </a:cubicBezTo>
                  <a:cubicBezTo>
                    <a:pt x="1169" y="290"/>
                    <a:pt x="1176" y="285"/>
                    <a:pt x="1182" y="277"/>
                  </a:cubicBezTo>
                  <a:cubicBezTo>
                    <a:pt x="1175" y="274"/>
                    <a:pt x="1175" y="274"/>
                    <a:pt x="1175" y="274"/>
                  </a:cubicBezTo>
                  <a:cubicBezTo>
                    <a:pt x="1171" y="279"/>
                    <a:pt x="1165" y="283"/>
                    <a:pt x="1157" y="283"/>
                  </a:cubicBezTo>
                  <a:close/>
                  <a:moveTo>
                    <a:pt x="1189" y="289"/>
                  </a:moveTo>
                  <a:cubicBezTo>
                    <a:pt x="1231" y="289"/>
                    <a:pt x="1231" y="289"/>
                    <a:pt x="1231" y="289"/>
                  </a:cubicBezTo>
                  <a:cubicBezTo>
                    <a:pt x="1231" y="282"/>
                    <a:pt x="1231" y="282"/>
                    <a:pt x="1231" y="282"/>
                  </a:cubicBezTo>
                  <a:cubicBezTo>
                    <a:pt x="1197" y="282"/>
                    <a:pt x="1197" y="282"/>
                    <a:pt x="1197" y="282"/>
                  </a:cubicBezTo>
                  <a:cubicBezTo>
                    <a:pt x="1197" y="260"/>
                    <a:pt x="1197" y="260"/>
                    <a:pt x="1197" y="260"/>
                  </a:cubicBezTo>
                  <a:cubicBezTo>
                    <a:pt x="1231" y="260"/>
                    <a:pt x="1231" y="260"/>
                    <a:pt x="1231" y="260"/>
                  </a:cubicBezTo>
                  <a:cubicBezTo>
                    <a:pt x="1231" y="253"/>
                    <a:pt x="1231" y="253"/>
                    <a:pt x="1231" y="253"/>
                  </a:cubicBezTo>
                  <a:cubicBezTo>
                    <a:pt x="1197" y="253"/>
                    <a:pt x="1197" y="253"/>
                    <a:pt x="1197" y="253"/>
                  </a:cubicBezTo>
                  <a:cubicBezTo>
                    <a:pt x="1197" y="232"/>
                    <a:pt x="1197" y="232"/>
                    <a:pt x="1197" y="232"/>
                  </a:cubicBezTo>
                  <a:cubicBezTo>
                    <a:pt x="1231" y="232"/>
                    <a:pt x="1231" y="232"/>
                    <a:pt x="1231" y="232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189" y="225"/>
                    <a:pt x="1189" y="225"/>
                    <a:pt x="1189" y="225"/>
                  </a:cubicBezTo>
                  <a:lnTo>
                    <a:pt x="1189" y="289"/>
                  </a:lnTo>
                  <a:close/>
                  <a:moveTo>
                    <a:pt x="1287" y="275"/>
                  </a:moveTo>
                  <a:cubicBezTo>
                    <a:pt x="1250" y="225"/>
                    <a:pt x="1250" y="225"/>
                    <a:pt x="1250" y="225"/>
                  </a:cubicBezTo>
                  <a:cubicBezTo>
                    <a:pt x="1242" y="225"/>
                    <a:pt x="1242" y="225"/>
                    <a:pt x="1242" y="225"/>
                  </a:cubicBezTo>
                  <a:cubicBezTo>
                    <a:pt x="1242" y="289"/>
                    <a:pt x="1242" y="289"/>
                    <a:pt x="1242" y="289"/>
                  </a:cubicBezTo>
                  <a:cubicBezTo>
                    <a:pt x="1250" y="289"/>
                    <a:pt x="1250" y="289"/>
                    <a:pt x="1250" y="289"/>
                  </a:cubicBezTo>
                  <a:cubicBezTo>
                    <a:pt x="1250" y="238"/>
                    <a:pt x="1250" y="238"/>
                    <a:pt x="1250" y="238"/>
                  </a:cubicBezTo>
                  <a:cubicBezTo>
                    <a:pt x="1287" y="289"/>
                    <a:pt x="1287" y="289"/>
                    <a:pt x="1287" y="289"/>
                  </a:cubicBezTo>
                  <a:cubicBezTo>
                    <a:pt x="1295" y="289"/>
                    <a:pt x="1295" y="289"/>
                    <a:pt x="1295" y="289"/>
                  </a:cubicBezTo>
                  <a:cubicBezTo>
                    <a:pt x="1295" y="225"/>
                    <a:pt x="1295" y="225"/>
                    <a:pt x="1295" y="225"/>
                  </a:cubicBezTo>
                  <a:cubicBezTo>
                    <a:pt x="1287" y="225"/>
                    <a:pt x="1287" y="225"/>
                    <a:pt x="1287" y="225"/>
                  </a:cubicBezTo>
                  <a:lnTo>
                    <a:pt x="1287" y="275"/>
                  </a:lnTo>
                  <a:close/>
                  <a:moveTo>
                    <a:pt x="1303" y="232"/>
                  </a:moveTo>
                  <a:cubicBezTo>
                    <a:pt x="1323" y="232"/>
                    <a:pt x="1323" y="232"/>
                    <a:pt x="1323" y="232"/>
                  </a:cubicBezTo>
                  <a:cubicBezTo>
                    <a:pt x="1323" y="289"/>
                    <a:pt x="1323" y="289"/>
                    <a:pt x="1323" y="289"/>
                  </a:cubicBezTo>
                  <a:cubicBezTo>
                    <a:pt x="1331" y="289"/>
                    <a:pt x="1331" y="289"/>
                    <a:pt x="1331" y="289"/>
                  </a:cubicBezTo>
                  <a:cubicBezTo>
                    <a:pt x="1331" y="232"/>
                    <a:pt x="1331" y="232"/>
                    <a:pt x="1331" y="232"/>
                  </a:cubicBezTo>
                  <a:cubicBezTo>
                    <a:pt x="1351" y="232"/>
                    <a:pt x="1351" y="232"/>
                    <a:pt x="1351" y="232"/>
                  </a:cubicBezTo>
                  <a:cubicBezTo>
                    <a:pt x="1351" y="225"/>
                    <a:pt x="1351" y="225"/>
                    <a:pt x="1351" y="225"/>
                  </a:cubicBezTo>
                  <a:cubicBezTo>
                    <a:pt x="1303" y="225"/>
                    <a:pt x="1303" y="225"/>
                    <a:pt x="1303" y="225"/>
                  </a:cubicBezTo>
                  <a:lnTo>
                    <a:pt x="1303" y="232"/>
                  </a:lnTo>
                  <a:close/>
                  <a:moveTo>
                    <a:pt x="1360" y="289"/>
                  </a:moveTo>
                  <a:cubicBezTo>
                    <a:pt x="1401" y="289"/>
                    <a:pt x="1401" y="289"/>
                    <a:pt x="1401" y="289"/>
                  </a:cubicBezTo>
                  <a:cubicBezTo>
                    <a:pt x="1401" y="282"/>
                    <a:pt x="1401" y="282"/>
                    <a:pt x="1401" y="282"/>
                  </a:cubicBezTo>
                  <a:cubicBezTo>
                    <a:pt x="1367" y="282"/>
                    <a:pt x="1367" y="282"/>
                    <a:pt x="1367" y="282"/>
                  </a:cubicBezTo>
                  <a:cubicBezTo>
                    <a:pt x="1367" y="260"/>
                    <a:pt x="1367" y="260"/>
                    <a:pt x="1367" y="260"/>
                  </a:cubicBezTo>
                  <a:cubicBezTo>
                    <a:pt x="1401" y="260"/>
                    <a:pt x="1401" y="260"/>
                    <a:pt x="1401" y="260"/>
                  </a:cubicBezTo>
                  <a:cubicBezTo>
                    <a:pt x="1401" y="253"/>
                    <a:pt x="1401" y="253"/>
                    <a:pt x="1401" y="253"/>
                  </a:cubicBezTo>
                  <a:cubicBezTo>
                    <a:pt x="1367" y="253"/>
                    <a:pt x="1367" y="253"/>
                    <a:pt x="1367" y="253"/>
                  </a:cubicBezTo>
                  <a:cubicBezTo>
                    <a:pt x="1367" y="232"/>
                    <a:pt x="1367" y="232"/>
                    <a:pt x="1367" y="232"/>
                  </a:cubicBezTo>
                  <a:cubicBezTo>
                    <a:pt x="1401" y="232"/>
                    <a:pt x="1401" y="232"/>
                    <a:pt x="1401" y="232"/>
                  </a:cubicBezTo>
                  <a:cubicBezTo>
                    <a:pt x="1401" y="225"/>
                    <a:pt x="1401" y="225"/>
                    <a:pt x="1401" y="225"/>
                  </a:cubicBezTo>
                  <a:cubicBezTo>
                    <a:pt x="1360" y="225"/>
                    <a:pt x="1360" y="225"/>
                    <a:pt x="1360" y="225"/>
                  </a:cubicBezTo>
                  <a:lnTo>
                    <a:pt x="1360" y="289"/>
                  </a:lnTo>
                  <a:close/>
                  <a:moveTo>
                    <a:pt x="1458" y="244"/>
                  </a:moveTo>
                  <a:cubicBezTo>
                    <a:pt x="1458" y="233"/>
                    <a:pt x="1449" y="225"/>
                    <a:pt x="1437" y="225"/>
                  </a:cubicBezTo>
                  <a:cubicBezTo>
                    <a:pt x="1412" y="225"/>
                    <a:pt x="1412" y="225"/>
                    <a:pt x="1412" y="225"/>
                  </a:cubicBezTo>
                  <a:cubicBezTo>
                    <a:pt x="1412" y="289"/>
                    <a:pt x="1412" y="289"/>
                    <a:pt x="1412" y="289"/>
                  </a:cubicBezTo>
                  <a:cubicBezTo>
                    <a:pt x="1420" y="289"/>
                    <a:pt x="1420" y="289"/>
                    <a:pt x="1420" y="289"/>
                  </a:cubicBezTo>
                  <a:cubicBezTo>
                    <a:pt x="1420" y="264"/>
                    <a:pt x="1420" y="264"/>
                    <a:pt x="1420" y="264"/>
                  </a:cubicBezTo>
                  <a:cubicBezTo>
                    <a:pt x="1433" y="264"/>
                    <a:pt x="1433" y="264"/>
                    <a:pt x="1433" y="264"/>
                  </a:cubicBezTo>
                  <a:cubicBezTo>
                    <a:pt x="1449" y="289"/>
                    <a:pt x="1449" y="289"/>
                    <a:pt x="1449" y="289"/>
                  </a:cubicBezTo>
                  <a:cubicBezTo>
                    <a:pt x="1458" y="289"/>
                    <a:pt x="1458" y="289"/>
                    <a:pt x="1458" y="289"/>
                  </a:cubicBezTo>
                  <a:cubicBezTo>
                    <a:pt x="1441" y="263"/>
                    <a:pt x="1441" y="263"/>
                    <a:pt x="1441" y="263"/>
                  </a:cubicBezTo>
                  <a:cubicBezTo>
                    <a:pt x="1450" y="262"/>
                    <a:pt x="1458" y="256"/>
                    <a:pt x="1458" y="244"/>
                  </a:cubicBezTo>
                  <a:close/>
                  <a:moveTo>
                    <a:pt x="1420" y="257"/>
                  </a:moveTo>
                  <a:cubicBezTo>
                    <a:pt x="1420" y="232"/>
                    <a:pt x="1420" y="232"/>
                    <a:pt x="1420" y="232"/>
                  </a:cubicBezTo>
                  <a:cubicBezTo>
                    <a:pt x="1437" y="232"/>
                    <a:pt x="1437" y="232"/>
                    <a:pt x="1437" y="232"/>
                  </a:cubicBezTo>
                  <a:cubicBezTo>
                    <a:pt x="1444" y="232"/>
                    <a:pt x="1449" y="237"/>
                    <a:pt x="1449" y="244"/>
                  </a:cubicBezTo>
                  <a:cubicBezTo>
                    <a:pt x="1449" y="252"/>
                    <a:pt x="1444" y="257"/>
                    <a:pt x="1437" y="257"/>
                  </a:cubicBezTo>
                  <a:lnTo>
                    <a:pt x="1420" y="257"/>
                  </a:lnTo>
                  <a:close/>
                  <a:moveTo>
                    <a:pt x="59" y="0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58" y="312"/>
                    <a:pt x="58" y="312"/>
                    <a:pt x="58" y="312"/>
                  </a:cubicBezTo>
                  <a:cubicBezTo>
                    <a:pt x="180" y="312"/>
                    <a:pt x="180" y="312"/>
                    <a:pt x="180" y="312"/>
                  </a:cubicBezTo>
                  <a:cubicBezTo>
                    <a:pt x="239" y="253"/>
                    <a:pt x="239" y="253"/>
                    <a:pt x="239" y="25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180" y="0"/>
                    <a:pt x="180" y="0"/>
                    <a:pt x="180" y="0"/>
                  </a:cubicBezTo>
                  <a:lnTo>
                    <a:pt x="59" y="0"/>
                  </a:lnTo>
                  <a:close/>
                  <a:moveTo>
                    <a:pt x="233" y="251"/>
                  </a:moveTo>
                  <a:cubicBezTo>
                    <a:pt x="178" y="307"/>
                    <a:pt x="178" y="307"/>
                    <a:pt x="178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5" y="251"/>
                    <a:pt x="5" y="251"/>
                    <a:pt x="5" y="25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233" y="60"/>
                    <a:pt x="233" y="60"/>
                    <a:pt x="233" y="60"/>
                  </a:cubicBezTo>
                  <a:lnTo>
                    <a:pt x="233" y="251"/>
                  </a:lnTo>
                  <a:close/>
                  <a:moveTo>
                    <a:pt x="89" y="75"/>
                  </a:moveTo>
                  <a:cubicBezTo>
                    <a:pt x="73" y="91"/>
                    <a:pt x="73" y="91"/>
                    <a:pt x="73" y="91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89" y="238"/>
                    <a:pt x="89" y="238"/>
                    <a:pt x="89" y="238"/>
                  </a:cubicBezTo>
                  <a:cubicBezTo>
                    <a:pt x="150" y="238"/>
                    <a:pt x="150" y="238"/>
                    <a:pt x="150" y="238"/>
                  </a:cubicBezTo>
                  <a:cubicBezTo>
                    <a:pt x="165" y="222"/>
                    <a:pt x="165" y="222"/>
                    <a:pt x="165" y="222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49" y="75"/>
                    <a:pt x="149" y="75"/>
                    <a:pt x="149" y="75"/>
                  </a:cubicBezTo>
                  <a:lnTo>
                    <a:pt x="89" y="75"/>
                  </a:lnTo>
                  <a:close/>
                  <a:moveTo>
                    <a:pt x="160" y="220"/>
                  </a:moveTo>
                  <a:cubicBezTo>
                    <a:pt x="147" y="233"/>
                    <a:pt x="147" y="233"/>
                    <a:pt x="147" y="233"/>
                  </a:cubicBezTo>
                  <a:cubicBezTo>
                    <a:pt x="91" y="233"/>
                    <a:pt x="91" y="233"/>
                    <a:pt x="91" y="233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9" y="93"/>
                    <a:pt x="79" y="93"/>
                    <a:pt x="79" y="93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60" y="93"/>
                    <a:pt x="160" y="93"/>
                    <a:pt x="160" y="93"/>
                  </a:cubicBezTo>
                  <a:lnTo>
                    <a:pt x="160" y="220"/>
                  </a:lnTo>
                  <a:close/>
                  <a:moveTo>
                    <a:pt x="318" y="169"/>
                  </a:moveTo>
                  <a:cubicBezTo>
                    <a:pt x="318" y="174"/>
                    <a:pt x="318" y="174"/>
                    <a:pt x="318" y="174"/>
                  </a:cubicBezTo>
                  <a:cubicBezTo>
                    <a:pt x="2178" y="174"/>
                    <a:pt x="2178" y="174"/>
                    <a:pt x="2178" y="174"/>
                  </a:cubicBezTo>
                  <a:cubicBezTo>
                    <a:pt x="2178" y="169"/>
                    <a:pt x="2178" y="169"/>
                    <a:pt x="2178" y="169"/>
                  </a:cubicBezTo>
                  <a:lnTo>
                    <a:pt x="318" y="169"/>
                  </a:lnTo>
                  <a:close/>
                  <a:moveTo>
                    <a:pt x="1628" y="109"/>
                  </a:moveTo>
                  <a:cubicBezTo>
                    <a:pt x="1616" y="107"/>
                    <a:pt x="1616" y="107"/>
                    <a:pt x="1616" y="107"/>
                  </a:cubicBezTo>
                  <a:cubicBezTo>
                    <a:pt x="1616" y="48"/>
                    <a:pt x="1616" y="48"/>
                    <a:pt x="1616" y="48"/>
                  </a:cubicBezTo>
                  <a:cubicBezTo>
                    <a:pt x="1628" y="46"/>
                    <a:pt x="1628" y="46"/>
                    <a:pt x="1628" y="46"/>
                  </a:cubicBezTo>
                  <a:cubicBezTo>
                    <a:pt x="1628" y="39"/>
                    <a:pt x="1628" y="39"/>
                    <a:pt x="1628" y="39"/>
                  </a:cubicBezTo>
                  <a:cubicBezTo>
                    <a:pt x="1587" y="39"/>
                    <a:pt x="1587" y="39"/>
                    <a:pt x="1587" y="39"/>
                  </a:cubicBezTo>
                  <a:cubicBezTo>
                    <a:pt x="1587" y="46"/>
                    <a:pt x="1587" y="46"/>
                    <a:pt x="1587" y="46"/>
                  </a:cubicBezTo>
                  <a:cubicBezTo>
                    <a:pt x="1599" y="48"/>
                    <a:pt x="1599" y="48"/>
                    <a:pt x="1599" y="48"/>
                  </a:cubicBezTo>
                  <a:cubicBezTo>
                    <a:pt x="1599" y="107"/>
                    <a:pt x="1599" y="107"/>
                    <a:pt x="1599" y="107"/>
                  </a:cubicBezTo>
                  <a:cubicBezTo>
                    <a:pt x="1587" y="109"/>
                    <a:pt x="1587" y="109"/>
                    <a:pt x="1587" y="109"/>
                  </a:cubicBezTo>
                  <a:cubicBezTo>
                    <a:pt x="1587" y="116"/>
                    <a:pt x="1587" y="116"/>
                    <a:pt x="1587" y="116"/>
                  </a:cubicBezTo>
                  <a:cubicBezTo>
                    <a:pt x="1628" y="116"/>
                    <a:pt x="1628" y="116"/>
                    <a:pt x="1628" y="116"/>
                  </a:cubicBezTo>
                  <a:lnTo>
                    <a:pt x="1628" y="109"/>
                  </a:lnTo>
                  <a:close/>
                  <a:moveTo>
                    <a:pt x="1526" y="109"/>
                  </a:moveTo>
                  <a:cubicBezTo>
                    <a:pt x="1515" y="107"/>
                    <a:pt x="1515" y="107"/>
                    <a:pt x="1515" y="107"/>
                  </a:cubicBezTo>
                  <a:cubicBezTo>
                    <a:pt x="1515" y="61"/>
                    <a:pt x="1515" y="61"/>
                    <a:pt x="1515" y="61"/>
                  </a:cubicBezTo>
                  <a:cubicBezTo>
                    <a:pt x="1553" y="116"/>
                    <a:pt x="1553" y="116"/>
                    <a:pt x="1553" y="116"/>
                  </a:cubicBezTo>
                  <a:cubicBezTo>
                    <a:pt x="1567" y="116"/>
                    <a:pt x="1567" y="116"/>
                    <a:pt x="1567" y="116"/>
                  </a:cubicBezTo>
                  <a:cubicBezTo>
                    <a:pt x="1567" y="48"/>
                    <a:pt x="1567" y="48"/>
                    <a:pt x="1567" y="48"/>
                  </a:cubicBezTo>
                  <a:cubicBezTo>
                    <a:pt x="1578" y="46"/>
                    <a:pt x="1578" y="46"/>
                    <a:pt x="1578" y="46"/>
                  </a:cubicBezTo>
                  <a:cubicBezTo>
                    <a:pt x="1578" y="39"/>
                    <a:pt x="1578" y="39"/>
                    <a:pt x="1578" y="39"/>
                  </a:cubicBezTo>
                  <a:cubicBezTo>
                    <a:pt x="1544" y="39"/>
                    <a:pt x="1544" y="39"/>
                    <a:pt x="1544" y="39"/>
                  </a:cubicBezTo>
                  <a:cubicBezTo>
                    <a:pt x="1544" y="46"/>
                    <a:pt x="1544" y="46"/>
                    <a:pt x="1544" y="46"/>
                  </a:cubicBezTo>
                  <a:cubicBezTo>
                    <a:pt x="1556" y="48"/>
                    <a:pt x="1556" y="48"/>
                    <a:pt x="1556" y="48"/>
                  </a:cubicBezTo>
                  <a:cubicBezTo>
                    <a:pt x="1556" y="91"/>
                    <a:pt x="1556" y="91"/>
                    <a:pt x="1556" y="91"/>
                  </a:cubicBezTo>
                  <a:cubicBezTo>
                    <a:pt x="1518" y="39"/>
                    <a:pt x="1518" y="39"/>
                    <a:pt x="1518" y="39"/>
                  </a:cubicBezTo>
                  <a:cubicBezTo>
                    <a:pt x="1492" y="39"/>
                    <a:pt x="1492" y="39"/>
                    <a:pt x="1492" y="39"/>
                  </a:cubicBezTo>
                  <a:cubicBezTo>
                    <a:pt x="1492" y="46"/>
                    <a:pt x="1492" y="46"/>
                    <a:pt x="1492" y="46"/>
                  </a:cubicBezTo>
                  <a:cubicBezTo>
                    <a:pt x="1503" y="48"/>
                    <a:pt x="1503" y="48"/>
                    <a:pt x="1503" y="48"/>
                  </a:cubicBezTo>
                  <a:cubicBezTo>
                    <a:pt x="1503" y="107"/>
                    <a:pt x="1503" y="107"/>
                    <a:pt x="1503" y="107"/>
                  </a:cubicBezTo>
                  <a:cubicBezTo>
                    <a:pt x="1492" y="109"/>
                    <a:pt x="1492" y="109"/>
                    <a:pt x="1492" y="109"/>
                  </a:cubicBezTo>
                  <a:cubicBezTo>
                    <a:pt x="1492" y="116"/>
                    <a:pt x="1492" y="116"/>
                    <a:pt x="1492" y="116"/>
                  </a:cubicBezTo>
                  <a:cubicBezTo>
                    <a:pt x="1526" y="116"/>
                    <a:pt x="1526" y="116"/>
                    <a:pt x="1526" y="116"/>
                  </a:cubicBezTo>
                  <a:lnTo>
                    <a:pt x="1526" y="109"/>
                  </a:lnTo>
                  <a:close/>
                  <a:moveTo>
                    <a:pt x="1400" y="76"/>
                  </a:moveTo>
                  <a:cubicBezTo>
                    <a:pt x="1400" y="86"/>
                    <a:pt x="1399" y="99"/>
                    <a:pt x="1407" y="107"/>
                  </a:cubicBezTo>
                  <a:cubicBezTo>
                    <a:pt x="1414" y="114"/>
                    <a:pt x="1424" y="117"/>
                    <a:pt x="1438" y="117"/>
                  </a:cubicBezTo>
                  <a:cubicBezTo>
                    <a:pt x="1451" y="117"/>
                    <a:pt x="1461" y="115"/>
                    <a:pt x="1466" y="109"/>
                  </a:cubicBezTo>
                  <a:cubicBezTo>
                    <a:pt x="1474" y="101"/>
                    <a:pt x="1475" y="94"/>
                    <a:pt x="1475" y="77"/>
                  </a:cubicBezTo>
                  <a:cubicBezTo>
                    <a:pt x="1475" y="27"/>
                    <a:pt x="1475" y="27"/>
                    <a:pt x="1475" y="27"/>
                  </a:cubicBezTo>
                  <a:cubicBezTo>
                    <a:pt x="1487" y="26"/>
                    <a:pt x="1487" y="26"/>
                    <a:pt x="1487" y="26"/>
                  </a:cubicBezTo>
                  <a:cubicBezTo>
                    <a:pt x="1487" y="18"/>
                    <a:pt x="1487" y="18"/>
                    <a:pt x="1487" y="18"/>
                  </a:cubicBezTo>
                  <a:cubicBezTo>
                    <a:pt x="1452" y="18"/>
                    <a:pt x="1452" y="18"/>
                    <a:pt x="1452" y="18"/>
                  </a:cubicBezTo>
                  <a:cubicBezTo>
                    <a:pt x="1452" y="26"/>
                    <a:pt x="1452" y="26"/>
                    <a:pt x="1452" y="26"/>
                  </a:cubicBezTo>
                  <a:cubicBezTo>
                    <a:pt x="1463" y="27"/>
                    <a:pt x="1463" y="27"/>
                    <a:pt x="1463" y="27"/>
                  </a:cubicBezTo>
                  <a:cubicBezTo>
                    <a:pt x="1463" y="84"/>
                    <a:pt x="1463" y="84"/>
                    <a:pt x="1463" y="84"/>
                  </a:cubicBezTo>
                  <a:cubicBezTo>
                    <a:pt x="1463" y="92"/>
                    <a:pt x="1461" y="97"/>
                    <a:pt x="1458" y="101"/>
                  </a:cubicBezTo>
                  <a:cubicBezTo>
                    <a:pt x="1454" y="105"/>
                    <a:pt x="1448" y="107"/>
                    <a:pt x="1441" y="107"/>
                  </a:cubicBezTo>
                  <a:cubicBezTo>
                    <a:pt x="1427" y="107"/>
                    <a:pt x="1418" y="100"/>
                    <a:pt x="1418" y="84"/>
                  </a:cubicBezTo>
                  <a:cubicBezTo>
                    <a:pt x="1418" y="27"/>
                    <a:pt x="1418" y="27"/>
                    <a:pt x="1418" y="27"/>
                  </a:cubicBezTo>
                  <a:cubicBezTo>
                    <a:pt x="1430" y="26"/>
                    <a:pt x="1430" y="26"/>
                    <a:pt x="1430" y="26"/>
                  </a:cubicBezTo>
                  <a:cubicBezTo>
                    <a:pt x="1430" y="18"/>
                    <a:pt x="1430" y="18"/>
                    <a:pt x="1430" y="18"/>
                  </a:cubicBezTo>
                  <a:cubicBezTo>
                    <a:pt x="1388" y="18"/>
                    <a:pt x="1388" y="18"/>
                    <a:pt x="1388" y="18"/>
                  </a:cubicBezTo>
                  <a:cubicBezTo>
                    <a:pt x="1388" y="26"/>
                    <a:pt x="1388" y="26"/>
                    <a:pt x="1388" y="26"/>
                  </a:cubicBezTo>
                  <a:cubicBezTo>
                    <a:pt x="1400" y="27"/>
                    <a:pt x="1400" y="27"/>
                    <a:pt x="1400" y="27"/>
                  </a:cubicBezTo>
                  <a:lnTo>
                    <a:pt x="1400" y="76"/>
                  </a:lnTo>
                  <a:close/>
                  <a:moveTo>
                    <a:pt x="1671" y="116"/>
                  </a:moveTo>
                  <a:cubicBezTo>
                    <a:pt x="1687" y="116"/>
                    <a:pt x="1687" y="116"/>
                    <a:pt x="1687" y="116"/>
                  </a:cubicBezTo>
                  <a:cubicBezTo>
                    <a:pt x="1713" y="48"/>
                    <a:pt x="1713" y="48"/>
                    <a:pt x="1713" y="48"/>
                  </a:cubicBezTo>
                  <a:cubicBezTo>
                    <a:pt x="1724" y="46"/>
                    <a:pt x="1724" y="46"/>
                    <a:pt x="1724" y="46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690" y="39"/>
                    <a:pt x="1690" y="39"/>
                    <a:pt x="1690" y="39"/>
                  </a:cubicBezTo>
                  <a:cubicBezTo>
                    <a:pt x="1690" y="46"/>
                    <a:pt x="1690" y="46"/>
                    <a:pt x="1690" y="46"/>
                  </a:cubicBezTo>
                  <a:cubicBezTo>
                    <a:pt x="1701" y="48"/>
                    <a:pt x="1701" y="48"/>
                    <a:pt x="1701" y="48"/>
                  </a:cubicBezTo>
                  <a:cubicBezTo>
                    <a:pt x="1682" y="100"/>
                    <a:pt x="1682" y="100"/>
                    <a:pt x="1682" y="100"/>
                  </a:cubicBezTo>
                  <a:cubicBezTo>
                    <a:pt x="1663" y="48"/>
                    <a:pt x="1663" y="48"/>
                    <a:pt x="1663" y="48"/>
                  </a:cubicBezTo>
                  <a:cubicBezTo>
                    <a:pt x="1674" y="46"/>
                    <a:pt x="1674" y="46"/>
                    <a:pt x="1674" y="46"/>
                  </a:cubicBezTo>
                  <a:cubicBezTo>
                    <a:pt x="1674" y="39"/>
                    <a:pt x="1674" y="39"/>
                    <a:pt x="1674" y="39"/>
                  </a:cubicBezTo>
                  <a:cubicBezTo>
                    <a:pt x="1634" y="39"/>
                    <a:pt x="1634" y="39"/>
                    <a:pt x="1634" y="39"/>
                  </a:cubicBezTo>
                  <a:cubicBezTo>
                    <a:pt x="1634" y="46"/>
                    <a:pt x="1634" y="46"/>
                    <a:pt x="1634" y="46"/>
                  </a:cubicBezTo>
                  <a:cubicBezTo>
                    <a:pt x="1645" y="48"/>
                    <a:pt x="1645" y="48"/>
                    <a:pt x="1645" y="48"/>
                  </a:cubicBezTo>
                  <a:lnTo>
                    <a:pt x="1671" y="116"/>
                  </a:lnTo>
                  <a:close/>
                  <a:moveTo>
                    <a:pt x="2003" y="109"/>
                  </a:moveTo>
                  <a:cubicBezTo>
                    <a:pt x="1992" y="107"/>
                    <a:pt x="1992" y="107"/>
                    <a:pt x="1992" y="107"/>
                  </a:cubicBezTo>
                  <a:cubicBezTo>
                    <a:pt x="1992" y="48"/>
                    <a:pt x="1992" y="48"/>
                    <a:pt x="1992" y="48"/>
                  </a:cubicBezTo>
                  <a:cubicBezTo>
                    <a:pt x="2003" y="46"/>
                    <a:pt x="2003" y="46"/>
                    <a:pt x="2003" y="46"/>
                  </a:cubicBezTo>
                  <a:cubicBezTo>
                    <a:pt x="2003" y="39"/>
                    <a:pt x="2003" y="39"/>
                    <a:pt x="2003" y="39"/>
                  </a:cubicBezTo>
                  <a:cubicBezTo>
                    <a:pt x="1963" y="39"/>
                    <a:pt x="1963" y="39"/>
                    <a:pt x="1963" y="39"/>
                  </a:cubicBezTo>
                  <a:cubicBezTo>
                    <a:pt x="1963" y="46"/>
                    <a:pt x="1963" y="46"/>
                    <a:pt x="1963" y="46"/>
                  </a:cubicBezTo>
                  <a:cubicBezTo>
                    <a:pt x="1974" y="48"/>
                    <a:pt x="1974" y="48"/>
                    <a:pt x="1974" y="48"/>
                  </a:cubicBezTo>
                  <a:cubicBezTo>
                    <a:pt x="1974" y="107"/>
                    <a:pt x="1974" y="107"/>
                    <a:pt x="1974" y="107"/>
                  </a:cubicBezTo>
                  <a:cubicBezTo>
                    <a:pt x="1963" y="109"/>
                    <a:pt x="1963" y="109"/>
                    <a:pt x="1963" y="109"/>
                  </a:cubicBezTo>
                  <a:cubicBezTo>
                    <a:pt x="1963" y="116"/>
                    <a:pt x="1963" y="116"/>
                    <a:pt x="1963" y="116"/>
                  </a:cubicBezTo>
                  <a:cubicBezTo>
                    <a:pt x="2003" y="116"/>
                    <a:pt x="2003" y="116"/>
                    <a:pt x="2003" y="116"/>
                  </a:cubicBezTo>
                  <a:lnTo>
                    <a:pt x="2003" y="109"/>
                  </a:lnTo>
                  <a:close/>
                  <a:moveTo>
                    <a:pt x="2021" y="49"/>
                  </a:moveTo>
                  <a:cubicBezTo>
                    <a:pt x="2037" y="49"/>
                    <a:pt x="2037" y="49"/>
                    <a:pt x="2037" y="49"/>
                  </a:cubicBezTo>
                  <a:cubicBezTo>
                    <a:pt x="2037" y="107"/>
                    <a:pt x="2037" y="107"/>
                    <a:pt x="2037" y="107"/>
                  </a:cubicBezTo>
                  <a:cubicBezTo>
                    <a:pt x="2026" y="109"/>
                    <a:pt x="2026" y="109"/>
                    <a:pt x="2026" y="109"/>
                  </a:cubicBezTo>
                  <a:cubicBezTo>
                    <a:pt x="2026" y="116"/>
                    <a:pt x="2026" y="116"/>
                    <a:pt x="2026" y="116"/>
                  </a:cubicBezTo>
                  <a:cubicBezTo>
                    <a:pt x="2066" y="116"/>
                    <a:pt x="2066" y="116"/>
                    <a:pt x="2066" y="116"/>
                  </a:cubicBezTo>
                  <a:cubicBezTo>
                    <a:pt x="2066" y="109"/>
                    <a:pt x="2066" y="109"/>
                    <a:pt x="2066" y="109"/>
                  </a:cubicBezTo>
                  <a:cubicBezTo>
                    <a:pt x="2055" y="107"/>
                    <a:pt x="2055" y="107"/>
                    <a:pt x="2055" y="107"/>
                  </a:cubicBezTo>
                  <a:cubicBezTo>
                    <a:pt x="2055" y="49"/>
                    <a:pt x="2055" y="49"/>
                    <a:pt x="2055" y="49"/>
                  </a:cubicBezTo>
                  <a:cubicBezTo>
                    <a:pt x="2072" y="49"/>
                    <a:pt x="2072" y="49"/>
                    <a:pt x="2072" y="49"/>
                  </a:cubicBezTo>
                  <a:cubicBezTo>
                    <a:pt x="2074" y="60"/>
                    <a:pt x="2074" y="60"/>
                    <a:pt x="2074" y="60"/>
                  </a:cubicBezTo>
                  <a:cubicBezTo>
                    <a:pt x="2081" y="60"/>
                    <a:pt x="2081" y="60"/>
                    <a:pt x="2081" y="60"/>
                  </a:cubicBezTo>
                  <a:cubicBezTo>
                    <a:pt x="2081" y="39"/>
                    <a:pt x="2081" y="39"/>
                    <a:pt x="2081" y="39"/>
                  </a:cubicBezTo>
                  <a:cubicBezTo>
                    <a:pt x="2011" y="39"/>
                    <a:pt x="2011" y="39"/>
                    <a:pt x="2011" y="39"/>
                  </a:cubicBezTo>
                  <a:cubicBezTo>
                    <a:pt x="2011" y="60"/>
                    <a:pt x="2011" y="60"/>
                    <a:pt x="2011" y="60"/>
                  </a:cubicBezTo>
                  <a:cubicBezTo>
                    <a:pt x="2019" y="60"/>
                    <a:pt x="2019" y="60"/>
                    <a:pt x="2019" y="60"/>
                  </a:cubicBezTo>
                  <a:lnTo>
                    <a:pt x="2021" y="49"/>
                  </a:lnTo>
                  <a:close/>
                  <a:moveTo>
                    <a:pt x="2122" y="82"/>
                  </a:moveTo>
                  <a:cubicBezTo>
                    <a:pt x="2122" y="107"/>
                    <a:pt x="2122" y="107"/>
                    <a:pt x="2122" y="107"/>
                  </a:cubicBezTo>
                  <a:cubicBezTo>
                    <a:pt x="2110" y="109"/>
                    <a:pt x="2110" y="109"/>
                    <a:pt x="2110" y="109"/>
                  </a:cubicBezTo>
                  <a:cubicBezTo>
                    <a:pt x="2110" y="116"/>
                    <a:pt x="2110" y="116"/>
                    <a:pt x="2110" y="116"/>
                  </a:cubicBezTo>
                  <a:cubicBezTo>
                    <a:pt x="2150" y="116"/>
                    <a:pt x="2150" y="116"/>
                    <a:pt x="2150" y="116"/>
                  </a:cubicBezTo>
                  <a:cubicBezTo>
                    <a:pt x="2150" y="109"/>
                    <a:pt x="2150" y="109"/>
                    <a:pt x="2150" y="109"/>
                  </a:cubicBezTo>
                  <a:cubicBezTo>
                    <a:pt x="2139" y="107"/>
                    <a:pt x="2139" y="107"/>
                    <a:pt x="2139" y="107"/>
                  </a:cubicBezTo>
                  <a:cubicBezTo>
                    <a:pt x="2139" y="82"/>
                    <a:pt x="2139" y="82"/>
                    <a:pt x="2139" y="82"/>
                  </a:cubicBezTo>
                  <a:cubicBezTo>
                    <a:pt x="2161" y="48"/>
                    <a:pt x="2161" y="48"/>
                    <a:pt x="2161" y="48"/>
                  </a:cubicBezTo>
                  <a:cubicBezTo>
                    <a:pt x="2172" y="46"/>
                    <a:pt x="2172" y="46"/>
                    <a:pt x="2172" y="46"/>
                  </a:cubicBezTo>
                  <a:cubicBezTo>
                    <a:pt x="2172" y="39"/>
                    <a:pt x="2172" y="39"/>
                    <a:pt x="2172" y="39"/>
                  </a:cubicBezTo>
                  <a:cubicBezTo>
                    <a:pt x="2138" y="39"/>
                    <a:pt x="2138" y="39"/>
                    <a:pt x="2138" y="39"/>
                  </a:cubicBezTo>
                  <a:cubicBezTo>
                    <a:pt x="2138" y="46"/>
                    <a:pt x="2138" y="46"/>
                    <a:pt x="2138" y="46"/>
                  </a:cubicBezTo>
                  <a:cubicBezTo>
                    <a:pt x="2149" y="48"/>
                    <a:pt x="2149" y="48"/>
                    <a:pt x="2149" y="48"/>
                  </a:cubicBezTo>
                  <a:cubicBezTo>
                    <a:pt x="2133" y="73"/>
                    <a:pt x="2133" y="73"/>
                    <a:pt x="2133" y="73"/>
                  </a:cubicBezTo>
                  <a:cubicBezTo>
                    <a:pt x="2118" y="48"/>
                    <a:pt x="2118" y="48"/>
                    <a:pt x="2118" y="48"/>
                  </a:cubicBezTo>
                  <a:cubicBezTo>
                    <a:pt x="2129" y="46"/>
                    <a:pt x="2129" y="46"/>
                    <a:pt x="2129" y="46"/>
                  </a:cubicBezTo>
                  <a:cubicBezTo>
                    <a:pt x="2129" y="39"/>
                    <a:pt x="2129" y="39"/>
                    <a:pt x="2129" y="39"/>
                  </a:cubicBezTo>
                  <a:cubicBezTo>
                    <a:pt x="2088" y="39"/>
                    <a:pt x="2088" y="39"/>
                    <a:pt x="2088" y="39"/>
                  </a:cubicBezTo>
                  <a:cubicBezTo>
                    <a:pt x="2088" y="46"/>
                    <a:pt x="2088" y="46"/>
                    <a:pt x="2088" y="46"/>
                  </a:cubicBezTo>
                  <a:cubicBezTo>
                    <a:pt x="2099" y="48"/>
                    <a:pt x="2099" y="48"/>
                    <a:pt x="2099" y="48"/>
                  </a:cubicBezTo>
                  <a:lnTo>
                    <a:pt x="2122" y="82"/>
                  </a:lnTo>
                  <a:close/>
                  <a:moveTo>
                    <a:pt x="1953" y="94"/>
                  </a:moveTo>
                  <a:cubicBezTo>
                    <a:pt x="1953" y="63"/>
                    <a:pt x="1913" y="75"/>
                    <a:pt x="1913" y="58"/>
                  </a:cubicBezTo>
                  <a:cubicBezTo>
                    <a:pt x="1913" y="50"/>
                    <a:pt x="1919" y="48"/>
                    <a:pt x="1926" y="48"/>
                  </a:cubicBezTo>
                  <a:cubicBezTo>
                    <a:pt x="1933" y="48"/>
                    <a:pt x="1939" y="49"/>
                    <a:pt x="1939" y="49"/>
                  </a:cubicBezTo>
                  <a:cubicBezTo>
                    <a:pt x="1941" y="61"/>
                    <a:pt x="1941" y="61"/>
                    <a:pt x="1941" y="61"/>
                  </a:cubicBezTo>
                  <a:cubicBezTo>
                    <a:pt x="1949" y="61"/>
                    <a:pt x="1949" y="61"/>
                    <a:pt x="1949" y="61"/>
                  </a:cubicBezTo>
                  <a:cubicBezTo>
                    <a:pt x="1949" y="42"/>
                    <a:pt x="1949" y="42"/>
                    <a:pt x="1949" y="42"/>
                  </a:cubicBezTo>
                  <a:cubicBezTo>
                    <a:pt x="1941" y="40"/>
                    <a:pt x="1933" y="38"/>
                    <a:pt x="1924" y="38"/>
                  </a:cubicBezTo>
                  <a:cubicBezTo>
                    <a:pt x="1905" y="38"/>
                    <a:pt x="1896" y="46"/>
                    <a:pt x="1896" y="60"/>
                  </a:cubicBezTo>
                  <a:cubicBezTo>
                    <a:pt x="1896" y="79"/>
                    <a:pt x="1914" y="81"/>
                    <a:pt x="1928" y="86"/>
                  </a:cubicBezTo>
                  <a:cubicBezTo>
                    <a:pt x="1933" y="87"/>
                    <a:pt x="1936" y="89"/>
                    <a:pt x="1936" y="95"/>
                  </a:cubicBezTo>
                  <a:cubicBezTo>
                    <a:pt x="1936" y="104"/>
                    <a:pt x="1929" y="107"/>
                    <a:pt x="1920" y="107"/>
                  </a:cubicBezTo>
                  <a:cubicBezTo>
                    <a:pt x="1911" y="107"/>
                    <a:pt x="1905" y="105"/>
                    <a:pt x="1905" y="105"/>
                  </a:cubicBezTo>
                  <a:cubicBezTo>
                    <a:pt x="1903" y="92"/>
                    <a:pt x="1903" y="92"/>
                    <a:pt x="1903" y="92"/>
                  </a:cubicBezTo>
                  <a:cubicBezTo>
                    <a:pt x="1896" y="92"/>
                    <a:pt x="1896" y="92"/>
                    <a:pt x="1896" y="92"/>
                  </a:cubicBezTo>
                  <a:cubicBezTo>
                    <a:pt x="1896" y="112"/>
                    <a:pt x="1896" y="112"/>
                    <a:pt x="1896" y="112"/>
                  </a:cubicBezTo>
                  <a:cubicBezTo>
                    <a:pt x="1896" y="112"/>
                    <a:pt x="1908" y="117"/>
                    <a:pt x="1922" y="117"/>
                  </a:cubicBezTo>
                  <a:cubicBezTo>
                    <a:pt x="1942" y="117"/>
                    <a:pt x="1953" y="109"/>
                    <a:pt x="1953" y="94"/>
                  </a:cubicBezTo>
                  <a:close/>
                  <a:moveTo>
                    <a:pt x="1847" y="109"/>
                  </a:moveTo>
                  <a:cubicBezTo>
                    <a:pt x="1836" y="107"/>
                    <a:pt x="1836" y="107"/>
                    <a:pt x="1836" y="107"/>
                  </a:cubicBezTo>
                  <a:cubicBezTo>
                    <a:pt x="1836" y="81"/>
                    <a:pt x="1836" y="81"/>
                    <a:pt x="1836" y="81"/>
                  </a:cubicBezTo>
                  <a:cubicBezTo>
                    <a:pt x="1838" y="81"/>
                    <a:pt x="1838" y="81"/>
                    <a:pt x="1838" y="81"/>
                  </a:cubicBezTo>
                  <a:cubicBezTo>
                    <a:pt x="1848" y="81"/>
                    <a:pt x="1851" y="86"/>
                    <a:pt x="1855" y="98"/>
                  </a:cubicBezTo>
                  <a:cubicBezTo>
                    <a:pt x="1863" y="116"/>
                    <a:pt x="1863" y="116"/>
                    <a:pt x="1863" y="116"/>
                  </a:cubicBezTo>
                  <a:cubicBezTo>
                    <a:pt x="1887" y="116"/>
                    <a:pt x="1887" y="116"/>
                    <a:pt x="1887" y="116"/>
                  </a:cubicBezTo>
                  <a:cubicBezTo>
                    <a:pt x="1887" y="109"/>
                    <a:pt x="1887" y="109"/>
                    <a:pt x="1887" y="109"/>
                  </a:cubicBezTo>
                  <a:cubicBezTo>
                    <a:pt x="1876" y="107"/>
                    <a:pt x="1876" y="107"/>
                    <a:pt x="1876" y="107"/>
                  </a:cubicBezTo>
                  <a:cubicBezTo>
                    <a:pt x="1873" y="99"/>
                    <a:pt x="1868" y="84"/>
                    <a:pt x="1861" y="79"/>
                  </a:cubicBezTo>
                  <a:cubicBezTo>
                    <a:pt x="1869" y="76"/>
                    <a:pt x="1875" y="68"/>
                    <a:pt x="1875" y="59"/>
                  </a:cubicBezTo>
                  <a:cubicBezTo>
                    <a:pt x="1875" y="54"/>
                    <a:pt x="1873" y="49"/>
                    <a:pt x="1869" y="45"/>
                  </a:cubicBezTo>
                  <a:cubicBezTo>
                    <a:pt x="1863" y="40"/>
                    <a:pt x="1854" y="39"/>
                    <a:pt x="1846" y="39"/>
                  </a:cubicBezTo>
                  <a:cubicBezTo>
                    <a:pt x="1807" y="39"/>
                    <a:pt x="1807" y="39"/>
                    <a:pt x="1807" y="39"/>
                  </a:cubicBezTo>
                  <a:cubicBezTo>
                    <a:pt x="1807" y="46"/>
                    <a:pt x="1807" y="46"/>
                    <a:pt x="1807" y="46"/>
                  </a:cubicBezTo>
                  <a:cubicBezTo>
                    <a:pt x="1819" y="48"/>
                    <a:pt x="1819" y="48"/>
                    <a:pt x="1819" y="48"/>
                  </a:cubicBezTo>
                  <a:cubicBezTo>
                    <a:pt x="1819" y="107"/>
                    <a:pt x="1819" y="107"/>
                    <a:pt x="1819" y="107"/>
                  </a:cubicBezTo>
                  <a:cubicBezTo>
                    <a:pt x="1807" y="109"/>
                    <a:pt x="1807" y="109"/>
                    <a:pt x="1807" y="109"/>
                  </a:cubicBezTo>
                  <a:cubicBezTo>
                    <a:pt x="1807" y="116"/>
                    <a:pt x="1807" y="116"/>
                    <a:pt x="1807" y="116"/>
                  </a:cubicBezTo>
                  <a:cubicBezTo>
                    <a:pt x="1847" y="116"/>
                    <a:pt x="1847" y="116"/>
                    <a:pt x="1847" y="116"/>
                  </a:cubicBezTo>
                  <a:lnTo>
                    <a:pt x="1847" y="109"/>
                  </a:lnTo>
                  <a:close/>
                  <a:moveTo>
                    <a:pt x="1836" y="48"/>
                  </a:moveTo>
                  <a:cubicBezTo>
                    <a:pt x="1841" y="48"/>
                    <a:pt x="1841" y="48"/>
                    <a:pt x="1841" y="48"/>
                  </a:cubicBezTo>
                  <a:cubicBezTo>
                    <a:pt x="1845" y="48"/>
                    <a:pt x="1852" y="48"/>
                    <a:pt x="1854" y="51"/>
                  </a:cubicBezTo>
                  <a:cubicBezTo>
                    <a:pt x="1857" y="53"/>
                    <a:pt x="1858" y="57"/>
                    <a:pt x="1858" y="60"/>
                  </a:cubicBezTo>
                  <a:cubicBezTo>
                    <a:pt x="1858" y="63"/>
                    <a:pt x="1857" y="66"/>
                    <a:pt x="1855" y="69"/>
                  </a:cubicBezTo>
                  <a:cubicBezTo>
                    <a:pt x="1851" y="73"/>
                    <a:pt x="1844" y="73"/>
                    <a:pt x="1839" y="73"/>
                  </a:cubicBezTo>
                  <a:cubicBezTo>
                    <a:pt x="1836" y="73"/>
                    <a:pt x="1836" y="73"/>
                    <a:pt x="1836" y="73"/>
                  </a:cubicBezTo>
                  <a:lnTo>
                    <a:pt x="1836" y="48"/>
                  </a:lnTo>
                  <a:close/>
                  <a:moveTo>
                    <a:pt x="1796" y="95"/>
                  </a:moveTo>
                  <a:cubicBezTo>
                    <a:pt x="1788" y="95"/>
                    <a:pt x="1788" y="95"/>
                    <a:pt x="1788" y="95"/>
                  </a:cubicBezTo>
                  <a:cubicBezTo>
                    <a:pt x="1787" y="106"/>
                    <a:pt x="1787" y="106"/>
                    <a:pt x="1787" y="106"/>
                  </a:cubicBezTo>
                  <a:cubicBezTo>
                    <a:pt x="1759" y="106"/>
                    <a:pt x="1759" y="106"/>
                    <a:pt x="1759" y="106"/>
                  </a:cubicBezTo>
                  <a:cubicBezTo>
                    <a:pt x="1759" y="80"/>
                    <a:pt x="1759" y="80"/>
                    <a:pt x="1759" y="80"/>
                  </a:cubicBezTo>
                  <a:cubicBezTo>
                    <a:pt x="1776" y="80"/>
                    <a:pt x="1776" y="80"/>
                    <a:pt x="1776" y="80"/>
                  </a:cubicBezTo>
                  <a:cubicBezTo>
                    <a:pt x="1778" y="90"/>
                    <a:pt x="1778" y="90"/>
                    <a:pt x="1778" y="90"/>
                  </a:cubicBezTo>
                  <a:cubicBezTo>
                    <a:pt x="1784" y="90"/>
                    <a:pt x="1784" y="90"/>
                    <a:pt x="1784" y="90"/>
                  </a:cubicBezTo>
                  <a:cubicBezTo>
                    <a:pt x="1784" y="61"/>
                    <a:pt x="1784" y="61"/>
                    <a:pt x="1784" y="61"/>
                  </a:cubicBezTo>
                  <a:cubicBezTo>
                    <a:pt x="1778" y="61"/>
                    <a:pt x="1778" y="61"/>
                    <a:pt x="1778" y="61"/>
                  </a:cubicBezTo>
                  <a:cubicBezTo>
                    <a:pt x="1776" y="71"/>
                    <a:pt x="1776" y="71"/>
                    <a:pt x="1776" y="71"/>
                  </a:cubicBezTo>
                  <a:cubicBezTo>
                    <a:pt x="1759" y="71"/>
                    <a:pt x="1759" y="71"/>
                    <a:pt x="1759" y="71"/>
                  </a:cubicBezTo>
                  <a:cubicBezTo>
                    <a:pt x="1759" y="49"/>
                    <a:pt x="1759" y="49"/>
                    <a:pt x="1759" y="49"/>
                  </a:cubicBezTo>
                  <a:cubicBezTo>
                    <a:pt x="1787" y="49"/>
                    <a:pt x="1787" y="49"/>
                    <a:pt x="1787" y="49"/>
                  </a:cubicBezTo>
                  <a:cubicBezTo>
                    <a:pt x="1788" y="59"/>
                    <a:pt x="1788" y="59"/>
                    <a:pt x="1788" y="59"/>
                  </a:cubicBezTo>
                  <a:cubicBezTo>
                    <a:pt x="1796" y="59"/>
                    <a:pt x="1796" y="59"/>
                    <a:pt x="1796" y="59"/>
                  </a:cubicBezTo>
                  <a:cubicBezTo>
                    <a:pt x="1796" y="39"/>
                    <a:pt x="1796" y="39"/>
                    <a:pt x="1796" y="39"/>
                  </a:cubicBezTo>
                  <a:cubicBezTo>
                    <a:pt x="1730" y="39"/>
                    <a:pt x="1730" y="39"/>
                    <a:pt x="1730" y="39"/>
                  </a:cubicBezTo>
                  <a:cubicBezTo>
                    <a:pt x="1730" y="46"/>
                    <a:pt x="1730" y="46"/>
                    <a:pt x="1730" y="46"/>
                  </a:cubicBezTo>
                  <a:cubicBezTo>
                    <a:pt x="1741" y="48"/>
                    <a:pt x="1741" y="48"/>
                    <a:pt x="1741" y="48"/>
                  </a:cubicBezTo>
                  <a:cubicBezTo>
                    <a:pt x="1741" y="107"/>
                    <a:pt x="1741" y="107"/>
                    <a:pt x="1741" y="107"/>
                  </a:cubicBezTo>
                  <a:cubicBezTo>
                    <a:pt x="1730" y="109"/>
                    <a:pt x="1730" y="109"/>
                    <a:pt x="1730" y="109"/>
                  </a:cubicBezTo>
                  <a:cubicBezTo>
                    <a:pt x="1730" y="116"/>
                    <a:pt x="1730" y="116"/>
                    <a:pt x="1730" y="116"/>
                  </a:cubicBezTo>
                  <a:cubicBezTo>
                    <a:pt x="1796" y="116"/>
                    <a:pt x="1796" y="116"/>
                    <a:pt x="1796" y="116"/>
                  </a:cubicBezTo>
                  <a:lnTo>
                    <a:pt x="1796" y="95"/>
                  </a:lnTo>
                  <a:close/>
                  <a:moveTo>
                    <a:pt x="1342" y="95"/>
                  </a:moveTo>
                  <a:cubicBezTo>
                    <a:pt x="1335" y="95"/>
                    <a:pt x="1335" y="95"/>
                    <a:pt x="1335" y="95"/>
                  </a:cubicBezTo>
                  <a:cubicBezTo>
                    <a:pt x="1333" y="106"/>
                    <a:pt x="1333" y="106"/>
                    <a:pt x="1333" y="106"/>
                  </a:cubicBezTo>
                  <a:cubicBezTo>
                    <a:pt x="1305" y="106"/>
                    <a:pt x="1305" y="106"/>
                    <a:pt x="1305" y="106"/>
                  </a:cubicBezTo>
                  <a:cubicBezTo>
                    <a:pt x="1305" y="80"/>
                    <a:pt x="1305" y="80"/>
                    <a:pt x="1305" y="80"/>
                  </a:cubicBezTo>
                  <a:cubicBezTo>
                    <a:pt x="1323" y="80"/>
                    <a:pt x="1323" y="80"/>
                    <a:pt x="1323" y="80"/>
                  </a:cubicBezTo>
                  <a:cubicBezTo>
                    <a:pt x="1325" y="90"/>
                    <a:pt x="1325" y="90"/>
                    <a:pt x="1325" y="90"/>
                  </a:cubicBezTo>
                  <a:cubicBezTo>
                    <a:pt x="1331" y="90"/>
                    <a:pt x="1331" y="90"/>
                    <a:pt x="1331" y="90"/>
                  </a:cubicBezTo>
                  <a:cubicBezTo>
                    <a:pt x="1331" y="61"/>
                    <a:pt x="1331" y="61"/>
                    <a:pt x="1331" y="61"/>
                  </a:cubicBezTo>
                  <a:cubicBezTo>
                    <a:pt x="1325" y="61"/>
                    <a:pt x="1325" y="61"/>
                    <a:pt x="1325" y="61"/>
                  </a:cubicBezTo>
                  <a:cubicBezTo>
                    <a:pt x="1323" y="71"/>
                    <a:pt x="1323" y="71"/>
                    <a:pt x="1323" y="71"/>
                  </a:cubicBezTo>
                  <a:cubicBezTo>
                    <a:pt x="1305" y="71"/>
                    <a:pt x="1305" y="71"/>
                    <a:pt x="1305" y="71"/>
                  </a:cubicBezTo>
                  <a:cubicBezTo>
                    <a:pt x="1305" y="49"/>
                    <a:pt x="1305" y="49"/>
                    <a:pt x="1305" y="49"/>
                  </a:cubicBezTo>
                  <a:cubicBezTo>
                    <a:pt x="1333" y="49"/>
                    <a:pt x="1333" y="49"/>
                    <a:pt x="1333" y="49"/>
                  </a:cubicBezTo>
                  <a:cubicBezTo>
                    <a:pt x="1335" y="59"/>
                    <a:pt x="1335" y="59"/>
                    <a:pt x="1335" y="59"/>
                  </a:cubicBezTo>
                  <a:cubicBezTo>
                    <a:pt x="1342" y="59"/>
                    <a:pt x="1342" y="59"/>
                    <a:pt x="1342" y="59"/>
                  </a:cubicBezTo>
                  <a:cubicBezTo>
                    <a:pt x="1342" y="39"/>
                    <a:pt x="1342" y="39"/>
                    <a:pt x="1342" y="39"/>
                  </a:cubicBezTo>
                  <a:cubicBezTo>
                    <a:pt x="1277" y="39"/>
                    <a:pt x="1277" y="39"/>
                    <a:pt x="1277" y="39"/>
                  </a:cubicBezTo>
                  <a:cubicBezTo>
                    <a:pt x="1277" y="46"/>
                    <a:pt x="1277" y="46"/>
                    <a:pt x="1277" y="46"/>
                  </a:cubicBezTo>
                  <a:cubicBezTo>
                    <a:pt x="1288" y="48"/>
                    <a:pt x="1288" y="48"/>
                    <a:pt x="1288" y="48"/>
                  </a:cubicBezTo>
                  <a:cubicBezTo>
                    <a:pt x="1288" y="107"/>
                    <a:pt x="1288" y="107"/>
                    <a:pt x="1288" y="107"/>
                  </a:cubicBezTo>
                  <a:cubicBezTo>
                    <a:pt x="1277" y="109"/>
                    <a:pt x="1277" y="109"/>
                    <a:pt x="1277" y="109"/>
                  </a:cubicBezTo>
                  <a:cubicBezTo>
                    <a:pt x="1277" y="116"/>
                    <a:pt x="1277" y="116"/>
                    <a:pt x="1277" y="116"/>
                  </a:cubicBezTo>
                  <a:cubicBezTo>
                    <a:pt x="1342" y="116"/>
                    <a:pt x="1342" y="116"/>
                    <a:pt x="1342" y="116"/>
                  </a:cubicBezTo>
                  <a:lnTo>
                    <a:pt x="1342" y="95"/>
                  </a:lnTo>
                  <a:close/>
                  <a:moveTo>
                    <a:pt x="566" y="95"/>
                  </a:moveTo>
                  <a:cubicBezTo>
                    <a:pt x="559" y="95"/>
                    <a:pt x="559" y="95"/>
                    <a:pt x="559" y="95"/>
                  </a:cubicBezTo>
                  <a:cubicBezTo>
                    <a:pt x="557" y="106"/>
                    <a:pt x="557" y="106"/>
                    <a:pt x="557" y="106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29" y="80"/>
                    <a:pt x="529" y="80"/>
                    <a:pt x="529" y="80"/>
                  </a:cubicBezTo>
                  <a:cubicBezTo>
                    <a:pt x="546" y="80"/>
                    <a:pt x="546" y="80"/>
                    <a:pt x="546" y="80"/>
                  </a:cubicBezTo>
                  <a:cubicBezTo>
                    <a:pt x="548" y="90"/>
                    <a:pt x="548" y="90"/>
                    <a:pt x="548" y="90"/>
                  </a:cubicBezTo>
                  <a:cubicBezTo>
                    <a:pt x="555" y="90"/>
                    <a:pt x="555" y="90"/>
                    <a:pt x="555" y="90"/>
                  </a:cubicBezTo>
                  <a:cubicBezTo>
                    <a:pt x="555" y="61"/>
                    <a:pt x="555" y="61"/>
                    <a:pt x="555" y="61"/>
                  </a:cubicBezTo>
                  <a:cubicBezTo>
                    <a:pt x="548" y="61"/>
                    <a:pt x="548" y="61"/>
                    <a:pt x="548" y="61"/>
                  </a:cubicBezTo>
                  <a:cubicBezTo>
                    <a:pt x="546" y="71"/>
                    <a:pt x="546" y="71"/>
                    <a:pt x="546" y="71"/>
                  </a:cubicBezTo>
                  <a:cubicBezTo>
                    <a:pt x="529" y="71"/>
                    <a:pt x="529" y="71"/>
                    <a:pt x="529" y="71"/>
                  </a:cubicBezTo>
                  <a:cubicBezTo>
                    <a:pt x="529" y="49"/>
                    <a:pt x="529" y="49"/>
                    <a:pt x="529" y="49"/>
                  </a:cubicBezTo>
                  <a:cubicBezTo>
                    <a:pt x="557" y="49"/>
                    <a:pt x="557" y="49"/>
                    <a:pt x="557" y="49"/>
                  </a:cubicBezTo>
                  <a:cubicBezTo>
                    <a:pt x="559" y="59"/>
                    <a:pt x="559" y="59"/>
                    <a:pt x="559" y="59"/>
                  </a:cubicBezTo>
                  <a:cubicBezTo>
                    <a:pt x="566" y="59"/>
                    <a:pt x="566" y="59"/>
                    <a:pt x="566" y="59"/>
                  </a:cubicBezTo>
                  <a:cubicBezTo>
                    <a:pt x="566" y="39"/>
                    <a:pt x="566" y="39"/>
                    <a:pt x="566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00" y="46"/>
                    <a:pt x="500" y="46"/>
                    <a:pt x="500" y="46"/>
                  </a:cubicBezTo>
                  <a:cubicBezTo>
                    <a:pt x="511" y="48"/>
                    <a:pt x="511" y="48"/>
                    <a:pt x="511" y="48"/>
                  </a:cubicBezTo>
                  <a:cubicBezTo>
                    <a:pt x="511" y="107"/>
                    <a:pt x="511" y="107"/>
                    <a:pt x="511" y="107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16"/>
                    <a:pt x="500" y="116"/>
                    <a:pt x="500" y="116"/>
                  </a:cubicBezTo>
                  <a:cubicBezTo>
                    <a:pt x="566" y="116"/>
                    <a:pt x="566" y="116"/>
                    <a:pt x="566" y="116"/>
                  </a:cubicBezTo>
                  <a:lnTo>
                    <a:pt x="566" y="95"/>
                  </a:lnTo>
                  <a:close/>
                  <a:moveTo>
                    <a:pt x="659" y="117"/>
                  </a:moveTo>
                  <a:cubicBezTo>
                    <a:pt x="689" y="117"/>
                    <a:pt x="702" y="100"/>
                    <a:pt x="702" y="67"/>
                  </a:cubicBezTo>
                  <a:cubicBezTo>
                    <a:pt x="702" y="34"/>
                    <a:pt x="689" y="16"/>
                    <a:pt x="659" y="16"/>
                  </a:cubicBezTo>
                  <a:cubicBezTo>
                    <a:pt x="629" y="16"/>
                    <a:pt x="615" y="34"/>
                    <a:pt x="615" y="67"/>
                  </a:cubicBezTo>
                  <a:cubicBezTo>
                    <a:pt x="615" y="99"/>
                    <a:pt x="628" y="117"/>
                    <a:pt x="659" y="117"/>
                  </a:cubicBezTo>
                  <a:close/>
                  <a:moveTo>
                    <a:pt x="659" y="27"/>
                  </a:moveTo>
                  <a:cubicBezTo>
                    <a:pt x="675" y="27"/>
                    <a:pt x="683" y="40"/>
                    <a:pt x="683" y="67"/>
                  </a:cubicBezTo>
                  <a:cubicBezTo>
                    <a:pt x="683" y="94"/>
                    <a:pt x="675" y="107"/>
                    <a:pt x="659" y="107"/>
                  </a:cubicBezTo>
                  <a:cubicBezTo>
                    <a:pt x="642" y="107"/>
                    <a:pt x="634" y="94"/>
                    <a:pt x="634" y="67"/>
                  </a:cubicBezTo>
                  <a:cubicBezTo>
                    <a:pt x="634" y="40"/>
                    <a:pt x="643" y="27"/>
                    <a:pt x="659" y="27"/>
                  </a:cubicBezTo>
                  <a:close/>
                  <a:moveTo>
                    <a:pt x="327" y="28"/>
                  </a:moveTo>
                  <a:cubicBezTo>
                    <a:pt x="349" y="28"/>
                    <a:pt x="349" y="28"/>
                    <a:pt x="349" y="28"/>
                  </a:cubicBezTo>
                  <a:cubicBezTo>
                    <a:pt x="349" y="106"/>
                    <a:pt x="349" y="106"/>
                    <a:pt x="349" y="106"/>
                  </a:cubicBezTo>
                  <a:cubicBezTo>
                    <a:pt x="337" y="108"/>
                    <a:pt x="337" y="108"/>
                    <a:pt x="337" y="108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79" y="116"/>
                    <a:pt x="379" y="116"/>
                    <a:pt x="379" y="116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67" y="106"/>
                    <a:pt x="367" y="106"/>
                    <a:pt x="367" y="106"/>
                  </a:cubicBezTo>
                  <a:cubicBezTo>
                    <a:pt x="367" y="28"/>
                    <a:pt x="367" y="28"/>
                    <a:pt x="367" y="28"/>
                  </a:cubicBezTo>
                  <a:cubicBezTo>
                    <a:pt x="390" y="28"/>
                    <a:pt x="390" y="28"/>
                    <a:pt x="390" y="28"/>
                  </a:cubicBezTo>
                  <a:cubicBezTo>
                    <a:pt x="391" y="40"/>
                    <a:pt x="391" y="40"/>
                    <a:pt x="391" y="40"/>
                  </a:cubicBezTo>
                  <a:cubicBezTo>
                    <a:pt x="399" y="40"/>
                    <a:pt x="399" y="40"/>
                    <a:pt x="399" y="40"/>
                  </a:cubicBezTo>
                  <a:cubicBezTo>
                    <a:pt x="399" y="18"/>
                    <a:pt x="399" y="18"/>
                    <a:pt x="399" y="18"/>
                  </a:cubicBezTo>
                  <a:cubicBezTo>
                    <a:pt x="317" y="18"/>
                    <a:pt x="317" y="18"/>
                    <a:pt x="317" y="18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25" y="40"/>
                    <a:pt x="325" y="40"/>
                    <a:pt x="325" y="40"/>
                  </a:cubicBezTo>
                  <a:lnTo>
                    <a:pt x="327" y="28"/>
                  </a:lnTo>
                  <a:close/>
                  <a:moveTo>
                    <a:pt x="750" y="109"/>
                  </a:moveTo>
                  <a:cubicBezTo>
                    <a:pt x="739" y="107"/>
                    <a:pt x="739" y="107"/>
                    <a:pt x="739" y="107"/>
                  </a:cubicBezTo>
                  <a:cubicBezTo>
                    <a:pt x="739" y="80"/>
                    <a:pt x="739" y="80"/>
                    <a:pt x="739" y="80"/>
                  </a:cubicBezTo>
                  <a:cubicBezTo>
                    <a:pt x="768" y="80"/>
                    <a:pt x="768" y="80"/>
                    <a:pt x="768" y="80"/>
                  </a:cubicBezTo>
                  <a:cubicBezTo>
                    <a:pt x="768" y="107"/>
                    <a:pt x="768" y="107"/>
                    <a:pt x="768" y="107"/>
                  </a:cubicBezTo>
                  <a:cubicBezTo>
                    <a:pt x="757" y="109"/>
                    <a:pt x="757" y="109"/>
                    <a:pt x="757" y="109"/>
                  </a:cubicBezTo>
                  <a:cubicBezTo>
                    <a:pt x="757" y="116"/>
                    <a:pt x="757" y="116"/>
                    <a:pt x="757" y="116"/>
                  </a:cubicBezTo>
                  <a:cubicBezTo>
                    <a:pt x="797" y="116"/>
                    <a:pt x="797" y="116"/>
                    <a:pt x="797" y="116"/>
                  </a:cubicBezTo>
                  <a:cubicBezTo>
                    <a:pt x="797" y="109"/>
                    <a:pt x="797" y="109"/>
                    <a:pt x="797" y="109"/>
                  </a:cubicBezTo>
                  <a:cubicBezTo>
                    <a:pt x="786" y="107"/>
                    <a:pt x="786" y="107"/>
                    <a:pt x="786" y="107"/>
                  </a:cubicBezTo>
                  <a:cubicBezTo>
                    <a:pt x="786" y="48"/>
                    <a:pt x="786" y="48"/>
                    <a:pt x="786" y="48"/>
                  </a:cubicBezTo>
                  <a:cubicBezTo>
                    <a:pt x="797" y="46"/>
                    <a:pt x="797" y="46"/>
                    <a:pt x="797" y="46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57" y="39"/>
                    <a:pt x="757" y="39"/>
                    <a:pt x="757" y="39"/>
                  </a:cubicBezTo>
                  <a:cubicBezTo>
                    <a:pt x="757" y="46"/>
                    <a:pt x="757" y="46"/>
                    <a:pt x="757" y="46"/>
                  </a:cubicBezTo>
                  <a:cubicBezTo>
                    <a:pt x="768" y="48"/>
                    <a:pt x="768" y="48"/>
                    <a:pt x="768" y="48"/>
                  </a:cubicBezTo>
                  <a:cubicBezTo>
                    <a:pt x="768" y="71"/>
                    <a:pt x="768" y="71"/>
                    <a:pt x="768" y="71"/>
                  </a:cubicBezTo>
                  <a:cubicBezTo>
                    <a:pt x="739" y="71"/>
                    <a:pt x="739" y="71"/>
                    <a:pt x="739" y="71"/>
                  </a:cubicBezTo>
                  <a:cubicBezTo>
                    <a:pt x="739" y="48"/>
                    <a:pt x="739" y="48"/>
                    <a:pt x="739" y="48"/>
                  </a:cubicBezTo>
                  <a:cubicBezTo>
                    <a:pt x="750" y="46"/>
                    <a:pt x="750" y="46"/>
                    <a:pt x="750" y="46"/>
                  </a:cubicBezTo>
                  <a:cubicBezTo>
                    <a:pt x="750" y="39"/>
                    <a:pt x="750" y="39"/>
                    <a:pt x="750" y="39"/>
                  </a:cubicBezTo>
                  <a:cubicBezTo>
                    <a:pt x="710" y="39"/>
                    <a:pt x="710" y="39"/>
                    <a:pt x="710" y="39"/>
                  </a:cubicBezTo>
                  <a:cubicBezTo>
                    <a:pt x="710" y="46"/>
                    <a:pt x="710" y="46"/>
                    <a:pt x="710" y="46"/>
                  </a:cubicBezTo>
                  <a:cubicBezTo>
                    <a:pt x="722" y="48"/>
                    <a:pt x="722" y="48"/>
                    <a:pt x="722" y="48"/>
                  </a:cubicBezTo>
                  <a:cubicBezTo>
                    <a:pt x="722" y="107"/>
                    <a:pt x="722" y="107"/>
                    <a:pt x="722" y="107"/>
                  </a:cubicBezTo>
                  <a:cubicBezTo>
                    <a:pt x="710" y="109"/>
                    <a:pt x="710" y="109"/>
                    <a:pt x="710" y="109"/>
                  </a:cubicBezTo>
                  <a:cubicBezTo>
                    <a:pt x="710" y="116"/>
                    <a:pt x="710" y="116"/>
                    <a:pt x="710" y="116"/>
                  </a:cubicBezTo>
                  <a:cubicBezTo>
                    <a:pt x="750" y="116"/>
                    <a:pt x="750" y="116"/>
                    <a:pt x="750" y="116"/>
                  </a:cubicBezTo>
                  <a:lnTo>
                    <a:pt x="750" y="109"/>
                  </a:lnTo>
                  <a:close/>
                  <a:moveTo>
                    <a:pt x="445" y="109"/>
                  </a:moveTo>
                  <a:cubicBezTo>
                    <a:pt x="434" y="107"/>
                    <a:pt x="434" y="107"/>
                    <a:pt x="434" y="107"/>
                  </a:cubicBezTo>
                  <a:cubicBezTo>
                    <a:pt x="434" y="80"/>
                    <a:pt x="434" y="80"/>
                    <a:pt x="434" y="80"/>
                  </a:cubicBezTo>
                  <a:cubicBezTo>
                    <a:pt x="463" y="80"/>
                    <a:pt x="463" y="80"/>
                    <a:pt x="463" y="80"/>
                  </a:cubicBezTo>
                  <a:cubicBezTo>
                    <a:pt x="463" y="107"/>
                    <a:pt x="463" y="107"/>
                    <a:pt x="463" y="107"/>
                  </a:cubicBezTo>
                  <a:cubicBezTo>
                    <a:pt x="452" y="109"/>
                    <a:pt x="452" y="109"/>
                    <a:pt x="452" y="109"/>
                  </a:cubicBezTo>
                  <a:cubicBezTo>
                    <a:pt x="452" y="116"/>
                    <a:pt x="452" y="116"/>
                    <a:pt x="452" y="116"/>
                  </a:cubicBezTo>
                  <a:cubicBezTo>
                    <a:pt x="492" y="116"/>
                    <a:pt x="492" y="116"/>
                    <a:pt x="492" y="116"/>
                  </a:cubicBezTo>
                  <a:cubicBezTo>
                    <a:pt x="492" y="109"/>
                    <a:pt x="492" y="109"/>
                    <a:pt x="492" y="109"/>
                  </a:cubicBezTo>
                  <a:cubicBezTo>
                    <a:pt x="480" y="107"/>
                    <a:pt x="480" y="107"/>
                    <a:pt x="480" y="107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492" y="46"/>
                    <a:pt x="492" y="46"/>
                    <a:pt x="492" y="46"/>
                  </a:cubicBezTo>
                  <a:cubicBezTo>
                    <a:pt x="492" y="39"/>
                    <a:pt x="492" y="39"/>
                    <a:pt x="492" y="39"/>
                  </a:cubicBezTo>
                  <a:cubicBezTo>
                    <a:pt x="452" y="39"/>
                    <a:pt x="452" y="39"/>
                    <a:pt x="452" y="39"/>
                  </a:cubicBezTo>
                  <a:cubicBezTo>
                    <a:pt x="452" y="46"/>
                    <a:pt x="452" y="46"/>
                    <a:pt x="452" y="46"/>
                  </a:cubicBezTo>
                  <a:cubicBezTo>
                    <a:pt x="463" y="48"/>
                    <a:pt x="463" y="48"/>
                    <a:pt x="463" y="48"/>
                  </a:cubicBezTo>
                  <a:cubicBezTo>
                    <a:pt x="463" y="71"/>
                    <a:pt x="463" y="71"/>
                    <a:pt x="463" y="71"/>
                  </a:cubicBezTo>
                  <a:cubicBezTo>
                    <a:pt x="434" y="71"/>
                    <a:pt x="434" y="71"/>
                    <a:pt x="434" y="71"/>
                  </a:cubicBezTo>
                  <a:cubicBezTo>
                    <a:pt x="434" y="48"/>
                    <a:pt x="434" y="48"/>
                    <a:pt x="434" y="48"/>
                  </a:cubicBezTo>
                  <a:cubicBezTo>
                    <a:pt x="445" y="46"/>
                    <a:pt x="445" y="46"/>
                    <a:pt x="445" y="46"/>
                  </a:cubicBezTo>
                  <a:cubicBezTo>
                    <a:pt x="445" y="39"/>
                    <a:pt x="445" y="39"/>
                    <a:pt x="445" y="39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46"/>
                    <a:pt x="405" y="46"/>
                    <a:pt x="405" y="46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107"/>
                    <a:pt x="416" y="107"/>
                    <a:pt x="416" y="107"/>
                  </a:cubicBezTo>
                  <a:cubicBezTo>
                    <a:pt x="405" y="109"/>
                    <a:pt x="405" y="109"/>
                    <a:pt x="405" y="109"/>
                  </a:cubicBezTo>
                  <a:cubicBezTo>
                    <a:pt x="405" y="116"/>
                    <a:pt x="405" y="116"/>
                    <a:pt x="405" y="116"/>
                  </a:cubicBezTo>
                  <a:cubicBezTo>
                    <a:pt x="445" y="116"/>
                    <a:pt x="445" y="116"/>
                    <a:pt x="445" y="116"/>
                  </a:cubicBezTo>
                  <a:lnTo>
                    <a:pt x="445" y="109"/>
                  </a:lnTo>
                  <a:close/>
                  <a:moveTo>
                    <a:pt x="1209" y="49"/>
                  </a:moveTo>
                  <a:cubicBezTo>
                    <a:pt x="1226" y="49"/>
                    <a:pt x="1226" y="49"/>
                    <a:pt x="1226" y="49"/>
                  </a:cubicBezTo>
                  <a:cubicBezTo>
                    <a:pt x="1226" y="107"/>
                    <a:pt x="1226" y="107"/>
                    <a:pt x="1226" y="107"/>
                  </a:cubicBezTo>
                  <a:cubicBezTo>
                    <a:pt x="1215" y="109"/>
                    <a:pt x="1215" y="109"/>
                    <a:pt x="1215" y="109"/>
                  </a:cubicBezTo>
                  <a:cubicBezTo>
                    <a:pt x="1215" y="116"/>
                    <a:pt x="1215" y="116"/>
                    <a:pt x="1215" y="116"/>
                  </a:cubicBezTo>
                  <a:cubicBezTo>
                    <a:pt x="1255" y="116"/>
                    <a:pt x="1255" y="116"/>
                    <a:pt x="1255" y="116"/>
                  </a:cubicBezTo>
                  <a:cubicBezTo>
                    <a:pt x="1255" y="109"/>
                    <a:pt x="1255" y="109"/>
                    <a:pt x="1255" y="109"/>
                  </a:cubicBezTo>
                  <a:cubicBezTo>
                    <a:pt x="1244" y="107"/>
                    <a:pt x="1244" y="107"/>
                    <a:pt x="1244" y="107"/>
                  </a:cubicBezTo>
                  <a:cubicBezTo>
                    <a:pt x="1244" y="49"/>
                    <a:pt x="1244" y="49"/>
                    <a:pt x="1244" y="49"/>
                  </a:cubicBezTo>
                  <a:cubicBezTo>
                    <a:pt x="1261" y="49"/>
                    <a:pt x="1261" y="49"/>
                    <a:pt x="1261" y="49"/>
                  </a:cubicBezTo>
                  <a:cubicBezTo>
                    <a:pt x="1262" y="60"/>
                    <a:pt x="1262" y="60"/>
                    <a:pt x="1262" y="60"/>
                  </a:cubicBezTo>
                  <a:cubicBezTo>
                    <a:pt x="1270" y="60"/>
                    <a:pt x="1270" y="60"/>
                    <a:pt x="1270" y="60"/>
                  </a:cubicBezTo>
                  <a:cubicBezTo>
                    <a:pt x="1270" y="39"/>
                    <a:pt x="1270" y="39"/>
                    <a:pt x="1270" y="39"/>
                  </a:cubicBezTo>
                  <a:cubicBezTo>
                    <a:pt x="1200" y="39"/>
                    <a:pt x="1200" y="39"/>
                    <a:pt x="1200" y="39"/>
                  </a:cubicBezTo>
                  <a:cubicBezTo>
                    <a:pt x="1200" y="60"/>
                    <a:pt x="1200" y="60"/>
                    <a:pt x="1200" y="60"/>
                  </a:cubicBezTo>
                  <a:cubicBezTo>
                    <a:pt x="1208" y="60"/>
                    <a:pt x="1208" y="60"/>
                    <a:pt x="1208" y="60"/>
                  </a:cubicBezTo>
                  <a:lnTo>
                    <a:pt x="1209" y="49"/>
                  </a:lnTo>
                  <a:close/>
                  <a:moveTo>
                    <a:pt x="1058" y="49"/>
                  </a:moveTo>
                  <a:cubicBezTo>
                    <a:pt x="1075" y="49"/>
                    <a:pt x="1075" y="49"/>
                    <a:pt x="1075" y="49"/>
                  </a:cubicBezTo>
                  <a:cubicBezTo>
                    <a:pt x="1075" y="107"/>
                    <a:pt x="1075" y="107"/>
                    <a:pt x="1075" y="107"/>
                  </a:cubicBezTo>
                  <a:cubicBezTo>
                    <a:pt x="1064" y="109"/>
                    <a:pt x="1064" y="109"/>
                    <a:pt x="1064" y="109"/>
                  </a:cubicBezTo>
                  <a:cubicBezTo>
                    <a:pt x="1064" y="116"/>
                    <a:pt x="1064" y="116"/>
                    <a:pt x="1064" y="116"/>
                  </a:cubicBezTo>
                  <a:cubicBezTo>
                    <a:pt x="1104" y="116"/>
                    <a:pt x="1104" y="116"/>
                    <a:pt x="1104" y="116"/>
                  </a:cubicBezTo>
                  <a:cubicBezTo>
                    <a:pt x="1104" y="109"/>
                    <a:pt x="1104" y="109"/>
                    <a:pt x="1104" y="109"/>
                  </a:cubicBezTo>
                  <a:cubicBezTo>
                    <a:pt x="1093" y="107"/>
                    <a:pt x="1093" y="107"/>
                    <a:pt x="1093" y="107"/>
                  </a:cubicBezTo>
                  <a:cubicBezTo>
                    <a:pt x="1093" y="49"/>
                    <a:pt x="1093" y="49"/>
                    <a:pt x="1093" y="49"/>
                  </a:cubicBezTo>
                  <a:cubicBezTo>
                    <a:pt x="1110" y="49"/>
                    <a:pt x="1110" y="49"/>
                    <a:pt x="1110" y="49"/>
                  </a:cubicBezTo>
                  <a:cubicBezTo>
                    <a:pt x="1111" y="60"/>
                    <a:pt x="1111" y="60"/>
                    <a:pt x="1111" y="60"/>
                  </a:cubicBezTo>
                  <a:cubicBezTo>
                    <a:pt x="1119" y="60"/>
                    <a:pt x="1119" y="60"/>
                    <a:pt x="1119" y="60"/>
                  </a:cubicBezTo>
                  <a:cubicBezTo>
                    <a:pt x="1119" y="39"/>
                    <a:pt x="1119" y="39"/>
                    <a:pt x="1119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60"/>
                    <a:pt x="1049" y="60"/>
                    <a:pt x="1049" y="60"/>
                  </a:cubicBezTo>
                  <a:cubicBezTo>
                    <a:pt x="1057" y="60"/>
                    <a:pt x="1057" y="60"/>
                    <a:pt x="1057" y="60"/>
                  </a:cubicBezTo>
                  <a:lnTo>
                    <a:pt x="1058" y="49"/>
                  </a:lnTo>
                  <a:close/>
                  <a:moveTo>
                    <a:pt x="1114" y="116"/>
                  </a:moveTo>
                  <a:cubicBezTo>
                    <a:pt x="1147" y="116"/>
                    <a:pt x="1147" y="116"/>
                    <a:pt x="1147" y="116"/>
                  </a:cubicBezTo>
                  <a:cubicBezTo>
                    <a:pt x="1147" y="109"/>
                    <a:pt x="1147" y="109"/>
                    <a:pt x="1147" y="109"/>
                  </a:cubicBezTo>
                  <a:cubicBezTo>
                    <a:pt x="1136" y="107"/>
                    <a:pt x="1136" y="107"/>
                    <a:pt x="1136" y="107"/>
                  </a:cubicBezTo>
                  <a:cubicBezTo>
                    <a:pt x="1142" y="93"/>
                    <a:pt x="1142" y="93"/>
                    <a:pt x="1142" y="93"/>
                  </a:cubicBezTo>
                  <a:cubicBezTo>
                    <a:pt x="1171" y="93"/>
                    <a:pt x="1171" y="93"/>
                    <a:pt x="1171" y="93"/>
                  </a:cubicBezTo>
                  <a:cubicBezTo>
                    <a:pt x="1176" y="107"/>
                    <a:pt x="1176" y="107"/>
                    <a:pt x="1176" y="107"/>
                  </a:cubicBezTo>
                  <a:cubicBezTo>
                    <a:pt x="1165" y="109"/>
                    <a:pt x="1165" y="109"/>
                    <a:pt x="1165" y="109"/>
                  </a:cubicBezTo>
                  <a:cubicBezTo>
                    <a:pt x="1165" y="116"/>
                    <a:pt x="1165" y="116"/>
                    <a:pt x="1165" y="116"/>
                  </a:cubicBezTo>
                  <a:cubicBezTo>
                    <a:pt x="1205" y="116"/>
                    <a:pt x="1205" y="116"/>
                    <a:pt x="1205" y="116"/>
                  </a:cubicBezTo>
                  <a:cubicBezTo>
                    <a:pt x="1205" y="109"/>
                    <a:pt x="1205" y="109"/>
                    <a:pt x="1205" y="109"/>
                  </a:cubicBezTo>
                  <a:cubicBezTo>
                    <a:pt x="1194" y="107"/>
                    <a:pt x="1194" y="107"/>
                    <a:pt x="1194" y="107"/>
                  </a:cubicBezTo>
                  <a:cubicBezTo>
                    <a:pt x="1168" y="39"/>
                    <a:pt x="1168" y="39"/>
                    <a:pt x="1168" y="39"/>
                  </a:cubicBezTo>
                  <a:cubicBezTo>
                    <a:pt x="1151" y="39"/>
                    <a:pt x="1151" y="39"/>
                    <a:pt x="1151" y="39"/>
                  </a:cubicBezTo>
                  <a:cubicBezTo>
                    <a:pt x="1125" y="107"/>
                    <a:pt x="1125" y="107"/>
                    <a:pt x="1125" y="107"/>
                  </a:cubicBezTo>
                  <a:cubicBezTo>
                    <a:pt x="1114" y="109"/>
                    <a:pt x="1114" y="109"/>
                    <a:pt x="1114" y="109"/>
                  </a:cubicBezTo>
                  <a:lnTo>
                    <a:pt x="1114" y="116"/>
                  </a:lnTo>
                  <a:close/>
                  <a:moveTo>
                    <a:pt x="1156" y="54"/>
                  </a:moveTo>
                  <a:cubicBezTo>
                    <a:pt x="1167" y="84"/>
                    <a:pt x="1167" y="84"/>
                    <a:pt x="1167" y="84"/>
                  </a:cubicBezTo>
                  <a:cubicBezTo>
                    <a:pt x="1145" y="84"/>
                    <a:pt x="1145" y="84"/>
                    <a:pt x="1145" y="84"/>
                  </a:cubicBezTo>
                  <a:lnTo>
                    <a:pt x="1156" y="54"/>
                  </a:lnTo>
                  <a:close/>
                  <a:moveTo>
                    <a:pt x="1042" y="88"/>
                  </a:moveTo>
                  <a:cubicBezTo>
                    <a:pt x="1042" y="49"/>
                    <a:pt x="993" y="65"/>
                    <a:pt x="993" y="41"/>
                  </a:cubicBezTo>
                  <a:cubicBezTo>
                    <a:pt x="993" y="30"/>
                    <a:pt x="1002" y="27"/>
                    <a:pt x="1011" y="27"/>
                  </a:cubicBezTo>
                  <a:cubicBezTo>
                    <a:pt x="1019" y="27"/>
                    <a:pt x="1028" y="29"/>
                    <a:pt x="1028" y="29"/>
                  </a:cubicBezTo>
                  <a:cubicBezTo>
                    <a:pt x="1030" y="41"/>
                    <a:pt x="1030" y="41"/>
                    <a:pt x="1030" y="41"/>
                  </a:cubicBezTo>
                  <a:cubicBezTo>
                    <a:pt x="1038" y="41"/>
                    <a:pt x="1038" y="41"/>
                    <a:pt x="1038" y="41"/>
                  </a:cubicBezTo>
                  <a:cubicBezTo>
                    <a:pt x="1038" y="22"/>
                    <a:pt x="1038" y="22"/>
                    <a:pt x="1038" y="22"/>
                  </a:cubicBezTo>
                  <a:cubicBezTo>
                    <a:pt x="1030" y="19"/>
                    <a:pt x="1019" y="16"/>
                    <a:pt x="1009" y="16"/>
                  </a:cubicBezTo>
                  <a:cubicBezTo>
                    <a:pt x="987" y="16"/>
                    <a:pt x="976" y="27"/>
                    <a:pt x="976" y="44"/>
                  </a:cubicBezTo>
                  <a:cubicBezTo>
                    <a:pt x="976" y="65"/>
                    <a:pt x="992" y="69"/>
                    <a:pt x="1007" y="74"/>
                  </a:cubicBezTo>
                  <a:cubicBezTo>
                    <a:pt x="1017" y="77"/>
                    <a:pt x="1025" y="79"/>
                    <a:pt x="1025" y="90"/>
                  </a:cubicBezTo>
                  <a:cubicBezTo>
                    <a:pt x="1025" y="102"/>
                    <a:pt x="1015" y="106"/>
                    <a:pt x="1003" y="106"/>
                  </a:cubicBezTo>
                  <a:cubicBezTo>
                    <a:pt x="992" y="106"/>
                    <a:pt x="986" y="104"/>
                    <a:pt x="986" y="104"/>
                  </a:cubicBezTo>
                  <a:cubicBezTo>
                    <a:pt x="984" y="91"/>
                    <a:pt x="984" y="91"/>
                    <a:pt x="984" y="91"/>
                  </a:cubicBezTo>
                  <a:cubicBezTo>
                    <a:pt x="976" y="91"/>
                    <a:pt x="976" y="91"/>
                    <a:pt x="976" y="91"/>
                  </a:cubicBezTo>
                  <a:cubicBezTo>
                    <a:pt x="976" y="112"/>
                    <a:pt x="976" y="112"/>
                    <a:pt x="976" y="112"/>
                  </a:cubicBezTo>
                  <a:cubicBezTo>
                    <a:pt x="976" y="112"/>
                    <a:pt x="989" y="117"/>
                    <a:pt x="1006" y="117"/>
                  </a:cubicBezTo>
                  <a:cubicBezTo>
                    <a:pt x="1030" y="117"/>
                    <a:pt x="1042" y="107"/>
                    <a:pt x="1042" y="88"/>
                  </a:cubicBezTo>
                  <a:close/>
                  <a:moveTo>
                    <a:pt x="847" y="109"/>
                  </a:moveTo>
                  <a:cubicBezTo>
                    <a:pt x="835" y="107"/>
                    <a:pt x="835" y="107"/>
                    <a:pt x="835" y="107"/>
                  </a:cubicBezTo>
                  <a:cubicBezTo>
                    <a:pt x="835" y="48"/>
                    <a:pt x="835" y="48"/>
                    <a:pt x="835" y="48"/>
                  </a:cubicBezTo>
                  <a:cubicBezTo>
                    <a:pt x="847" y="46"/>
                    <a:pt x="847" y="46"/>
                    <a:pt x="847" y="46"/>
                  </a:cubicBezTo>
                  <a:cubicBezTo>
                    <a:pt x="847" y="39"/>
                    <a:pt x="847" y="39"/>
                    <a:pt x="847" y="39"/>
                  </a:cubicBezTo>
                  <a:cubicBezTo>
                    <a:pt x="806" y="39"/>
                    <a:pt x="806" y="39"/>
                    <a:pt x="806" y="39"/>
                  </a:cubicBezTo>
                  <a:cubicBezTo>
                    <a:pt x="806" y="46"/>
                    <a:pt x="806" y="46"/>
                    <a:pt x="806" y="46"/>
                  </a:cubicBezTo>
                  <a:cubicBezTo>
                    <a:pt x="818" y="48"/>
                    <a:pt x="818" y="48"/>
                    <a:pt x="818" y="48"/>
                  </a:cubicBezTo>
                  <a:cubicBezTo>
                    <a:pt x="818" y="107"/>
                    <a:pt x="818" y="107"/>
                    <a:pt x="818" y="107"/>
                  </a:cubicBezTo>
                  <a:cubicBezTo>
                    <a:pt x="806" y="109"/>
                    <a:pt x="806" y="109"/>
                    <a:pt x="806" y="109"/>
                  </a:cubicBezTo>
                  <a:cubicBezTo>
                    <a:pt x="806" y="116"/>
                    <a:pt x="806" y="116"/>
                    <a:pt x="806" y="116"/>
                  </a:cubicBezTo>
                  <a:cubicBezTo>
                    <a:pt x="847" y="116"/>
                    <a:pt x="847" y="116"/>
                    <a:pt x="847" y="116"/>
                  </a:cubicBezTo>
                  <a:lnTo>
                    <a:pt x="847" y="109"/>
                  </a:lnTo>
                  <a:close/>
                  <a:moveTo>
                    <a:pt x="890" y="117"/>
                  </a:moveTo>
                  <a:cubicBezTo>
                    <a:pt x="915" y="117"/>
                    <a:pt x="927" y="103"/>
                    <a:pt x="927" y="78"/>
                  </a:cubicBezTo>
                  <a:cubicBezTo>
                    <a:pt x="927" y="52"/>
                    <a:pt x="915" y="38"/>
                    <a:pt x="890" y="38"/>
                  </a:cubicBezTo>
                  <a:cubicBezTo>
                    <a:pt x="864" y="38"/>
                    <a:pt x="853" y="52"/>
                    <a:pt x="853" y="77"/>
                  </a:cubicBezTo>
                  <a:cubicBezTo>
                    <a:pt x="853" y="103"/>
                    <a:pt x="864" y="117"/>
                    <a:pt x="890" y="117"/>
                  </a:cubicBezTo>
                  <a:close/>
                  <a:moveTo>
                    <a:pt x="890" y="48"/>
                  </a:moveTo>
                  <a:cubicBezTo>
                    <a:pt x="902" y="48"/>
                    <a:pt x="908" y="57"/>
                    <a:pt x="908" y="78"/>
                  </a:cubicBezTo>
                  <a:cubicBezTo>
                    <a:pt x="908" y="98"/>
                    <a:pt x="902" y="107"/>
                    <a:pt x="889" y="107"/>
                  </a:cubicBezTo>
                  <a:cubicBezTo>
                    <a:pt x="877" y="107"/>
                    <a:pt x="871" y="98"/>
                    <a:pt x="871" y="77"/>
                  </a:cubicBezTo>
                  <a:cubicBezTo>
                    <a:pt x="871" y="57"/>
                    <a:pt x="877" y="48"/>
                    <a:pt x="890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01" t="19861" r="806" b="44550"/>
          <a:stretch/>
        </p:blipFill>
        <p:spPr>
          <a:xfrm>
            <a:off x="647061" y="430157"/>
            <a:ext cx="10940332" cy="2640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4404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-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43"/>
          <p:cNvSpPr>
            <a:spLocks noGrp="1"/>
          </p:cNvSpPr>
          <p:nvPr>
            <p:ph type="title"/>
          </p:nvPr>
        </p:nvSpPr>
        <p:spPr>
          <a:xfrm>
            <a:off x="759757" y="411833"/>
            <a:ext cx="10822657" cy="792163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60215" y="1422650"/>
            <a:ext cx="10856060" cy="4330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  <a:lvl2pPr>
              <a:spcBef>
                <a:spcPts val="800"/>
              </a:spcBef>
              <a:defRPr sz="2933"/>
            </a:lvl2pPr>
            <a:lvl3pPr>
              <a:spcBef>
                <a:spcPts val="800"/>
              </a:spcBef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44"/>
          <p:cNvSpPr>
            <a:spLocks noGrp="1"/>
          </p:cNvSpPr>
          <p:nvPr>
            <p:ph type="sldNum" sz="quarter" idx="12"/>
          </p:nvPr>
        </p:nvSpPr>
        <p:spPr>
          <a:xfrm>
            <a:off x="46567" y="6562689"/>
            <a:ext cx="643467" cy="23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F44216FD-6AB8-4CAA-AE87-D3440EC6B7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9875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-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5934" y="412233"/>
            <a:ext cx="10822193" cy="792163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4"/>
          <p:cNvSpPr>
            <a:spLocks noGrp="1"/>
          </p:cNvSpPr>
          <p:nvPr>
            <p:ph type="sldNum" sz="quarter" idx="12"/>
          </p:nvPr>
        </p:nvSpPr>
        <p:spPr>
          <a:xfrm>
            <a:off x="46567" y="6562689"/>
            <a:ext cx="643467" cy="23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F44216FD-6AB8-4CAA-AE87-D3440EC6B7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4964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2-corner lea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Placeholder 43"/>
          <p:cNvSpPr>
            <a:spLocks noGrp="1"/>
          </p:cNvSpPr>
          <p:nvPr>
            <p:ph type="title"/>
          </p:nvPr>
        </p:nvSpPr>
        <p:spPr>
          <a:xfrm>
            <a:off x="759757" y="411833"/>
            <a:ext cx="10822657" cy="792163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59773" y="1422650"/>
            <a:ext cx="10251055" cy="4330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  <a:lvl2pPr>
              <a:spcBef>
                <a:spcPts val="800"/>
              </a:spcBef>
              <a:defRPr sz="2933"/>
            </a:lvl2pPr>
            <a:lvl3pPr>
              <a:spcBef>
                <a:spcPts val="800"/>
              </a:spcBef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44"/>
          <p:cNvSpPr>
            <a:spLocks noGrp="1"/>
          </p:cNvSpPr>
          <p:nvPr>
            <p:ph type="sldNum" sz="quarter" idx="12"/>
          </p:nvPr>
        </p:nvSpPr>
        <p:spPr>
          <a:xfrm>
            <a:off x="46567" y="6562689"/>
            <a:ext cx="643467" cy="23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F44216FD-6AB8-4CAA-AE87-D3440EC6B7F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>
          <a:xfrm>
            <a:off x="9512023" y="6224390"/>
            <a:ext cx="2489604" cy="357593"/>
            <a:chOff x="487363" y="2840038"/>
            <a:chExt cx="8167687" cy="1173162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487363" y="2843213"/>
              <a:ext cx="8167687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531813" y="2892425"/>
              <a:ext cx="803275" cy="1068387"/>
            </a:xfrm>
            <a:custGeom>
              <a:avLst/>
              <a:gdLst>
                <a:gd name="T0" fmla="*/ 126 w 506"/>
                <a:gd name="T1" fmla="*/ 172 h 673"/>
                <a:gd name="T2" fmla="*/ 175 w 506"/>
                <a:gd name="T3" fmla="*/ 125 h 673"/>
                <a:gd name="T4" fmla="*/ 333 w 506"/>
                <a:gd name="T5" fmla="*/ 125 h 673"/>
                <a:gd name="T6" fmla="*/ 383 w 506"/>
                <a:gd name="T7" fmla="*/ 172 h 673"/>
                <a:gd name="T8" fmla="*/ 383 w 506"/>
                <a:gd name="T9" fmla="*/ 500 h 673"/>
                <a:gd name="T10" fmla="*/ 333 w 506"/>
                <a:gd name="T11" fmla="*/ 548 h 673"/>
                <a:gd name="T12" fmla="*/ 175 w 506"/>
                <a:gd name="T13" fmla="*/ 548 h 673"/>
                <a:gd name="T14" fmla="*/ 126 w 506"/>
                <a:gd name="T15" fmla="*/ 500 h 673"/>
                <a:gd name="T16" fmla="*/ 126 w 506"/>
                <a:gd name="T17" fmla="*/ 172 h 673"/>
                <a:gd name="T18" fmla="*/ 126 w 506"/>
                <a:gd name="T19" fmla="*/ 172 h 673"/>
                <a:gd name="T20" fmla="*/ 506 w 506"/>
                <a:gd name="T21" fmla="*/ 120 h 673"/>
                <a:gd name="T22" fmla="*/ 385 w 506"/>
                <a:gd name="T23" fmla="*/ 0 h 673"/>
                <a:gd name="T24" fmla="*/ 123 w 506"/>
                <a:gd name="T25" fmla="*/ 0 h 673"/>
                <a:gd name="T26" fmla="*/ 0 w 506"/>
                <a:gd name="T27" fmla="*/ 120 h 673"/>
                <a:gd name="T28" fmla="*/ 0 w 506"/>
                <a:gd name="T29" fmla="*/ 552 h 673"/>
                <a:gd name="T30" fmla="*/ 123 w 506"/>
                <a:gd name="T31" fmla="*/ 673 h 673"/>
                <a:gd name="T32" fmla="*/ 385 w 506"/>
                <a:gd name="T33" fmla="*/ 673 h 673"/>
                <a:gd name="T34" fmla="*/ 506 w 506"/>
                <a:gd name="T35" fmla="*/ 552 h 673"/>
                <a:gd name="T36" fmla="*/ 506 w 506"/>
                <a:gd name="T37" fmla="*/ 120 h 673"/>
                <a:gd name="T38" fmla="*/ 506 w 506"/>
                <a:gd name="T39" fmla="*/ 12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6" h="673">
                  <a:moveTo>
                    <a:pt x="126" y="172"/>
                  </a:moveTo>
                  <a:lnTo>
                    <a:pt x="175" y="125"/>
                  </a:lnTo>
                  <a:lnTo>
                    <a:pt x="333" y="125"/>
                  </a:lnTo>
                  <a:lnTo>
                    <a:pt x="383" y="172"/>
                  </a:lnTo>
                  <a:lnTo>
                    <a:pt x="383" y="500"/>
                  </a:lnTo>
                  <a:lnTo>
                    <a:pt x="333" y="548"/>
                  </a:lnTo>
                  <a:lnTo>
                    <a:pt x="175" y="548"/>
                  </a:lnTo>
                  <a:lnTo>
                    <a:pt x="126" y="500"/>
                  </a:lnTo>
                  <a:lnTo>
                    <a:pt x="126" y="172"/>
                  </a:lnTo>
                  <a:lnTo>
                    <a:pt x="126" y="172"/>
                  </a:lnTo>
                  <a:close/>
                  <a:moveTo>
                    <a:pt x="506" y="120"/>
                  </a:moveTo>
                  <a:lnTo>
                    <a:pt x="385" y="0"/>
                  </a:lnTo>
                  <a:lnTo>
                    <a:pt x="123" y="0"/>
                  </a:lnTo>
                  <a:lnTo>
                    <a:pt x="0" y="120"/>
                  </a:lnTo>
                  <a:lnTo>
                    <a:pt x="0" y="552"/>
                  </a:lnTo>
                  <a:lnTo>
                    <a:pt x="123" y="673"/>
                  </a:lnTo>
                  <a:lnTo>
                    <a:pt x="385" y="673"/>
                  </a:lnTo>
                  <a:lnTo>
                    <a:pt x="506" y="552"/>
                  </a:lnTo>
                  <a:lnTo>
                    <a:pt x="506" y="120"/>
                  </a:lnTo>
                  <a:lnTo>
                    <a:pt x="506" y="120"/>
                  </a:lnTo>
                  <a:close/>
                </a:path>
              </a:pathLst>
            </a:custGeom>
            <a:solidFill>
              <a:srgbClr val="BB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87363" y="2840038"/>
              <a:ext cx="8167687" cy="1169989"/>
            </a:xfrm>
            <a:custGeom>
              <a:avLst/>
              <a:gdLst>
                <a:gd name="T0" fmla="*/ 397 w 2178"/>
                <a:gd name="T1" fmla="*/ 289 h 312"/>
                <a:gd name="T2" fmla="*/ 430 w 2178"/>
                <a:gd name="T3" fmla="*/ 253 h 312"/>
                <a:gd name="T4" fmla="*/ 493 w 2178"/>
                <a:gd name="T5" fmla="*/ 256 h 312"/>
                <a:gd name="T6" fmla="*/ 535 w 2178"/>
                <a:gd name="T7" fmla="*/ 289 h 312"/>
                <a:gd name="T8" fmla="*/ 608 w 2178"/>
                <a:gd name="T9" fmla="*/ 282 h 312"/>
                <a:gd name="T10" fmla="*/ 678 w 2178"/>
                <a:gd name="T11" fmla="*/ 225 h 312"/>
                <a:gd name="T12" fmla="*/ 660 w 2178"/>
                <a:gd name="T13" fmla="*/ 232 h 312"/>
                <a:gd name="T14" fmla="*/ 761 w 2178"/>
                <a:gd name="T15" fmla="*/ 289 h 312"/>
                <a:gd name="T16" fmla="*/ 814 w 2178"/>
                <a:gd name="T17" fmla="*/ 282 h 312"/>
                <a:gd name="T18" fmla="*/ 858 w 2178"/>
                <a:gd name="T19" fmla="*/ 225 h 312"/>
                <a:gd name="T20" fmla="*/ 923 w 2178"/>
                <a:gd name="T21" fmla="*/ 289 h 312"/>
                <a:gd name="T22" fmla="*/ 941 w 2178"/>
                <a:gd name="T23" fmla="*/ 257 h 312"/>
                <a:gd name="T24" fmla="*/ 1061 w 2178"/>
                <a:gd name="T25" fmla="*/ 289 h 312"/>
                <a:gd name="T26" fmla="*/ 1103 w 2178"/>
                <a:gd name="T27" fmla="*/ 282 h 312"/>
                <a:gd name="T28" fmla="*/ 1182 w 2178"/>
                <a:gd name="T29" fmla="*/ 277 h 312"/>
                <a:gd name="T30" fmla="*/ 1197 w 2178"/>
                <a:gd name="T31" fmla="*/ 232 h 312"/>
                <a:gd name="T32" fmla="*/ 1287 w 2178"/>
                <a:gd name="T33" fmla="*/ 289 h 312"/>
                <a:gd name="T34" fmla="*/ 1351 w 2178"/>
                <a:gd name="T35" fmla="*/ 225 h 312"/>
                <a:gd name="T36" fmla="*/ 1367 w 2178"/>
                <a:gd name="T37" fmla="*/ 232 h 312"/>
                <a:gd name="T38" fmla="*/ 1433 w 2178"/>
                <a:gd name="T39" fmla="*/ 264 h 312"/>
                <a:gd name="T40" fmla="*/ 59 w 2178"/>
                <a:gd name="T41" fmla="*/ 0 h 312"/>
                <a:gd name="T42" fmla="*/ 61 w 2178"/>
                <a:gd name="T43" fmla="*/ 307 h 312"/>
                <a:gd name="T44" fmla="*/ 150 w 2178"/>
                <a:gd name="T45" fmla="*/ 238 h 312"/>
                <a:gd name="T46" fmla="*/ 147 w 2178"/>
                <a:gd name="T47" fmla="*/ 80 h 312"/>
                <a:gd name="T48" fmla="*/ 1628 w 2178"/>
                <a:gd name="T49" fmla="*/ 46 h 312"/>
                <a:gd name="T50" fmla="*/ 1515 w 2178"/>
                <a:gd name="T51" fmla="*/ 107 h 312"/>
                <a:gd name="T52" fmla="*/ 1518 w 2178"/>
                <a:gd name="T53" fmla="*/ 39 h 312"/>
                <a:gd name="T54" fmla="*/ 1438 w 2178"/>
                <a:gd name="T55" fmla="*/ 117 h 312"/>
                <a:gd name="T56" fmla="*/ 1441 w 2178"/>
                <a:gd name="T57" fmla="*/ 107 h 312"/>
                <a:gd name="T58" fmla="*/ 1713 w 2178"/>
                <a:gd name="T59" fmla="*/ 48 h 312"/>
                <a:gd name="T60" fmla="*/ 1634 w 2178"/>
                <a:gd name="T61" fmla="*/ 46 h 312"/>
                <a:gd name="T62" fmla="*/ 1974 w 2178"/>
                <a:gd name="T63" fmla="*/ 107 h 312"/>
                <a:gd name="T64" fmla="*/ 2066 w 2178"/>
                <a:gd name="T65" fmla="*/ 109 h 312"/>
                <a:gd name="T66" fmla="*/ 2122 w 2178"/>
                <a:gd name="T67" fmla="*/ 82 h 312"/>
                <a:gd name="T68" fmla="*/ 2138 w 2178"/>
                <a:gd name="T69" fmla="*/ 39 h 312"/>
                <a:gd name="T70" fmla="*/ 1953 w 2178"/>
                <a:gd name="T71" fmla="*/ 94 h 312"/>
                <a:gd name="T72" fmla="*/ 1920 w 2178"/>
                <a:gd name="T73" fmla="*/ 107 h 312"/>
                <a:gd name="T74" fmla="*/ 1855 w 2178"/>
                <a:gd name="T75" fmla="*/ 98 h 312"/>
                <a:gd name="T76" fmla="*/ 1819 w 2178"/>
                <a:gd name="T77" fmla="*/ 48 h 312"/>
                <a:gd name="T78" fmla="*/ 1839 w 2178"/>
                <a:gd name="T79" fmla="*/ 73 h 312"/>
                <a:gd name="T80" fmla="*/ 1784 w 2178"/>
                <a:gd name="T81" fmla="*/ 61 h 312"/>
                <a:gd name="T82" fmla="*/ 1741 w 2178"/>
                <a:gd name="T83" fmla="*/ 48 h 312"/>
                <a:gd name="T84" fmla="*/ 1323 w 2178"/>
                <a:gd name="T85" fmla="*/ 80 h 312"/>
                <a:gd name="T86" fmla="*/ 1342 w 2178"/>
                <a:gd name="T87" fmla="*/ 39 h 312"/>
                <a:gd name="T88" fmla="*/ 557 w 2178"/>
                <a:gd name="T89" fmla="*/ 106 h 312"/>
                <a:gd name="T90" fmla="*/ 557 w 2178"/>
                <a:gd name="T91" fmla="*/ 49 h 312"/>
                <a:gd name="T92" fmla="*/ 566 w 2178"/>
                <a:gd name="T93" fmla="*/ 95 h 312"/>
                <a:gd name="T94" fmla="*/ 327 w 2178"/>
                <a:gd name="T95" fmla="*/ 28 h 312"/>
                <a:gd name="T96" fmla="*/ 399 w 2178"/>
                <a:gd name="T97" fmla="*/ 40 h 312"/>
                <a:gd name="T98" fmla="*/ 757 w 2178"/>
                <a:gd name="T99" fmla="*/ 109 h 312"/>
                <a:gd name="T100" fmla="*/ 768 w 2178"/>
                <a:gd name="T101" fmla="*/ 71 h 312"/>
                <a:gd name="T102" fmla="*/ 750 w 2178"/>
                <a:gd name="T103" fmla="*/ 116 h 312"/>
                <a:gd name="T104" fmla="*/ 480 w 2178"/>
                <a:gd name="T105" fmla="*/ 107 h 312"/>
                <a:gd name="T106" fmla="*/ 445 w 2178"/>
                <a:gd name="T107" fmla="*/ 39 h 312"/>
                <a:gd name="T108" fmla="*/ 1226 w 2178"/>
                <a:gd name="T109" fmla="*/ 107 h 312"/>
                <a:gd name="T110" fmla="*/ 1200 w 2178"/>
                <a:gd name="T111" fmla="*/ 39 h 312"/>
                <a:gd name="T112" fmla="*/ 1093 w 2178"/>
                <a:gd name="T113" fmla="*/ 107 h 312"/>
                <a:gd name="T114" fmla="*/ 1147 w 2178"/>
                <a:gd name="T115" fmla="*/ 116 h 312"/>
                <a:gd name="T116" fmla="*/ 1168 w 2178"/>
                <a:gd name="T117" fmla="*/ 39 h 312"/>
                <a:gd name="T118" fmla="*/ 1011 w 2178"/>
                <a:gd name="T119" fmla="*/ 27 h 312"/>
                <a:gd name="T120" fmla="*/ 984 w 2178"/>
                <a:gd name="T121" fmla="*/ 91 h 312"/>
                <a:gd name="T122" fmla="*/ 806 w 2178"/>
                <a:gd name="T123" fmla="*/ 46 h 312"/>
                <a:gd name="T124" fmla="*/ 890 w 2178"/>
                <a:gd name="T125" fmla="*/ 1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8" h="312">
                  <a:moveTo>
                    <a:pt x="393" y="278"/>
                  </a:moveTo>
                  <a:cubicBezTo>
                    <a:pt x="378" y="225"/>
                    <a:pt x="378" y="225"/>
                    <a:pt x="378" y="225"/>
                  </a:cubicBezTo>
                  <a:cubicBezTo>
                    <a:pt x="371" y="225"/>
                    <a:pt x="371" y="225"/>
                    <a:pt x="371" y="225"/>
                  </a:cubicBezTo>
                  <a:cubicBezTo>
                    <a:pt x="357" y="278"/>
                    <a:pt x="357" y="278"/>
                    <a:pt x="357" y="278"/>
                  </a:cubicBezTo>
                  <a:cubicBezTo>
                    <a:pt x="343" y="225"/>
                    <a:pt x="343" y="225"/>
                    <a:pt x="343" y="225"/>
                  </a:cubicBezTo>
                  <a:cubicBezTo>
                    <a:pt x="334" y="225"/>
                    <a:pt x="334" y="225"/>
                    <a:pt x="334" y="225"/>
                  </a:cubicBezTo>
                  <a:cubicBezTo>
                    <a:pt x="352" y="289"/>
                    <a:pt x="352" y="289"/>
                    <a:pt x="352" y="289"/>
                  </a:cubicBezTo>
                  <a:cubicBezTo>
                    <a:pt x="361" y="289"/>
                    <a:pt x="361" y="289"/>
                    <a:pt x="361" y="289"/>
                  </a:cubicBezTo>
                  <a:cubicBezTo>
                    <a:pt x="375" y="237"/>
                    <a:pt x="375" y="237"/>
                    <a:pt x="375" y="237"/>
                  </a:cubicBezTo>
                  <a:cubicBezTo>
                    <a:pt x="389" y="289"/>
                    <a:pt x="389" y="289"/>
                    <a:pt x="389" y="289"/>
                  </a:cubicBezTo>
                  <a:cubicBezTo>
                    <a:pt x="397" y="289"/>
                    <a:pt x="397" y="289"/>
                    <a:pt x="397" y="289"/>
                  </a:cubicBezTo>
                  <a:cubicBezTo>
                    <a:pt x="416" y="225"/>
                    <a:pt x="416" y="225"/>
                    <a:pt x="416" y="225"/>
                  </a:cubicBezTo>
                  <a:cubicBezTo>
                    <a:pt x="407" y="225"/>
                    <a:pt x="407" y="225"/>
                    <a:pt x="407" y="225"/>
                  </a:cubicBezTo>
                  <a:lnTo>
                    <a:pt x="393" y="278"/>
                  </a:lnTo>
                  <a:close/>
                  <a:moveTo>
                    <a:pt x="422" y="289"/>
                  </a:moveTo>
                  <a:cubicBezTo>
                    <a:pt x="464" y="289"/>
                    <a:pt x="464" y="289"/>
                    <a:pt x="464" y="289"/>
                  </a:cubicBezTo>
                  <a:cubicBezTo>
                    <a:pt x="464" y="282"/>
                    <a:pt x="464" y="282"/>
                    <a:pt x="464" y="282"/>
                  </a:cubicBezTo>
                  <a:cubicBezTo>
                    <a:pt x="430" y="282"/>
                    <a:pt x="430" y="282"/>
                    <a:pt x="430" y="282"/>
                  </a:cubicBezTo>
                  <a:cubicBezTo>
                    <a:pt x="430" y="260"/>
                    <a:pt x="430" y="260"/>
                    <a:pt x="430" y="260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63" y="253"/>
                    <a:pt x="463" y="253"/>
                    <a:pt x="463" y="253"/>
                  </a:cubicBezTo>
                  <a:cubicBezTo>
                    <a:pt x="430" y="253"/>
                    <a:pt x="430" y="253"/>
                    <a:pt x="430" y="253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464" y="232"/>
                    <a:pt x="464" y="232"/>
                    <a:pt x="464" y="232"/>
                  </a:cubicBezTo>
                  <a:cubicBezTo>
                    <a:pt x="464" y="225"/>
                    <a:pt x="464" y="225"/>
                    <a:pt x="464" y="225"/>
                  </a:cubicBezTo>
                  <a:cubicBezTo>
                    <a:pt x="422" y="225"/>
                    <a:pt x="422" y="225"/>
                    <a:pt x="422" y="225"/>
                  </a:cubicBezTo>
                  <a:lnTo>
                    <a:pt x="422" y="289"/>
                  </a:lnTo>
                  <a:close/>
                  <a:moveTo>
                    <a:pt x="527" y="225"/>
                  </a:moveTo>
                  <a:cubicBezTo>
                    <a:pt x="517" y="225"/>
                    <a:pt x="517" y="225"/>
                    <a:pt x="517" y="225"/>
                  </a:cubicBezTo>
                  <a:cubicBezTo>
                    <a:pt x="498" y="251"/>
                    <a:pt x="498" y="251"/>
                    <a:pt x="498" y="251"/>
                  </a:cubicBezTo>
                  <a:cubicBezTo>
                    <a:pt x="479" y="225"/>
                    <a:pt x="479" y="225"/>
                    <a:pt x="479" y="225"/>
                  </a:cubicBezTo>
                  <a:cubicBezTo>
                    <a:pt x="470" y="225"/>
                    <a:pt x="470" y="225"/>
                    <a:pt x="470" y="225"/>
                  </a:cubicBezTo>
                  <a:cubicBezTo>
                    <a:pt x="493" y="256"/>
                    <a:pt x="493" y="256"/>
                    <a:pt x="493" y="256"/>
                  </a:cubicBezTo>
                  <a:cubicBezTo>
                    <a:pt x="468" y="289"/>
                    <a:pt x="468" y="289"/>
                    <a:pt x="468" y="289"/>
                  </a:cubicBezTo>
                  <a:cubicBezTo>
                    <a:pt x="478" y="289"/>
                    <a:pt x="478" y="289"/>
                    <a:pt x="478" y="289"/>
                  </a:cubicBezTo>
                  <a:cubicBezTo>
                    <a:pt x="498" y="262"/>
                    <a:pt x="498" y="262"/>
                    <a:pt x="498" y="262"/>
                  </a:cubicBezTo>
                  <a:cubicBezTo>
                    <a:pt x="519" y="289"/>
                    <a:pt x="519" y="289"/>
                    <a:pt x="519" y="289"/>
                  </a:cubicBezTo>
                  <a:cubicBezTo>
                    <a:pt x="528" y="289"/>
                    <a:pt x="528" y="289"/>
                    <a:pt x="528" y="289"/>
                  </a:cubicBezTo>
                  <a:cubicBezTo>
                    <a:pt x="503" y="256"/>
                    <a:pt x="503" y="256"/>
                    <a:pt x="503" y="256"/>
                  </a:cubicBezTo>
                  <a:lnTo>
                    <a:pt x="527" y="225"/>
                  </a:lnTo>
                  <a:close/>
                  <a:moveTo>
                    <a:pt x="580" y="275"/>
                  </a:moveTo>
                  <a:cubicBezTo>
                    <a:pt x="543" y="225"/>
                    <a:pt x="543" y="225"/>
                    <a:pt x="543" y="225"/>
                  </a:cubicBezTo>
                  <a:cubicBezTo>
                    <a:pt x="535" y="225"/>
                    <a:pt x="535" y="225"/>
                    <a:pt x="535" y="225"/>
                  </a:cubicBezTo>
                  <a:cubicBezTo>
                    <a:pt x="535" y="289"/>
                    <a:pt x="535" y="289"/>
                    <a:pt x="535" y="289"/>
                  </a:cubicBezTo>
                  <a:cubicBezTo>
                    <a:pt x="543" y="289"/>
                    <a:pt x="543" y="289"/>
                    <a:pt x="543" y="289"/>
                  </a:cubicBezTo>
                  <a:cubicBezTo>
                    <a:pt x="543" y="238"/>
                    <a:pt x="543" y="238"/>
                    <a:pt x="543" y="238"/>
                  </a:cubicBezTo>
                  <a:cubicBezTo>
                    <a:pt x="580" y="289"/>
                    <a:pt x="580" y="289"/>
                    <a:pt x="580" y="289"/>
                  </a:cubicBezTo>
                  <a:cubicBezTo>
                    <a:pt x="588" y="289"/>
                    <a:pt x="588" y="289"/>
                    <a:pt x="588" y="289"/>
                  </a:cubicBezTo>
                  <a:cubicBezTo>
                    <a:pt x="588" y="225"/>
                    <a:pt x="588" y="225"/>
                    <a:pt x="588" y="225"/>
                  </a:cubicBezTo>
                  <a:cubicBezTo>
                    <a:pt x="580" y="225"/>
                    <a:pt x="580" y="225"/>
                    <a:pt x="580" y="225"/>
                  </a:cubicBezTo>
                  <a:lnTo>
                    <a:pt x="580" y="275"/>
                  </a:lnTo>
                  <a:close/>
                  <a:moveTo>
                    <a:pt x="600" y="289"/>
                  </a:moveTo>
                  <a:cubicBezTo>
                    <a:pt x="642" y="289"/>
                    <a:pt x="642" y="289"/>
                    <a:pt x="642" y="289"/>
                  </a:cubicBezTo>
                  <a:cubicBezTo>
                    <a:pt x="642" y="282"/>
                    <a:pt x="642" y="282"/>
                    <a:pt x="642" y="282"/>
                  </a:cubicBezTo>
                  <a:cubicBezTo>
                    <a:pt x="608" y="282"/>
                    <a:pt x="608" y="282"/>
                    <a:pt x="608" y="282"/>
                  </a:cubicBezTo>
                  <a:cubicBezTo>
                    <a:pt x="608" y="260"/>
                    <a:pt x="608" y="260"/>
                    <a:pt x="608" y="260"/>
                  </a:cubicBezTo>
                  <a:cubicBezTo>
                    <a:pt x="641" y="260"/>
                    <a:pt x="641" y="260"/>
                    <a:pt x="641" y="260"/>
                  </a:cubicBezTo>
                  <a:cubicBezTo>
                    <a:pt x="641" y="253"/>
                    <a:pt x="641" y="253"/>
                    <a:pt x="641" y="253"/>
                  </a:cubicBezTo>
                  <a:cubicBezTo>
                    <a:pt x="608" y="253"/>
                    <a:pt x="608" y="253"/>
                    <a:pt x="608" y="253"/>
                  </a:cubicBezTo>
                  <a:cubicBezTo>
                    <a:pt x="608" y="232"/>
                    <a:pt x="608" y="232"/>
                    <a:pt x="608" y="232"/>
                  </a:cubicBezTo>
                  <a:cubicBezTo>
                    <a:pt x="642" y="232"/>
                    <a:pt x="642" y="232"/>
                    <a:pt x="642" y="232"/>
                  </a:cubicBezTo>
                  <a:cubicBezTo>
                    <a:pt x="642" y="225"/>
                    <a:pt x="642" y="225"/>
                    <a:pt x="642" y="225"/>
                  </a:cubicBezTo>
                  <a:cubicBezTo>
                    <a:pt x="600" y="225"/>
                    <a:pt x="600" y="225"/>
                    <a:pt x="600" y="225"/>
                  </a:cubicBezTo>
                  <a:lnTo>
                    <a:pt x="600" y="289"/>
                  </a:lnTo>
                  <a:close/>
                  <a:moveTo>
                    <a:pt x="698" y="244"/>
                  </a:moveTo>
                  <a:cubicBezTo>
                    <a:pt x="698" y="233"/>
                    <a:pt x="690" y="225"/>
                    <a:pt x="678" y="225"/>
                  </a:cubicBezTo>
                  <a:cubicBezTo>
                    <a:pt x="652" y="225"/>
                    <a:pt x="652" y="225"/>
                    <a:pt x="652" y="225"/>
                  </a:cubicBezTo>
                  <a:cubicBezTo>
                    <a:pt x="652" y="289"/>
                    <a:pt x="652" y="289"/>
                    <a:pt x="652" y="289"/>
                  </a:cubicBezTo>
                  <a:cubicBezTo>
                    <a:pt x="660" y="289"/>
                    <a:pt x="660" y="289"/>
                    <a:pt x="660" y="289"/>
                  </a:cubicBezTo>
                  <a:cubicBezTo>
                    <a:pt x="660" y="264"/>
                    <a:pt x="660" y="264"/>
                    <a:pt x="660" y="264"/>
                  </a:cubicBezTo>
                  <a:cubicBezTo>
                    <a:pt x="673" y="264"/>
                    <a:pt x="673" y="264"/>
                    <a:pt x="673" y="264"/>
                  </a:cubicBezTo>
                  <a:cubicBezTo>
                    <a:pt x="689" y="289"/>
                    <a:pt x="689" y="289"/>
                    <a:pt x="689" y="289"/>
                  </a:cubicBezTo>
                  <a:cubicBezTo>
                    <a:pt x="699" y="289"/>
                    <a:pt x="699" y="289"/>
                    <a:pt x="699" y="289"/>
                  </a:cubicBezTo>
                  <a:cubicBezTo>
                    <a:pt x="682" y="263"/>
                    <a:pt x="682" y="263"/>
                    <a:pt x="682" y="263"/>
                  </a:cubicBezTo>
                  <a:cubicBezTo>
                    <a:pt x="690" y="262"/>
                    <a:pt x="698" y="256"/>
                    <a:pt x="698" y="244"/>
                  </a:cubicBezTo>
                  <a:close/>
                  <a:moveTo>
                    <a:pt x="660" y="257"/>
                  </a:moveTo>
                  <a:cubicBezTo>
                    <a:pt x="660" y="232"/>
                    <a:pt x="660" y="232"/>
                    <a:pt x="660" y="232"/>
                  </a:cubicBezTo>
                  <a:cubicBezTo>
                    <a:pt x="677" y="232"/>
                    <a:pt x="677" y="232"/>
                    <a:pt x="677" y="232"/>
                  </a:cubicBezTo>
                  <a:cubicBezTo>
                    <a:pt x="685" y="232"/>
                    <a:pt x="690" y="237"/>
                    <a:pt x="690" y="244"/>
                  </a:cubicBezTo>
                  <a:cubicBezTo>
                    <a:pt x="690" y="252"/>
                    <a:pt x="685" y="257"/>
                    <a:pt x="677" y="257"/>
                  </a:cubicBezTo>
                  <a:lnTo>
                    <a:pt x="660" y="257"/>
                  </a:lnTo>
                  <a:close/>
                  <a:moveTo>
                    <a:pt x="762" y="274"/>
                  </a:moveTo>
                  <a:cubicBezTo>
                    <a:pt x="742" y="225"/>
                    <a:pt x="742" y="225"/>
                    <a:pt x="742" y="225"/>
                  </a:cubicBezTo>
                  <a:cubicBezTo>
                    <a:pt x="731" y="225"/>
                    <a:pt x="731" y="225"/>
                    <a:pt x="731" y="225"/>
                  </a:cubicBezTo>
                  <a:cubicBezTo>
                    <a:pt x="731" y="289"/>
                    <a:pt x="731" y="289"/>
                    <a:pt x="731" y="289"/>
                  </a:cubicBezTo>
                  <a:cubicBezTo>
                    <a:pt x="739" y="289"/>
                    <a:pt x="739" y="289"/>
                    <a:pt x="739" y="289"/>
                  </a:cubicBezTo>
                  <a:cubicBezTo>
                    <a:pt x="739" y="235"/>
                    <a:pt x="739" y="235"/>
                    <a:pt x="739" y="235"/>
                  </a:cubicBezTo>
                  <a:cubicBezTo>
                    <a:pt x="761" y="289"/>
                    <a:pt x="761" y="289"/>
                    <a:pt x="761" y="289"/>
                  </a:cubicBezTo>
                  <a:cubicBezTo>
                    <a:pt x="764" y="289"/>
                    <a:pt x="764" y="289"/>
                    <a:pt x="764" y="289"/>
                  </a:cubicBezTo>
                  <a:cubicBezTo>
                    <a:pt x="786" y="235"/>
                    <a:pt x="786" y="235"/>
                    <a:pt x="786" y="235"/>
                  </a:cubicBezTo>
                  <a:cubicBezTo>
                    <a:pt x="786" y="289"/>
                    <a:pt x="786" y="289"/>
                    <a:pt x="786" y="289"/>
                  </a:cubicBezTo>
                  <a:cubicBezTo>
                    <a:pt x="794" y="289"/>
                    <a:pt x="794" y="289"/>
                    <a:pt x="794" y="289"/>
                  </a:cubicBezTo>
                  <a:cubicBezTo>
                    <a:pt x="794" y="225"/>
                    <a:pt x="794" y="225"/>
                    <a:pt x="794" y="225"/>
                  </a:cubicBezTo>
                  <a:cubicBezTo>
                    <a:pt x="782" y="225"/>
                    <a:pt x="782" y="225"/>
                    <a:pt x="782" y="225"/>
                  </a:cubicBezTo>
                  <a:lnTo>
                    <a:pt x="762" y="274"/>
                  </a:lnTo>
                  <a:close/>
                  <a:moveTo>
                    <a:pt x="806" y="289"/>
                  </a:moveTo>
                  <a:cubicBezTo>
                    <a:pt x="848" y="289"/>
                    <a:pt x="848" y="289"/>
                    <a:pt x="848" y="289"/>
                  </a:cubicBezTo>
                  <a:cubicBezTo>
                    <a:pt x="848" y="282"/>
                    <a:pt x="848" y="282"/>
                    <a:pt x="848" y="282"/>
                  </a:cubicBezTo>
                  <a:cubicBezTo>
                    <a:pt x="814" y="282"/>
                    <a:pt x="814" y="282"/>
                    <a:pt x="814" y="282"/>
                  </a:cubicBezTo>
                  <a:cubicBezTo>
                    <a:pt x="814" y="260"/>
                    <a:pt x="814" y="260"/>
                    <a:pt x="814" y="260"/>
                  </a:cubicBezTo>
                  <a:cubicBezTo>
                    <a:pt x="847" y="260"/>
                    <a:pt x="847" y="260"/>
                    <a:pt x="847" y="260"/>
                  </a:cubicBezTo>
                  <a:cubicBezTo>
                    <a:pt x="847" y="253"/>
                    <a:pt x="847" y="253"/>
                    <a:pt x="847" y="253"/>
                  </a:cubicBezTo>
                  <a:cubicBezTo>
                    <a:pt x="814" y="253"/>
                    <a:pt x="814" y="253"/>
                    <a:pt x="814" y="253"/>
                  </a:cubicBezTo>
                  <a:cubicBezTo>
                    <a:pt x="814" y="232"/>
                    <a:pt x="814" y="232"/>
                    <a:pt x="814" y="232"/>
                  </a:cubicBezTo>
                  <a:cubicBezTo>
                    <a:pt x="848" y="232"/>
                    <a:pt x="848" y="232"/>
                    <a:pt x="848" y="232"/>
                  </a:cubicBezTo>
                  <a:cubicBezTo>
                    <a:pt x="848" y="225"/>
                    <a:pt x="848" y="225"/>
                    <a:pt x="848" y="225"/>
                  </a:cubicBezTo>
                  <a:cubicBezTo>
                    <a:pt x="806" y="225"/>
                    <a:pt x="806" y="225"/>
                    <a:pt x="806" y="225"/>
                  </a:cubicBezTo>
                  <a:lnTo>
                    <a:pt x="806" y="289"/>
                  </a:lnTo>
                  <a:close/>
                  <a:moveTo>
                    <a:pt x="880" y="225"/>
                  </a:moveTo>
                  <a:cubicBezTo>
                    <a:pt x="858" y="225"/>
                    <a:pt x="858" y="225"/>
                    <a:pt x="858" y="225"/>
                  </a:cubicBezTo>
                  <a:cubicBezTo>
                    <a:pt x="858" y="289"/>
                    <a:pt x="858" y="289"/>
                    <a:pt x="858" y="289"/>
                  </a:cubicBezTo>
                  <a:cubicBezTo>
                    <a:pt x="880" y="289"/>
                    <a:pt x="880" y="289"/>
                    <a:pt x="880" y="289"/>
                  </a:cubicBezTo>
                  <a:cubicBezTo>
                    <a:pt x="900" y="289"/>
                    <a:pt x="913" y="275"/>
                    <a:pt x="913" y="257"/>
                  </a:cubicBezTo>
                  <a:cubicBezTo>
                    <a:pt x="913" y="239"/>
                    <a:pt x="900" y="225"/>
                    <a:pt x="880" y="225"/>
                  </a:cubicBezTo>
                  <a:close/>
                  <a:moveTo>
                    <a:pt x="880" y="282"/>
                  </a:moveTo>
                  <a:cubicBezTo>
                    <a:pt x="866" y="282"/>
                    <a:pt x="866" y="282"/>
                    <a:pt x="866" y="282"/>
                  </a:cubicBezTo>
                  <a:cubicBezTo>
                    <a:pt x="866" y="232"/>
                    <a:pt x="866" y="232"/>
                    <a:pt x="866" y="232"/>
                  </a:cubicBezTo>
                  <a:cubicBezTo>
                    <a:pt x="880" y="232"/>
                    <a:pt x="880" y="232"/>
                    <a:pt x="880" y="232"/>
                  </a:cubicBezTo>
                  <a:cubicBezTo>
                    <a:pt x="896" y="232"/>
                    <a:pt x="905" y="243"/>
                    <a:pt x="905" y="257"/>
                  </a:cubicBezTo>
                  <a:cubicBezTo>
                    <a:pt x="905" y="271"/>
                    <a:pt x="896" y="282"/>
                    <a:pt x="880" y="282"/>
                  </a:cubicBezTo>
                  <a:close/>
                  <a:moveTo>
                    <a:pt x="923" y="289"/>
                  </a:moveTo>
                  <a:cubicBezTo>
                    <a:pt x="931" y="289"/>
                    <a:pt x="931" y="289"/>
                    <a:pt x="931" y="289"/>
                  </a:cubicBezTo>
                  <a:cubicBezTo>
                    <a:pt x="931" y="225"/>
                    <a:pt x="931" y="225"/>
                    <a:pt x="931" y="225"/>
                  </a:cubicBezTo>
                  <a:cubicBezTo>
                    <a:pt x="923" y="225"/>
                    <a:pt x="923" y="225"/>
                    <a:pt x="923" y="225"/>
                  </a:cubicBezTo>
                  <a:lnTo>
                    <a:pt x="923" y="289"/>
                  </a:lnTo>
                  <a:close/>
                  <a:moveTo>
                    <a:pt x="974" y="283"/>
                  </a:moveTo>
                  <a:cubicBezTo>
                    <a:pt x="960" y="283"/>
                    <a:pt x="949" y="272"/>
                    <a:pt x="949" y="257"/>
                  </a:cubicBezTo>
                  <a:cubicBezTo>
                    <a:pt x="949" y="242"/>
                    <a:pt x="960" y="231"/>
                    <a:pt x="974" y="231"/>
                  </a:cubicBezTo>
                  <a:cubicBezTo>
                    <a:pt x="981" y="231"/>
                    <a:pt x="988" y="235"/>
                    <a:pt x="992" y="240"/>
                  </a:cubicBezTo>
                  <a:cubicBezTo>
                    <a:pt x="998" y="237"/>
                    <a:pt x="998" y="237"/>
                    <a:pt x="998" y="237"/>
                  </a:cubicBezTo>
                  <a:cubicBezTo>
                    <a:pt x="993" y="229"/>
                    <a:pt x="985" y="224"/>
                    <a:pt x="974" y="224"/>
                  </a:cubicBezTo>
                  <a:cubicBezTo>
                    <a:pt x="956" y="224"/>
                    <a:pt x="941" y="237"/>
                    <a:pt x="941" y="257"/>
                  </a:cubicBezTo>
                  <a:cubicBezTo>
                    <a:pt x="941" y="277"/>
                    <a:pt x="956" y="290"/>
                    <a:pt x="974" y="290"/>
                  </a:cubicBezTo>
                  <a:cubicBezTo>
                    <a:pt x="985" y="290"/>
                    <a:pt x="993" y="285"/>
                    <a:pt x="998" y="277"/>
                  </a:cubicBezTo>
                  <a:cubicBezTo>
                    <a:pt x="992" y="274"/>
                    <a:pt x="992" y="274"/>
                    <a:pt x="992" y="274"/>
                  </a:cubicBezTo>
                  <a:cubicBezTo>
                    <a:pt x="988" y="279"/>
                    <a:pt x="981" y="283"/>
                    <a:pt x="974" y="283"/>
                  </a:cubicBezTo>
                  <a:close/>
                  <a:moveTo>
                    <a:pt x="1025" y="225"/>
                  </a:moveTo>
                  <a:cubicBezTo>
                    <a:pt x="999" y="289"/>
                    <a:pt x="999" y="289"/>
                    <a:pt x="999" y="289"/>
                  </a:cubicBezTo>
                  <a:cubicBezTo>
                    <a:pt x="1008" y="289"/>
                    <a:pt x="1008" y="289"/>
                    <a:pt x="1008" y="289"/>
                  </a:cubicBezTo>
                  <a:cubicBezTo>
                    <a:pt x="1014" y="275"/>
                    <a:pt x="1014" y="275"/>
                    <a:pt x="1014" y="275"/>
                  </a:cubicBezTo>
                  <a:cubicBezTo>
                    <a:pt x="1046" y="275"/>
                    <a:pt x="1046" y="275"/>
                    <a:pt x="1046" y="275"/>
                  </a:cubicBezTo>
                  <a:cubicBezTo>
                    <a:pt x="1052" y="289"/>
                    <a:pt x="1052" y="289"/>
                    <a:pt x="1052" y="289"/>
                  </a:cubicBezTo>
                  <a:cubicBezTo>
                    <a:pt x="1061" y="289"/>
                    <a:pt x="1061" y="289"/>
                    <a:pt x="1061" y="289"/>
                  </a:cubicBezTo>
                  <a:cubicBezTo>
                    <a:pt x="1035" y="225"/>
                    <a:pt x="1035" y="225"/>
                    <a:pt x="1035" y="225"/>
                  </a:cubicBezTo>
                  <a:lnTo>
                    <a:pt x="1025" y="225"/>
                  </a:lnTo>
                  <a:close/>
                  <a:moveTo>
                    <a:pt x="1017" y="268"/>
                  </a:moveTo>
                  <a:cubicBezTo>
                    <a:pt x="1030" y="233"/>
                    <a:pt x="1030" y="233"/>
                    <a:pt x="1030" y="233"/>
                  </a:cubicBezTo>
                  <a:cubicBezTo>
                    <a:pt x="1044" y="268"/>
                    <a:pt x="1044" y="268"/>
                    <a:pt x="1044" y="268"/>
                  </a:cubicBezTo>
                  <a:lnTo>
                    <a:pt x="1017" y="268"/>
                  </a:lnTo>
                  <a:close/>
                  <a:moveTo>
                    <a:pt x="1074" y="225"/>
                  </a:moveTo>
                  <a:cubicBezTo>
                    <a:pt x="1066" y="225"/>
                    <a:pt x="1066" y="225"/>
                    <a:pt x="1066" y="225"/>
                  </a:cubicBezTo>
                  <a:cubicBezTo>
                    <a:pt x="1066" y="289"/>
                    <a:pt x="1066" y="289"/>
                    <a:pt x="1066" y="289"/>
                  </a:cubicBezTo>
                  <a:cubicBezTo>
                    <a:pt x="1103" y="289"/>
                    <a:pt x="1103" y="289"/>
                    <a:pt x="1103" y="289"/>
                  </a:cubicBezTo>
                  <a:cubicBezTo>
                    <a:pt x="1103" y="282"/>
                    <a:pt x="1103" y="282"/>
                    <a:pt x="1103" y="282"/>
                  </a:cubicBezTo>
                  <a:cubicBezTo>
                    <a:pt x="1074" y="282"/>
                    <a:pt x="1074" y="282"/>
                    <a:pt x="1074" y="282"/>
                  </a:cubicBezTo>
                  <a:lnTo>
                    <a:pt x="1074" y="225"/>
                  </a:lnTo>
                  <a:close/>
                  <a:moveTo>
                    <a:pt x="1157" y="283"/>
                  </a:moveTo>
                  <a:cubicBezTo>
                    <a:pt x="1143" y="283"/>
                    <a:pt x="1133" y="272"/>
                    <a:pt x="1133" y="257"/>
                  </a:cubicBezTo>
                  <a:cubicBezTo>
                    <a:pt x="1133" y="242"/>
                    <a:pt x="1143" y="231"/>
                    <a:pt x="1157" y="231"/>
                  </a:cubicBezTo>
                  <a:cubicBezTo>
                    <a:pt x="1165" y="231"/>
                    <a:pt x="1171" y="235"/>
                    <a:pt x="1175" y="240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76" y="229"/>
                    <a:pt x="1169" y="224"/>
                    <a:pt x="1157" y="224"/>
                  </a:cubicBezTo>
                  <a:cubicBezTo>
                    <a:pt x="1139" y="224"/>
                    <a:pt x="1124" y="237"/>
                    <a:pt x="1124" y="257"/>
                  </a:cubicBezTo>
                  <a:cubicBezTo>
                    <a:pt x="1124" y="277"/>
                    <a:pt x="1139" y="290"/>
                    <a:pt x="1157" y="290"/>
                  </a:cubicBezTo>
                  <a:cubicBezTo>
                    <a:pt x="1169" y="290"/>
                    <a:pt x="1176" y="285"/>
                    <a:pt x="1182" y="277"/>
                  </a:cubicBezTo>
                  <a:cubicBezTo>
                    <a:pt x="1175" y="274"/>
                    <a:pt x="1175" y="274"/>
                    <a:pt x="1175" y="274"/>
                  </a:cubicBezTo>
                  <a:cubicBezTo>
                    <a:pt x="1171" y="279"/>
                    <a:pt x="1165" y="283"/>
                    <a:pt x="1157" y="283"/>
                  </a:cubicBezTo>
                  <a:close/>
                  <a:moveTo>
                    <a:pt x="1189" y="289"/>
                  </a:moveTo>
                  <a:cubicBezTo>
                    <a:pt x="1231" y="289"/>
                    <a:pt x="1231" y="289"/>
                    <a:pt x="1231" y="289"/>
                  </a:cubicBezTo>
                  <a:cubicBezTo>
                    <a:pt x="1231" y="282"/>
                    <a:pt x="1231" y="282"/>
                    <a:pt x="1231" y="282"/>
                  </a:cubicBezTo>
                  <a:cubicBezTo>
                    <a:pt x="1197" y="282"/>
                    <a:pt x="1197" y="282"/>
                    <a:pt x="1197" y="282"/>
                  </a:cubicBezTo>
                  <a:cubicBezTo>
                    <a:pt x="1197" y="260"/>
                    <a:pt x="1197" y="260"/>
                    <a:pt x="1197" y="260"/>
                  </a:cubicBezTo>
                  <a:cubicBezTo>
                    <a:pt x="1231" y="260"/>
                    <a:pt x="1231" y="260"/>
                    <a:pt x="1231" y="260"/>
                  </a:cubicBezTo>
                  <a:cubicBezTo>
                    <a:pt x="1231" y="253"/>
                    <a:pt x="1231" y="253"/>
                    <a:pt x="1231" y="253"/>
                  </a:cubicBezTo>
                  <a:cubicBezTo>
                    <a:pt x="1197" y="253"/>
                    <a:pt x="1197" y="253"/>
                    <a:pt x="1197" y="253"/>
                  </a:cubicBezTo>
                  <a:cubicBezTo>
                    <a:pt x="1197" y="232"/>
                    <a:pt x="1197" y="232"/>
                    <a:pt x="1197" y="232"/>
                  </a:cubicBezTo>
                  <a:cubicBezTo>
                    <a:pt x="1231" y="232"/>
                    <a:pt x="1231" y="232"/>
                    <a:pt x="1231" y="232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189" y="225"/>
                    <a:pt x="1189" y="225"/>
                    <a:pt x="1189" y="225"/>
                  </a:cubicBezTo>
                  <a:lnTo>
                    <a:pt x="1189" y="289"/>
                  </a:lnTo>
                  <a:close/>
                  <a:moveTo>
                    <a:pt x="1287" y="275"/>
                  </a:moveTo>
                  <a:cubicBezTo>
                    <a:pt x="1250" y="225"/>
                    <a:pt x="1250" y="225"/>
                    <a:pt x="1250" y="225"/>
                  </a:cubicBezTo>
                  <a:cubicBezTo>
                    <a:pt x="1242" y="225"/>
                    <a:pt x="1242" y="225"/>
                    <a:pt x="1242" y="225"/>
                  </a:cubicBezTo>
                  <a:cubicBezTo>
                    <a:pt x="1242" y="289"/>
                    <a:pt x="1242" y="289"/>
                    <a:pt x="1242" y="289"/>
                  </a:cubicBezTo>
                  <a:cubicBezTo>
                    <a:pt x="1250" y="289"/>
                    <a:pt x="1250" y="289"/>
                    <a:pt x="1250" y="289"/>
                  </a:cubicBezTo>
                  <a:cubicBezTo>
                    <a:pt x="1250" y="238"/>
                    <a:pt x="1250" y="238"/>
                    <a:pt x="1250" y="238"/>
                  </a:cubicBezTo>
                  <a:cubicBezTo>
                    <a:pt x="1287" y="289"/>
                    <a:pt x="1287" y="289"/>
                    <a:pt x="1287" y="289"/>
                  </a:cubicBezTo>
                  <a:cubicBezTo>
                    <a:pt x="1295" y="289"/>
                    <a:pt x="1295" y="289"/>
                    <a:pt x="1295" y="289"/>
                  </a:cubicBezTo>
                  <a:cubicBezTo>
                    <a:pt x="1295" y="225"/>
                    <a:pt x="1295" y="225"/>
                    <a:pt x="1295" y="225"/>
                  </a:cubicBezTo>
                  <a:cubicBezTo>
                    <a:pt x="1287" y="225"/>
                    <a:pt x="1287" y="225"/>
                    <a:pt x="1287" y="225"/>
                  </a:cubicBezTo>
                  <a:lnTo>
                    <a:pt x="1287" y="275"/>
                  </a:lnTo>
                  <a:close/>
                  <a:moveTo>
                    <a:pt x="1303" y="232"/>
                  </a:moveTo>
                  <a:cubicBezTo>
                    <a:pt x="1323" y="232"/>
                    <a:pt x="1323" y="232"/>
                    <a:pt x="1323" y="232"/>
                  </a:cubicBezTo>
                  <a:cubicBezTo>
                    <a:pt x="1323" y="289"/>
                    <a:pt x="1323" y="289"/>
                    <a:pt x="1323" y="289"/>
                  </a:cubicBezTo>
                  <a:cubicBezTo>
                    <a:pt x="1331" y="289"/>
                    <a:pt x="1331" y="289"/>
                    <a:pt x="1331" y="289"/>
                  </a:cubicBezTo>
                  <a:cubicBezTo>
                    <a:pt x="1331" y="232"/>
                    <a:pt x="1331" y="232"/>
                    <a:pt x="1331" y="232"/>
                  </a:cubicBezTo>
                  <a:cubicBezTo>
                    <a:pt x="1351" y="232"/>
                    <a:pt x="1351" y="232"/>
                    <a:pt x="1351" y="232"/>
                  </a:cubicBezTo>
                  <a:cubicBezTo>
                    <a:pt x="1351" y="225"/>
                    <a:pt x="1351" y="225"/>
                    <a:pt x="1351" y="225"/>
                  </a:cubicBezTo>
                  <a:cubicBezTo>
                    <a:pt x="1303" y="225"/>
                    <a:pt x="1303" y="225"/>
                    <a:pt x="1303" y="225"/>
                  </a:cubicBezTo>
                  <a:lnTo>
                    <a:pt x="1303" y="232"/>
                  </a:lnTo>
                  <a:close/>
                  <a:moveTo>
                    <a:pt x="1360" y="289"/>
                  </a:moveTo>
                  <a:cubicBezTo>
                    <a:pt x="1401" y="289"/>
                    <a:pt x="1401" y="289"/>
                    <a:pt x="1401" y="289"/>
                  </a:cubicBezTo>
                  <a:cubicBezTo>
                    <a:pt x="1401" y="282"/>
                    <a:pt x="1401" y="282"/>
                    <a:pt x="1401" y="282"/>
                  </a:cubicBezTo>
                  <a:cubicBezTo>
                    <a:pt x="1367" y="282"/>
                    <a:pt x="1367" y="282"/>
                    <a:pt x="1367" y="282"/>
                  </a:cubicBezTo>
                  <a:cubicBezTo>
                    <a:pt x="1367" y="260"/>
                    <a:pt x="1367" y="260"/>
                    <a:pt x="1367" y="260"/>
                  </a:cubicBezTo>
                  <a:cubicBezTo>
                    <a:pt x="1401" y="260"/>
                    <a:pt x="1401" y="260"/>
                    <a:pt x="1401" y="260"/>
                  </a:cubicBezTo>
                  <a:cubicBezTo>
                    <a:pt x="1401" y="253"/>
                    <a:pt x="1401" y="253"/>
                    <a:pt x="1401" y="253"/>
                  </a:cubicBezTo>
                  <a:cubicBezTo>
                    <a:pt x="1367" y="253"/>
                    <a:pt x="1367" y="253"/>
                    <a:pt x="1367" y="253"/>
                  </a:cubicBezTo>
                  <a:cubicBezTo>
                    <a:pt x="1367" y="232"/>
                    <a:pt x="1367" y="232"/>
                    <a:pt x="1367" y="232"/>
                  </a:cubicBezTo>
                  <a:cubicBezTo>
                    <a:pt x="1401" y="232"/>
                    <a:pt x="1401" y="232"/>
                    <a:pt x="1401" y="232"/>
                  </a:cubicBezTo>
                  <a:cubicBezTo>
                    <a:pt x="1401" y="225"/>
                    <a:pt x="1401" y="225"/>
                    <a:pt x="1401" y="225"/>
                  </a:cubicBezTo>
                  <a:cubicBezTo>
                    <a:pt x="1360" y="225"/>
                    <a:pt x="1360" y="225"/>
                    <a:pt x="1360" y="225"/>
                  </a:cubicBezTo>
                  <a:lnTo>
                    <a:pt x="1360" y="289"/>
                  </a:lnTo>
                  <a:close/>
                  <a:moveTo>
                    <a:pt x="1458" y="244"/>
                  </a:moveTo>
                  <a:cubicBezTo>
                    <a:pt x="1458" y="233"/>
                    <a:pt x="1449" y="225"/>
                    <a:pt x="1437" y="225"/>
                  </a:cubicBezTo>
                  <a:cubicBezTo>
                    <a:pt x="1412" y="225"/>
                    <a:pt x="1412" y="225"/>
                    <a:pt x="1412" y="225"/>
                  </a:cubicBezTo>
                  <a:cubicBezTo>
                    <a:pt x="1412" y="289"/>
                    <a:pt x="1412" y="289"/>
                    <a:pt x="1412" y="289"/>
                  </a:cubicBezTo>
                  <a:cubicBezTo>
                    <a:pt x="1420" y="289"/>
                    <a:pt x="1420" y="289"/>
                    <a:pt x="1420" y="289"/>
                  </a:cubicBezTo>
                  <a:cubicBezTo>
                    <a:pt x="1420" y="264"/>
                    <a:pt x="1420" y="264"/>
                    <a:pt x="1420" y="264"/>
                  </a:cubicBezTo>
                  <a:cubicBezTo>
                    <a:pt x="1433" y="264"/>
                    <a:pt x="1433" y="264"/>
                    <a:pt x="1433" y="264"/>
                  </a:cubicBezTo>
                  <a:cubicBezTo>
                    <a:pt x="1449" y="289"/>
                    <a:pt x="1449" y="289"/>
                    <a:pt x="1449" y="289"/>
                  </a:cubicBezTo>
                  <a:cubicBezTo>
                    <a:pt x="1458" y="289"/>
                    <a:pt x="1458" y="289"/>
                    <a:pt x="1458" y="289"/>
                  </a:cubicBezTo>
                  <a:cubicBezTo>
                    <a:pt x="1441" y="263"/>
                    <a:pt x="1441" y="263"/>
                    <a:pt x="1441" y="263"/>
                  </a:cubicBezTo>
                  <a:cubicBezTo>
                    <a:pt x="1450" y="262"/>
                    <a:pt x="1458" y="256"/>
                    <a:pt x="1458" y="244"/>
                  </a:cubicBezTo>
                  <a:close/>
                  <a:moveTo>
                    <a:pt x="1420" y="257"/>
                  </a:moveTo>
                  <a:cubicBezTo>
                    <a:pt x="1420" y="232"/>
                    <a:pt x="1420" y="232"/>
                    <a:pt x="1420" y="232"/>
                  </a:cubicBezTo>
                  <a:cubicBezTo>
                    <a:pt x="1437" y="232"/>
                    <a:pt x="1437" y="232"/>
                    <a:pt x="1437" y="232"/>
                  </a:cubicBezTo>
                  <a:cubicBezTo>
                    <a:pt x="1444" y="232"/>
                    <a:pt x="1449" y="237"/>
                    <a:pt x="1449" y="244"/>
                  </a:cubicBezTo>
                  <a:cubicBezTo>
                    <a:pt x="1449" y="252"/>
                    <a:pt x="1444" y="257"/>
                    <a:pt x="1437" y="257"/>
                  </a:cubicBezTo>
                  <a:lnTo>
                    <a:pt x="1420" y="257"/>
                  </a:lnTo>
                  <a:close/>
                  <a:moveTo>
                    <a:pt x="59" y="0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58" y="312"/>
                    <a:pt x="58" y="312"/>
                    <a:pt x="58" y="312"/>
                  </a:cubicBezTo>
                  <a:cubicBezTo>
                    <a:pt x="180" y="312"/>
                    <a:pt x="180" y="312"/>
                    <a:pt x="180" y="312"/>
                  </a:cubicBezTo>
                  <a:cubicBezTo>
                    <a:pt x="239" y="253"/>
                    <a:pt x="239" y="253"/>
                    <a:pt x="239" y="25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180" y="0"/>
                    <a:pt x="180" y="0"/>
                    <a:pt x="180" y="0"/>
                  </a:cubicBezTo>
                  <a:lnTo>
                    <a:pt x="59" y="0"/>
                  </a:lnTo>
                  <a:close/>
                  <a:moveTo>
                    <a:pt x="233" y="251"/>
                  </a:moveTo>
                  <a:cubicBezTo>
                    <a:pt x="178" y="307"/>
                    <a:pt x="178" y="307"/>
                    <a:pt x="178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5" y="251"/>
                    <a:pt x="5" y="251"/>
                    <a:pt x="5" y="25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233" y="60"/>
                    <a:pt x="233" y="60"/>
                    <a:pt x="233" y="60"/>
                  </a:cubicBezTo>
                  <a:lnTo>
                    <a:pt x="233" y="251"/>
                  </a:lnTo>
                  <a:close/>
                  <a:moveTo>
                    <a:pt x="89" y="75"/>
                  </a:moveTo>
                  <a:cubicBezTo>
                    <a:pt x="73" y="91"/>
                    <a:pt x="73" y="91"/>
                    <a:pt x="73" y="91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89" y="238"/>
                    <a:pt x="89" y="238"/>
                    <a:pt x="89" y="238"/>
                  </a:cubicBezTo>
                  <a:cubicBezTo>
                    <a:pt x="150" y="238"/>
                    <a:pt x="150" y="238"/>
                    <a:pt x="150" y="238"/>
                  </a:cubicBezTo>
                  <a:cubicBezTo>
                    <a:pt x="165" y="222"/>
                    <a:pt x="165" y="222"/>
                    <a:pt x="165" y="222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49" y="75"/>
                    <a:pt x="149" y="75"/>
                    <a:pt x="149" y="75"/>
                  </a:cubicBezTo>
                  <a:lnTo>
                    <a:pt x="89" y="75"/>
                  </a:lnTo>
                  <a:close/>
                  <a:moveTo>
                    <a:pt x="160" y="220"/>
                  </a:moveTo>
                  <a:cubicBezTo>
                    <a:pt x="147" y="233"/>
                    <a:pt x="147" y="233"/>
                    <a:pt x="147" y="233"/>
                  </a:cubicBezTo>
                  <a:cubicBezTo>
                    <a:pt x="91" y="233"/>
                    <a:pt x="91" y="233"/>
                    <a:pt x="91" y="233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9" y="93"/>
                    <a:pt x="79" y="93"/>
                    <a:pt x="79" y="93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60" y="93"/>
                    <a:pt x="160" y="93"/>
                    <a:pt x="160" y="93"/>
                  </a:cubicBezTo>
                  <a:lnTo>
                    <a:pt x="160" y="220"/>
                  </a:lnTo>
                  <a:close/>
                  <a:moveTo>
                    <a:pt x="318" y="169"/>
                  </a:moveTo>
                  <a:cubicBezTo>
                    <a:pt x="318" y="174"/>
                    <a:pt x="318" y="174"/>
                    <a:pt x="318" y="174"/>
                  </a:cubicBezTo>
                  <a:cubicBezTo>
                    <a:pt x="2178" y="174"/>
                    <a:pt x="2178" y="174"/>
                    <a:pt x="2178" y="174"/>
                  </a:cubicBezTo>
                  <a:cubicBezTo>
                    <a:pt x="2178" y="169"/>
                    <a:pt x="2178" y="169"/>
                    <a:pt x="2178" y="169"/>
                  </a:cubicBezTo>
                  <a:lnTo>
                    <a:pt x="318" y="169"/>
                  </a:lnTo>
                  <a:close/>
                  <a:moveTo>
                    <a:pt x="1628" y="109"/>
                  </a:moveTo>
                  <a:cubicBezTo>
                    <a:pt x="1616" y="107"/>
                    <a:pt x="1616" y="107"/>
                    <a:pt x="1616" y="107"/>
                  </a:cubicBezTo>
                  <a:cubicBezTo>
                    <a:pt x="1616" y="48"/>
                    <a:pt x="1616" y="48"/>
                    <a:pt x="1616" y="48"/>
                  </a:cubicBezTo>
                  <a:cubicBezTo>
                    <a:pt x="1628" y="46"/>
                    <a:pt x="1628" y="46"/>
                    <a:pt x="1628" y="46"/>
                  </a:cubicBezTo>
                  <a:cubicBezTo>
                    <a:pt x="1628" y="39"/>
                    <a:pt x="1628" y="39"/>
                    <a:pt x="1628" y="39"/>
                  </a:cubicBezTo>
                  <a:cubicBezTo>
                    <a:pt x="1587" y="39"/>
                    <a:pt x="1587" y="39"/>
                    <a:pt x="1587" y="39"/>
                  </a:cubicBezTo>
                  <a:cubicBezTo>
                    <a:pt x="1587" y="46"/>
                    <a:pt x="1587" y="46"/>
                    <a:pt x="1587" y="46"/>
                  </a:cubicBezTo>
                  <a:cubicBezTo>
                    <a:pt x="1599" y="48"/>
                    <a:pt x="1599" y="48"/>
                    <a:pt x="1599" y="48"/>
                  </a:cubicBezTo>
                  <a:cubicBezTo>
                    <a:pt x="1599" y="107"/>
                    <a:pt x="1599" y="107"/>
                    <a:pt x="1599" y="107"/>
                  </a:cubicBezTo>
                  <a:cubicBezTo>
                    <a:pt x="1587" y="109"/>
                    <a:pt x="1587" y="109"/>
                    <a:pt x="1587" y="109"/>
                  </a:cubicBezTo>
                  <a:cubicBezTo>
                    <a:pt x="1587" y="116"/>
                    <a:pt x="1587" y="116"/>
                    <a:pt x="1587" y="116"/>
                  </a:cubicBezTo>
                  <a:cubicBezTo>
                    <a:pt x="1628" y="116"/>
                    <a:pt x="1628" y="116"/>
                    <a:pt x="1628" y="116"/>
                  </a:cubicBezTo>
                  <a:lnTo>
                    <a:pt x="1628" y="109"/>
                  </a:lnTo>
                  <a:close/>
                  <a:moveTo>
                    <a:pt x="1526" y="109"/>
                  </a:moveTo>
                  <a:cubicBezTo>
                    <a:pt x="1515" y="107"/>
                    <a:pt x="1515" y="107"/>
                    <a:pt x="1515" y="107"/>
                  </a:cubicBezTo>
                  <a:cubicBezTo>
                    <a:pt x="1515" y="61"/>
                    <a:pt x="1515" y="61"/>
                    <a:pt x="1515" y="61"/>
                  </a:cubicBezTo>
                  <a:cubicBezTo>
                    <a:pt x="1553" y="116"/>
                    <a:pt x="1553" y="116"/>
                    <a:pt x="1553" y="116"/>
                  </a:cubicBezTo>
                  <a:cubicBezTo>
                    <a:pt x="1567" y="116"/>
                    <a:pt x="1567" y="116"/>
                    <a:pt x="1567" y="116"/>
                  </a:cubicBezTo>
                  <a:cubicBezTo>
                    <a:pt x="1567" y="48"/>
                    <a:pt x="1567" y="48"/>
                    <a:pt x="1567" y="48"/>
                  </a:cubicBezTo>
                  <a:cubicBezTo>
                    <a:pt x="1578" y="46"/>
                    <a:pt x="1578" y="46"/>
                    <a:pt x="1578" y="46"/>
                  </a:cubicBezTo>
                  <a:cubicBezTo>
                    <a:pt x="1578" y="39"/>
                    <a:pt x="1578" y="39"/>
                    <a:pt x="1578" y="39"/>
                  </a:cubicBezTo>
                  <a:cubicBezTo>
                    <a:pt x="1544" y="39"/>
                    <a:pt x="1544" y="39"/>
                    <a:pt x="1544" y="39"/>
                  </a:cubicBezTo>
                  <a:cubicBezTo>
                    <a:pt x="1544" y="46"/>
                    <a:pt x="1544" y="46"/>
                    <a:pt x="1544" y="46"/>
                  </a:cubicBezTo>
                  <a:cubicBezTo>
                    <a:pt x="1556" y="48"/>
                    <a:pt x="1556" y="48"/>
                    <a:pt x="1556" y="48"/>
                  </a:cubicBezTo>
                  <a:cubicBezTo>
                    <a:pt x="1556" y="91"/>
                    <a:pt x="1556" y="91"/>
                    <a:pt x="1556" y="91"/>
                  </a:cubicBezTo>
                  <a:cubicBezTo>
                    <a:pt x="1518" y="39"/>
                    <a:pt x="1518" y="39"/>
                    <a:pt x="1518" y="39"/>
                  </a:cubicBezTo>
                  <a:cubicBezTo>
                    <a:pt x="1492" y="39"/>
                    <a:pt x="1492" y="39"/>
                    <a:pt x="1492" y="39"/>
                  </a:cubicBezTo>
                  <a:cubicBezTo>
                    <a:pt x="1492" y="46"/>
                    <a:pt x="1492" y="46"/>
                    <a:pt x="1492" y="46"/>
                  </a:cubicBezTo>
                  <a:cubicBezTo>
                    <a:pt x="1503" y="48"/>
                    <a:pt x="1503" y="48"/>
                    <a:pt x="1503" y="48"/>
                  </a:cubicBezTo>
                  <a:cubicBezTo>
                    <a:pt x="1503" y="107"/>
                    <a:pt x="1503" y="107"/>
                    <a:pt x="1503" y="107"/>
                  </a:cubicBezTo>
                  <a:cubicBezTo>
                    <a:pt x="1492" y="109"/>
                    <a:pt x="1492" y="109"/>
                    <a:pt x="1492" y="109"/>
                  </a:cubicBezTo>
                  <a:cubicBezTo>
                    <a:pt x="1492" y="116"/>
                    <a:pt x="1492" y="116"/>
                    <a:pt x="1492" y="116"/>
                  </a:cubicBezTo>
                  <a:cubicBezTo>
                    <a:pt x="1526" y="116"/>
                    <a:pt x="1526" y="116"/>
                    <a:pt x="1526" y="116"/>
                  </a:cubicBezTo>
                  <a:lnTo>
                    <a:pt x="1526" y="109"/>
                  </a:lnTo>
                  <a:close/>
                  <a:moveTo>
                    <a:pt x="1400" y="76"/>
                  </a:moveTo>
                  <a:cubicBezTo>
                    <a:pt x="1400" y="86"/>
                    <a:pt x="1399" y="99"/>
                    <a:pt x="1407" y="107"/>
                  </a:cubicBezTo>
                  <a:cubicBezTo>
                    <a:pt x="1414" y="114"/>
                    <a:pt x="1424" y="117"/>
                    <a:pt x="1438" y="117"/>
                  </a:cubicBezTo>
                  <a:cubicBezTo>
                    <a:pt x="1451" y="117"/>
                    <a:pt x="1461" y="115"/>
                    <a:pt x="1466" y="109"/>
                  </a:cubicBezTo>
                  <a:cubicBezTo>
                    <a:pt x="1474" y="101"/>
                    <a:pt x="1475" y="94"/>
                    <a:pt x="1475" y="77"/>
                  </a:cubicBezTo>
                  <a:cubicBezTo>
                    <a:pt x="1475" y="27"/>
                    <a:pt x="1475" y="27"/>
                    <a:pt x="1475" y="27"/>
                  </a:cubicBezTo>
                  <a:cubicBezTo>
                    <a:pt x="1487" y="26"/>
                    <a:pt x="1487" y="26"/>
                    <a:pt x="1487" y="26"/>
                  </a:cubicBezTo>
                  <a:cubicBezTo>
                    <a:pt x="1487" y="18"/>
                    <a:pt x="1487" y="18"/>
                    <a:pt x="1487" y="18"/>
                  </a:cubicBezTo>
                  <a:cubicBezTo>
                    <a:pt x="1452" y="18"/>
                    <a:pt x="1452" y="18"/>
                    <a:pt x="1452" y="18"/>
                  </a:cubicBezTo>
                  <a:cubicBezTo>
                    <a:pt x="1452" y="26"/>
                    <a:pt x="1452" y="26"/>
                    <a:pt x="1452" y="26"/>
                  </a:cubicBezTo>
                  <a:cubicBezTo>
                    <a:pt x="1463" y="27"/>
                    <a:pt x="1463" y="27"/>
                    <a:pt x="1463" y="27"/>
                  </a:cubicBezTo>
                  <a:cubicBezTo>
                    <a:pt x="1463" y="84"/>
                    <a:pt x="1463" y="84"/>
                    <a:pt x="1463" y="84"/>
                  </a:cubicBezTo>
                  <a:cubicBezTo>
                    <a:pt x="1463" y="92"/>
                    <a:pt x="1461" y="97"/>
                    <a:pt x="1458" y="101"/>
                  </a:cubicBezTo>
                  <a:cubicBezTo>
                    <a:pt x="1454" y="105"/>
                    <a:pt x="1448" y="107"/>
                    <a:pt x="1441" y="107"/>
                  </a:cubicBezTo>
                  <a:cubicBezTo>
                    <a:pt x="1427" y="107"/>
                    <a:pt x="1418" y="100"/>
                    <a:pt x="1418" y="84"/>
                  </a:cubicBezTo>
                  <a:cubicBezTo>
                    <a:pt x="1418" y="27"/>
                    <a:pt x="1418" y="27"/>
                    <a:pt x="1418" y="27"/>
                  </a:cubicBezTo>
                  <a:cubicBezTo>
                    <a:pt x="1430" y="26"/>
                    <a:pt x="1430" y="26"/>
                    <a:pt x="1430" y="26"/>
                  </a:cubicBezTo>
                  <a:cubicBezTo>
                    <a:pt x="1430" y="18"/>
                    <a:pt x="1430" y="18"/>
                    <a:pt x="1430" y="18"/>
                  </a:cubicBezTo>
                  <a:cubicBezTo>
                    <a:pt x="1388" y="18"/>
                    <a:pt x="1388" y="18"/>
                    <a:pt x="1388" y="18"/>
                  </a:cubicBezTo>
                  <a:cubicBezTo>
                    <a:pt x="1388" y="26"/>
                    <a:pt x="1388" y="26"/>
                    <a:pt x="1388" y="26"/>
                  </a:cubicBezTo>
                  <a:cubicBezTo>
                    <a:pt x="1400" y="27"/>
                    <a:pt x="1400" y="27"/>
                    <a:pt x="1400" y="27"/>
                  </a:cubicBezTo>
                  <a:lnTo>
                    <a:pt x="1400" y="76"/>
                  </a:lnTo>
                  <a:close/>
                  <a:moveTo>
                    <a:pt x="1671" y="116"/>
                  </a:moveTo>
                  <a:cubicBezTo>
                    <a:pt x="1687" y="116"/>
                    <a:pt x="1687" y="116"/>
                    <a:pt x="1687" y="116"/>
                  </a:cubicBezTo>
                  <a:cubicBezTo>
                    <a:pt x="1713" y="48"/>
                    <a:pt x="1713" y="48"/>
                    <a:pt x="1713" y="48"/>
                  </a:cubicBezTo>
                  <a:cubicBezTo>
                    <a:pt x="1724" y="46"/>
                    <a:pt x="1724" y="46"/>
                    <a:pt x="1724" y="46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690" y="39"/>
                    <a:pt x="1690" y="39"/>
                    <a:pt x="1690" y="39"/>
                  </a:cubicBezTo>
                  <a:cubicBezTo>
                    <a:pt x="1690" y="46"/>
                    <a:pt x="1690" y="46"/>
                    <a:pt x="1690" y="46"/>
                  </a:cubicBezTo>
                  <a:cubicBezTo>
                    <a:pt x="1701" y="48"/>
                    <a:pt x="1701" y="48"/>
                    <a:pt x="1701" y="48"/>
                  </a:cubicBezTo>
                  <a:cubicBezTo>
                    <a:pt x="1682" y="100"/>
                    <a:pt x="1682" y="100"/>
                    <a:pt x="1682" y="100"/>
                  </a:cubicBezTo>
                  <a:cubicBezTo>
                    <a:pt x="1663" y="48"/>
                    <a:pt x="1663" y="48"/>
                    <a:pt x="1663" y="48"/>
                  </a:cubicBezTo>
                  <a:cubicBezTo>
                    <a:pt x="1674" y="46"/>
                    <a:pt x="1674" y="46"/>
                    <a:pt x="1674" y="46"/>
                  </a:cubicBezTo>
                  <a:cubicBezTo>
                    <a:pt x="1674" y="39"/>
                    <a:pt x="1674" y="39"/>
                    <a:pt x="1674" y="39"/>
                  </a:cubicBezTo>
                  <a:cubicBezTo>
                    <a:pt x="1634" y="39"/>
                    <a:pt x="1634" y="39"/>
                    <a:pt x="1634" y="39"/>
                  </a:cubicBezTo>
                  <a:cubicBezTo>
                    <a:pt x="1634" y="46"/>
                    <a:pt x="1634" y="46"/>
                    <a:pt x="1634" y="46"/>
                  </a:cubicBezTo>
                  <a:cubicBezTo>
                    <a:pt x="1645" y="48"/>
                    <a:pt x="1645" y="48"/>
                    <a:pt x="1645" y="48"/>
                  </a:cubicBezTo>
                  <a:lnTo>
                    <a:pt x="1671" y="116"/>
                  </a:lnTo>
                  <a:close/>
                  <a:moveTo>
                    <a:pt x="2003" y="109"/>
                  </a:moveTo>
                  <a:cubicBezTo>
                    <a:pt x="1992" y="107"/>
                    <a:pt x="1992" y="107"/>
                    <a:pt x="1992" y="107"/>
                  </a:cubicBezTo>
                  <a:cubicBezTo>
                    <a:pt x="1992" y="48"/>
                    <a:pt x="1992" y="48"/>
                    <a:pt x="1992" y="48"/>
                  </a:cubicBezTo>
                  <a:cubicBezTo>
                    <a:pt x="2003" y="46"/>
                    <a:pt x="2003" y="46"/>
                    <a:pt x="2003" y="46"/>
                  </a:cubicBezTo>
                  <a:cubicBezTo>
                    <a:pt x="2003" y="39"/>
                    <a:pt x="2003" y="39"/>
                    <a:pt x="2003" y="39"/>
                  </a:cubicBezTo>
                  <a:cubicBezTo>
                    <a:pt x="1963" y="39"/>
                    <a:pt x="1963" y="39"/>
                    <a:pt x="1963" y="39"/>
                  </a:cubicBezTo>
                  <a:cubicBezTo>
                    <a:pt x="1963" y="46"/>
                    <a:pt x="1963" y="46"/>
                    <a:pt x="1963" y="46"/>
                  </a:cubicBezTo>
                  <a:cubicBezTo>
                    <a:pt x="1974" y="48"/>
                    <a:pt x="1974" y="48"/>
                    <a:pt x="1974" y="48"/>
                  </a:cubicBezTo>
                  <a:cubicBezTo>
                    <a:pt x="1974" y="107"/>
                    <a:pt x="1974" y="107"/>
                    <a:pt x="1974" y="107"/>
                  </a:cubicBezTo>
                  <a:cubicBezTo>
                    <a:pt x="1963" y="109"/>
                    <a:pt x="1963" y="109"/>
                    <a:pt x="1963" y="109"/>
                  </a:cubicBezTo>
                  <a:cubicBezTo>
                    <a:pt x="1963" y="116"/>
                    <a:pt x="1963" y="116"/>
                    <a:pt x="1963" y="116"/>
                  </a:cubicBezTo>
                  <a:cubicBezTo>
                    <a:pt x="2003" y="116"/>
                    <a:pt x="2003" y="116"/>
                    <a:pt x="2003" y="116"/>
                  </a:cubicBezTo>
                  <a:lnTo>
                    <a:pt x="2003" y="109"/>
                  </a:lnTo>
                  <a:close/>
                  <a:moveTo>
                    <a:pt x="2021" y="49"/>
                  </a:moveTo>
                  <a:cubicBezTo>
                    <a:pt x="2037" y="49"/>
                    <a:pt x="2037" y="49"/>
                    <a:pt x="2037" y="49"/>
                  </a:cubicBezTo>
                  <a:cubicBezTo>
                    <a:pt x="2037" y="107"/>
                    <a:pt x="2037" y="107"/>
                    <a:pt x="2037" y="107"/>
                  </a:cubicBezTo>
                  <a:cubicBezTo>
                    <a:pt x="2026" y="109"/>
                    <a:pt x="2026" y="109"/>
                    <a:pt x="2026" y="109"/>
                  </a:cubicBezTo>
                  <a:cubicBezTo>
                    <a:pt x="2026" y="116"/>
                    <a:pt x="2026" y="116"/>
                    <a:pt x="2026" y="116"/>
                  </a:cubicBezTo>
                  <a:cubicBezTo>
                    <a:pt x="2066" y="116"/>
                    <a:pt x="2066" y="116"/>
                    <a:pt x="2066" y="116"/>
                  </a:cubicBezTo>
                  <a:cubicBezTo>
                    <a:pt x="2066" y="109"/>
                    <a:pt x="2066" y="109"/>
                    <a:pt x="2066" y="109"/>
                  </a:cubicBezTo>
                  <a:cubicBezTo>
                    <a:pt x="2055" y="107"/>
                    <a:pt x="2055" y="107"/>
                    <a:pt x="2055" y="107"/>
                  </a:cubicBezTo>
                  <a:cubicBezTo>
                    <a:pt x="2055" y="49"/>
                    <a:pt x="2055" y="49"/>
                    <a:pt x="2055" y="49"/>
                  </a:cubicBezTo>
                  <a:cubicBezTo>
                    <a:pt x="2072" y="49"/>
                    <a:pt x="2072" y="49"/>
                    <a:pt x="2072" y="49"/>
                  </a:cubicBezTo>
                  <a:cubicBezTo>
                    <a:pt x="2074" y="60"/>
                    <a:pt x="2074" y="60"/>
                    <a:pt x="2074" y="60"/>
                  </a:cubicBezTo>
                  <a:cubicBezTo>
                    <a:pt x="2081" y="60"/>
                    <a:pt x="2081" y="60"/>
                    <a:pt x="2081" y="60"/>
                  </a:cubicBezTo>
                  <a:cubicBezTo>
                    <a:pt x="2081" y="39"/>
                    <a:pt x="2081" y="39"/>
                    <a:pt x="2081" y="39"/>
                  </a:cubicBezTo>
                  <a:cubicBezTo>
                    <a:pt x="2011" y="39"/>
                    <a:pt x="2011" y="39"/>
                    <a:pt x="2011" y="39"/>
                  </a:cubicBezTo>
                  <a:cubicBezTo>
                    <a:pt x="2011" y="60"/>
                    <a:pt x="2011" y="60"/>
                    <a:pt x="2011" y="60"/>
                  </a:cubicBezTo>
                  <a:cubicBezTo>
                    <a:pt x="2019" y="60"/>
                    <a:pt x="2019" y="60"/>
                    <a:pt x="2019" y="60"/>
                  </a:cubicBezTo>
                  <a:lnTo>
                    <a:pt x="2021" y="49"/>
                  </a:lnTo>
                  <a:close/>
                  <a:moveTo>
                    <a:pt x="2122" y="82"/>
                  </a:moveTo>
                  <a:cubicBezTo>
                    <a:pt x="2122" y="107"/>
                    <a:pt x="2122" y="107"/>
                    <a:pt x="2122" y="107"/>
                  </a:cubicBezTo>
                  <a:cubicBezTo>
                    <a:pt x="2110" y="109"/>
                    <a:pt x="2110" y="109"/>
                    <a:pt x="2110" y="109"/>
                  </a:cubicBezTo>
                  <a:cubicBezTo>
                    <a:pt x="2110" y="116"/>
                    <a:pt x="2110" y="116"/>
                    <a:pt x="2110" y="116"/>
                  </a:cubicBezTo>
                  <a:cubicBezTo>
                    <a:pt x="2150" y="116"/>
                    <a:pt x="2150" y="116"/>
                    <a:pt x="2150" y="116"/>
                  </a:cubicBezTo>
                  <a:cubicBezTo>
                    <a:pt x="2150" y="109"/>
                    <a:pt x="2150" y="109"/>
                    <a:pt x="2150" y="109"/>
                  </a:cubicBezTo>
                  <a:cubicBezTo>
                    <a:pt x="2139" y="107"/>
                    <a:pt x="2139" y="107"/>
                    <a:pt x="2139" y="107"/>
                  </a:cubicBezTo>
                  <a:cubicBezTo>
                    <a:pt x="2139" y="82"/>
                    <a:pt x="2139" y="82"/>
                    <a:pt x="2139" y="82"/>
                  </a:cubicBezTo>
                  <a:cubicBezTo>
                    <a:pt x="2161" y="48"/>
                    <a:pt x="2161" y="48"/>
                    <a:pt x="2161" y="48"/>
                  </a:cubicBezTo>
                  <a:cubicBezTo>
                    <a:pt x="2172" y="46"/>
                    <a:pt x="2172" y="46"/>
                    <a:pt x="2172" y="46"/>
                  </a:cubicBezTo>
                  <a:cubicBezTo>
                    <a:pt x="2172" y="39"/>
                    <a:pt x="2172" y="39"/>
                    <a:pt x="2172" y="39"/>
                  </a:cubicBezTo>
                  <a:cubicBezTo>
                    <a:pt x="2138" y="39"/>
                    <a:pt x="2138" y="39"/>
                    <a:pt x="2138" y="39"/>
                  </a:cubicBezTo>
                  <a:cubicBezTo>
                    <a:pt x="2138" y="46"/>
                    <a:pt x="2138" y="46"/>
                    <a:pt x="2138" y="46"/>
                  </a:cubicBezTo>
                  <a:cubicBezTo>
                    <a:pt x="2149" y="48"/>
                    <a:pt x="2149" y="48"/>
                    <a:pt x="2149" y="48"/>
                  </a:cubicBezTo>
                  <a:cubicBezTo>
                    <a:pt x="2133" y="73"/>
                    <a:pt x="2133" y="73"/>
                    <a:pt x="2133" y="73"/>
                  </a:cubicBezTo>
                  <a:cubicBezTo>
                    <a:pt x="2118" y="48"/>
                    <a:pt x="2118" y="48"/>
                    <a:pt x="2118" y="48"/>
                  </a:cubicBezTo>
                  <a:cubicBezTo>
                    <a:pt x="2129" y="46"/>
                    <a:pt x="2129" y="46"/>
                    <a:pt x="2129" y="46"/>
                  </a:cubicBezTo>
                  <a:cubicBezTo>
                    <a:pt x="2129" y="39"/>
                    <a:pt x="2129" y="39"/>
                    <a:pt x="2129" y="39"/>
                  </a:cubicBezTo>
                  <a:cubicBezTo>
                    <a:pt x="2088" y="39"/>
                    <a:pt x="2088" y="39"/>
                    <a:pt x="2088" y="39"/>
                  </a:cubicBezTo>
                  <a:cubicBezTo>
                    <a:pt x="2088" y="46"/>
                    <a:pt x="2088" y="46"/>
                    <a:pt x="2088" y="46"/>
                  </a:cubicBezTo>
                  <a:cubicBezTo>
                    <a:pt x="2099" y="48"/>
                    <a:pt x="2099" y="48"/>
                    <a:pt x="2099" y="48"/>
                  </a:cubicBezTo>
                  <a:lnTo>
                    <a:pt x="2122" y="82"/>
                  </a:lnTo>
                  <a:close/>
                  <a:moveTo>
                    <a:pt x="1953" y="94"/>
                  </a:moveTo>
                  <a:cubicBezTo>
                    <a:pt x="1953" y="63"/>
                    <a:pt x="1913" y="75"/>
                    <a:pt x="1913" y="58"/>
                  </a:cubicBezTo>
                  <a:cubicBezTo>
                    <a:pt x="1913" y="50"/>
                    <a:pt x="1919" y="48"/>
                    <a:pt x="1926" y="48"/>
                  </a:cubicBezTo>
                  <a:cubicBezTo>
                    <a:pt x="1933" y="48"/>
                    <a:pt x="1939" y="49"/>
                    <a:pt x="1939" y="49"/>
                  </a:cubicBezTo>
                  <a:cubicBezTo>
                    <a:pt x="1941" y="61"/>
                    <a:pt x="1941" y="61"/>
                    <a:pt x="1941" y="61"/>
                  </a:cubicBezTo>
                  <a:cubicBezTo>
                    <a:pt x="1949" y="61"/>
                    <a:pt x="1949" y="61"/>
                    <a:pt x="1949" y="61"/>
                  </a:cubicBezTo>
                  <a:cubicBezTo>
                    <a:pt x="1949" y="42"/>
                    <a:pt x="1949" y="42"/>
                    <a:pt x="1949" y="42"/>
                  </a:cubicBezTo>
                  <a:cubicBezTo>
                    <a:pt x="1941" y="40"/>
                    <a:pt x="1933" y="38"/>
                    <a:pt x="1924" y="38"/>
                  </a:cubicBezTo>
                  <a:cubicBezTo>
                    <a:pt x="1905" y="38"/>
                    <a:pt x="1896" y="46"/>
                    <a:pt x="1896" y="60"/>
                  </a:cubicBezTo>
                  <a:cubicBezTo>
                    <a:pt x="1896" y="79"/>
                    <a:pt x="1914" y="81"/>
                    <a:pt x="1928" y="86"/>
                  </a:cubicBezTo>
                  <a:cubicBezTo>
                    <a:pt x="1933" y="87"/>
                    <a:pt x="1936" y="89"/>
                    <a:pt x="1936" y="95"/>
                  </a:cubicBezTo>
                  <a:cubicBezTo>
                    <a:pt x="1936" y="104"/>
                    <a:pt x="1929" y="107"/>
                    <a:pt x="1920" y="107"/>
                  </a:cubicBezTo>
                  <a:cubicBezTo>
                    <a:pt x="1911" y="107"/>
                    <a:pt x="1905" y="105"/>
                    <a:pt x="1905" y="105"/>
                  </a:cubicBezTo>
                  <a:cubicBezTo>
                    <a:pt x="1903" y="92"/>
                    <a:pt x="1903" y="92"/>
                    <a:pt x="1903" y="92"/>
                  </a:cubicBezTo>
                  <a:cubicBezTo>
                    <a:pt x="1896" y="92"/>
                    <a:pt x="1896" y="92"/>
                    <a:pt x="1896" y="92"/>
                  </a:cubicBezTo>
                  <a:cubicBezTo>
                    <a:pt x="1896" y="112"/>
                    <a:pt x="1896" y="112"/>
                    <a:pt x="1896" y="112"/>
                  </a:cubicBezTo>
                  <a:cubicBezTo>
                    <a:pt x="1896" y="112"/>
                    <a:pt x="1908" y="117"/>
                    <a:pt x="1922" y="117"/>
                  </a:cubicBezTo>
                  <a:cubicBezTo>
                    <a:pt x="1942" y="117"/>
                    <a:pt x="1953" y="109"/>
                    <a:pt x="1953" y="94"/>
                  </a:cubicBezTo>
                  <a:close/>
                  <a:moveTo>
                    <a:pt x="1847" y="109"/>
                  </a:moveTo>
                  <a:cubicBezTo>
                    <a:pt x="1836" y="107"/>
                    <a:pt x="1836" y="107"/>
                    <a:pt x="1836" y="107"/>
                  </a:cubicBezTo>
                  <a:cubicBezTo>
                    <a:pt x="1836" y="81"/>
                    <a:pt x="1836" y="81"/>
                    <a:pt x="1836" y="81"/>
                  </a:cubicBezTo>
                  <a:cubicBezTo>
                    <a:pt x="1838" y="81"/>
                    <a:pt x="1838" y="81"/>
                    <a:pt x="1838" y="81"/>
                  </a:cubicBezTo>
                  <a:cubicBezTo>
                    <a:pt x="1848" y="81"/>
                    <a:pt x="1851" y="86"/>
                    <a:pt x="1855" y="98"/>
                  </a:cubicBezTo>
                  <a:cubicBezTo>
                    <a:pt x="1863" y="116"/>
                    <a:pt x="1863" y="116"/>
                    <a:pt x="1863" y="116"/>
                  </a:cubicBezTo>
                  <a:cubicBezTo>
                    <a:pt x="1887" y="116"/>
                    <a:pt x="1887" y="116"/>
                    <a:pt x="1887" y="116"/>
                  </a:cubicBezTo>
                  <a:cubicBezTo>
                    <a:pt x="1887" y="109"/>
                    <a:pt x="1887" y="109"/>
                    <a:pt x="1887" y="109"/>
                  </a:cubicBezTo>
                  <a:cubicBezTo>
                    <a:pt x="1876" y="107"/>
                    <a:pt x="1876" y="107"/>
                    <a:pt x="1876" y="107"/>
                  </a:cubicBezTo>
                  <a:cubicBezTo>
                    <a:pt x="1873" y="99"/>
                    <a:pt x="1868" y="84"/>
                    <a:pt x="1861" y="79"/>
                  </a:cubicBezTo>
                  <a:cubicBezTo>
                    <a:pt x="1869" y="76"/>
                    <a:pt x="1875" y="68"/>
                    <a:pt x="1875" y="59"/>
                  </a:cubicBezTo>
                  <a:cubicBezTo>
                    <a:pt x="1875" y="54"/>
                    <a:pt x="1873" y="49"/>
                    <a:pt x="1869" y="45"/>
                  </a:cubicBezTo>
                  <a:cubicBezTo>
                    <a:pt x="1863" y="40"/>
                    <a:pt x="1854" y="39"/>
                    <a:pt x="1846" y="39"/>
                  </a:cubicBezTo>
                  <a:cubicBezTo>
                    <a:pt x="1807" y="39"/>
                    <a:pt x="1807" y="39"/>
                    <a:pt x="1807" y="39"/>
                  </a:cubicBezTo>
                  <a:cubicBezTo>
                    <a:pt x="1807" y="46"/>
                    <a:pt x="1807" y="46"/>
                    <a:pt x="1807" y="46"/>
                  </a:cubicBezTo>
                  <a:cubicBezTo>
                    <a:pt x="1819" y="48"/>
                    <a:pt x="1819" y="48"/>
                    <a:pt x="1819" y="48"/>
                  </a:cubicBezTo>
                  <a:cubicBezTo>
                    <a:pt x="1819" y="107"/>
                    <a:pt x="1819" y="107"/>
                    <a:pt x="1819" y="107"/>
                  </a:cubicBezTo>
                  <a:cubicBezTo>
                    <a:pt x="1807" y="109"/>
                    <a:pt x="1807" y="109"/>
                    <a:pt x="1807" y="109"/>
                  </a:cubicBezTo>
                  <a:cubicBezTo>
                    <a:pt x="1807" y="116"/>
                    <a:pt x="1807" y="116"/>
                    <a:pt x="1807" y="116"/>
                  </a:cubicBezTo>
                  <a:cubicBezTo>
                    <a:pt x="1847" y="116"/>
                    <a:pt x="1847" y="116"/>
                    <a:pt x="1847" y="116"/>
                  </a:cubicBezTo>
                  <a:lnTo>
                    <a:pt x="1847" y="109"/>
                  </a:lnTo>
                  <a:close/>
                  <a:moveTo>
                    <a:pt x="1836" y="48"/>
                  </a:moveTo>
                  <a:cubicBezTo>
                    <a:pt x="1841" y="48"/>
                    <a:pt x="1841" y="48"/>
                    <a:pt x="1841" y="48"/>
                  </a:cubicBezTo>
                  <a:cubicBezTo>
                    <a:pt x="1845" y="48"/>
                    <a:pt x="1852" y="48"/>
                    <a:pt x="1854" y="51"/>
                  </a:cubicBezTo>
                  <a:cubicBezTo>
                    <a:pt x="1857" y="53"/>
                    <a:pt x="1858" y="57"/>
                    <a:pt x="1858" y="60"/>
                  </a:cubicBezTo>
                  <a:cubicBezTo>
                    <a:pt x="1858" y="63"/>
                    <a:pt x="1857" y="66"/>
                    <a:pt x="1855" y="69"/>
                  </a:cubicBezTo>
                  <a:cubicBezTo>
                    <a:pt x="1851" y="73"/>
                    <a:pt x="1844" y="73"/>
                    <a:pt x="1839" y="73"/>
                  </a:cubicBezTo>
                  <a:cubicBezTo>
                    <a:pt x="1836" y="73"/>
                    <a:pt x="1836" y="73"/>
                    <a:pt x="1836" y="73"/>
                  </a:cubicBezTo>
                  <a:lnTo>
                    <a:pt x="1836" y="48"/>
                  </a:lnTo>
                  <a:close/>
                  <a:moveTo>
                    <a:pt x="1796" y="95"/>
                  </a:moveTo>
                  <a:cubicBezTo>
                    <a:pt x="1788" y="95"/>
                    <a:pt x="1788" y="95"/>
                    <a:pt x="1788" y="95"/>
                  </a:cubicBezTo>
                  <a:cubicBezTo>
                    <a:pt x="1787" y="106"/>
                    <a:pt x="1787" y="106"/>
                    <a:pt x="1787" y="106"/>
                  </a:cubicBezTo>
                  <a:cubicBezTo>
                    <a:pt x="1759" y="106"/>
                    <a:pt x="1759" y="106"/>
                    <a:pt x="1759" y="106"/>
                  </a:cubicBezTo>
                  <a:cubicBezTo>
                    <a:pt x="1759" y="80"/>
                    <a:pt x="1759" y="80"/>
                    <a:pt x="1759" y="80"/>
                  </a:cubicBezTo>
                  <a:cubicBezTo>
                    <a:pt x="1776" y="80"/>
                    <a:pt x="1776" y="80"/>
                    <a:pt x="1776" y="80"/>
                  </a:cubicBezTo>
                  <a:cubicBezTo>
                    <a:pt x="1778" y="90"/>
                    <a:pt x="1778" y="90"/>
                    <a:pt x="1778" y="90"/>
                  </a:cubicBezTo>
                  <a:cubicBezTo>
                    <a:pt x="1784" y="90"/>
                    <a:pt x="1784" y="90"/>
                    <a:pt x="1784" y="90"/>
                  </a:cubicBezTo>
                  <a:cubicBezTo>
                    <a:pt x="1784" y="61"/>
                    <a:pt x="1784" y="61"/>
                    <a:pt x="1784" y="61"/>
                  </a:cubicBezTo>
                  <a:cubicBezTo>
                    <a:pt x="1778" y="61"/>
                    <a:pt x="1778" y="61"/>
                    <a:pt x="1778" y="61"/>
                  </a:cubicBezTo>
                  <a:cubicBezTo>
                    <a:pt x="1776" y="71"/>
                    <a:pt x="1776" y="71"/>
                    <a:pt x="1776" y="71"/>
                  </a:cubicBezTo>
                  <a:cubicBezTo>
                    <a:pt x="1759" y="71"/>
                    <a:pt x="1759" y="71"/>
                    <a:pt x="1759" y="71"/>
                  </a:cubicBezTo>
                  <a:cubicBezTo>
                    <a:pt x="1759" y="49"/>
                    <a:pt x="1759" y="49"/>
                    <a:pt x="1759" y="49"/>
                  </a:cubicBezTo>
                  <a:cubicBezTo>
                    <a:pt x="1787" y="49"/>
                    <a:pt x="1787" y="49"/>
                    <a:pt x="1787" y="49"/>
                  </a:cubicBezTo>
                  <a:cubicBezTo>
                    <a:pt x="1788" y="59"/>
                    <a:pt x="1788" y="59"/>
                    <a:pt x="1788" y="59"/>
                  </a:cubicBezTo>
                  <a:cubicBezTo>
                    <a:pt x="1796" y="59"/>
                    <a:pt x="1796" y="59"/>
                    <a:pt x="1796" y="59"/>
                  </a:cubicBezTo>
                  <a:cubicBezTo>
                    <a:pt x="1796" y="39"/>
                    <a:pt x="1796" y="39"/>
                    <a:pt x="1796" y="39"/>
                  </a:cubicBezTo>
                  <a:cubicBezTo>
                    <a:pt x="1730" y="39"/>
                    <a:pt x="1730" y="39"/>
                    <a:pt x="1730" y="39"/>
                  </a:cubicBezTo>
                  <a:cubicBezTo>
                    <a:pt x="1730" y="46"/>
                    <a:pt x="1730" y="46"/>
                    <a:pt x="1730" y="46"/>
                  </a:cubicBezTo>
                  <a:cubicBezTo>
                    <a:pt x="1741" y="48"/>
                    <a:pt x="1741" y="48"/>
                    <a:pt x="1741" y="48"/>
                  </a:cubicBezTo>
                  <a:cubicBezTo>
                    <a:pt x="1741" y="107"/>
                    <a:pt x="1741" y="107"/>
                    <a:pt x="1741" y="107"/>
                  </a:cubicBezTo>
                  <a:cubicBezTo>
                    <a:pt x="1730" y="109"/>
                    <a:pt x="1730" y="109"/>
                    <a:pt x="1730" y="109"/>
                  </a:cubicBezTo>
                  <a:cubicBezTo>
                    <a:pt x="1730" y="116"/>
                    <a:pt x="1730" y="116"/>
                    <a:pt x="1730" y="116"/>
                  </a:cubicBezTo>
                  <a:cubicBezTo>
                    <a:pt x="1796" y="116"/>
                    <a:pt x="1796" y="116"/>
                    <a:pt x="1796" y="116"/>
                  </a:cubicBezTo>
                  <a:lnTo>
                    <a:pt x="1796" y="95"/>
                  </a:lnTo>
                  <a:close/>
                  <a:moveTo>
                    <a:pt x="1342" y="95"/>
                  </a:moveTo>
                  <a:cubicBezTo>
                    <a:pt x="1335" y="95"/>
                    <a:pt x="1335" y="95"/>
                    <a:pt x="1335" y="95"/>
                  </a:cubicBezTo>
                  <a:cubicBezTo>
                    <a:pt x="1333" y="106"/>
                    <a:pt x="1333" y="106"/>
                    <a:pt x="1333" y="106"/>
                  </a:cubicBezTo>
                  <a:cubicBezTo>
                    <a:pt x="1305" y="106"/>
                    <a:pt x="1305" y="106"/>
                    <a:pt x="1305" y="106"/>
                  </a:cubicBezTo>
                  <a:cubicBezTo>
                    <a:pt x="1305" y="80"/>
                    <a:pt x="1305" y="80"/>
                    <a:pt x="1305" y="80"/>
                  </a:cubicBezTo>
                  <a:cubicBezTo>
                    <a:pt x="1323" y="80"/>
                    <a:pt x="1323" y="80"/>
                    <a:pt x="1323" y="80"/>
                  </a:cubicBezTo>
                  <a:cubicBezTo>
                    <a:pt x="1325" y="90"/>
                    <a:pt x="1325" y="90"/>
                    <a:pt x="1325" y="90"/>
                  </a:cubicBezTo>
                  <a:cubicBezTo>
                    <a:pt x="1331" y="90"/>
                    <a:pt x="1331" y="90"/>
                    <a:pt x="1331" y="90"/>
                  </a:cubicBezTo>
                  <a:cubicBezTo>
                    <a:pt x="1331" y="61"/>
                    <a:pt x="1331" y="61"/>
                    <a:pt x="1331" y="61"/>
                  </a:cubicBezTo>
                  <a:cubicBezTo>
                    <a:pt x="1325" y="61"/>
                    <a:pt x="1325" y="61"/>
                    <a:pt x="1325" y="61"/>
                  </a:cubicBezTo>
                  <a:cubicBezTo>
                    <a:pt x="1323" y="71"/>
                    <a:pt x="1323" y="71"/>
                    <a:pt x="1323" y="71"/>
                  </a:cubicBezTo>
                  <a:cubicBezTo>
                    <a:pt x="1305" y="71"/>
                    <a:pt x="1305" y="71"/>
                    <a:pt x="1305" y="71"/>
                  </a:cubicBezTo>
                  <a:cubicBezTo>
                    <a:pt x="1305" y="49"/>
                    <a:pt x="1305" y="49"/>
                    <a:pt x="1305" y="49"/>
                  </a:cubicBezTo>
                  <a:cubicBezTo>
                    <a:pt x="1333" y="49"/>
                    <a:pt x="1333" y="49"/>
                    <a:pt x="1333" y="49"/>
                  </a:cubicBezTo>
                  <a:cubicBezTo>
                    <a:pt x="1335" y="59"/>
                    <a:pt x="1335" y="59"/>
                    <a:pt x="1335" y="59"/>
                  </a:cubicBezTo>
                  <a:cubicBezTo>
                    <a:pt x="1342" y="59"/>
                    <a:pt x="1342" y="59"/>
                    <a:pt x="1342" y="59"/>
                  </a:cubicBezTo>
                  <a:cubicBezTo>
                    <a:pt x="1342" y="39"/>
                    <a:pt x="1342" y="39"/>
                    <a:pt x="1342" y="39"/>
                  </a:cubicBezTo>
                  <a:cubicBezTo>
                    <a:pt x="1277" y="39"/>
                    <a:pt x="1277" y="39"/>
                    <a:pt x="1277" y="39"/>
                  </a:cubicBezTo>
                  <a:cubicBezTo>
                    <a:pt x="1277" y="46"/>
                    <a:pt x="1277" y="46"/>
                    <a:pt x="1277" y="46"/>
                  </a:cubicBezTo>
                  <a:cubicBezTo>
                    <a:pt x="1288" y="48"/>
                    <a:pt x="1288" y="48"/>
                    <a:pt x="1288" y="48"/>
                  </a:cubicBezTo>
                  <a:cubicBezTo>
                    <a:pt x="1288" y="107"/>
                    <a:pt x="1288" y="107"/>
                    <a:pt x="1288" y="107"/>
                  </a:cubicBezTo>
                  <a:cubicBezTo>
                    <a:pt x="1277" y="109"/>
                    <a:pt x="1277" y="109"/>
                    <a:pt x="1277" y="109"/>
                  </a:cubicBezTo>
                  <a:cubicBezTo>
                    <a:pt x="1277" y="116"/>
                    <a:pt x="1277" y="116"/>
                    <a:pt x="1277" y="116"/>
                  </a:cubicBezTo>
                  <a:cubicBezTo>
                    <a:pt x="1342" y="116"/>
                    <a:pt x="1342" y="116"/>
                    <a:pt x="1342" y="116"/>
                  </a:cubicBezTo>
                  <a:lnTo>
                    <a:pt x="1342" y="95"/>
                  </a:lnTo>
                  <a:close/>
                  <a:moveTo>
                    <a:pt x="566" y="95"/>
                  </a:moveTo>
                  <a:cubicBezTo>
                    <a:pt x="559" y="95"/>
                    <a:pt x="559" y="95"/>
                    <a:pt x="559" y="95"/>
                  </a:cubicBezTo>
                  <a:cubicBezTo>
                    <a:pt x="557" y="106"/>
                    <a:pt x="557" y="106"/>
                    <a:pt x="557" y="106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29" y="80"/>
                    <a:pt x="529" y="80"/>
                    <a:pt x="529" y="80"/>
                  </a:cubicBezTo>
                  <a:cubicBezTo>
                    <a:pt x="546" y="80"/>
                    <a:pt x="546" y="80"/>
                    <a:pt x="546" y="80"/>
                  </a:cubicBezTo>
                  <a:cubicBezTo>
                    <a:pt x="548" y="90"/>
                    <a:pt x="548" y="90"/>
                    <a:pt x="548" y="90"/>
                  </a:cubicBezTo>
                  <a:cubicBezTo>
                    <a:pt x="555" y="90"/>
                    <a:pt x="555" y="90"/>
                    <a:pt x="555" y="90"/>
                  </a:cubicBezTo>
                  <a:cubicBezTo>
                    <a:pt x="555" y="61"/>
                    <a:pt x="555" y="61"/>
                    <a:pt x="555" y="61"/>
                  </a:cubicBezTo>
                  <a:cubicBezTo>
                    <a:pt x="548" y="61"/>
                    <a:pt x="548" y="61"/>
                    <a:pt x="548" y="61"/>
                  </a:cubicBezTo>
                  <a:cubicBezTo>
                    <a:pt x="546" y="71"/>
                    <a:pt x="546" y="71"/>
                    <a:pt x="546" y="71"/>
                  </a:cubicBezTo>
                  <a:cubicBezTo>
                    <a:pt x="529" y="71"/>
                    <a:pt x="529" y="71"/>
                    <a:pt x="529" y="71"/>
                  </a:cubicBezTo>
                  <a:cubicBezTo>
                    <a:pt x="529" y="49"/>
                    <a:pt x="529" y="49"/>
                    <a:pt x="529" y="49"/>
                  </a:cubicBezTo>
                  <a:cubicBezTo>
                    <a:pt x="557" y="49"/>
                    <a:pt x="557" y="49"/>
                    <a:pt x="557" y="49"/>
                  </a:cubicBezTo>
                  <a:cubicBezTo>
                    <a:pt x="559" y="59"/>
                    <a:pt x="559" y="59"/>
                    <a:pt x="559" y="59"/>
                  </a:cubicBezTo>
                  <a:cubicBezTo>
                    <a:pt x="566" y="59"/>
                    <a:pt x="566" y="59"/>
                    <a:pt x="566" y="59"/>
                  </a:cubicBezTo>
                  <a:cubicBezTo>
                    <a:pt x="566" y="39"/>
                    <a:pt x="566" y="39"/>
                    <a:pt x="566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00" y="46"/>
                    <a:pt x="500" y="46"/>
                    <a:pt x="500" y="46"/>
                  </a:cubicBezTo>
                  <a:cubicBezTo>
                    <a:pt x="511" y="48"/>
                    <a:pt x="511" y="48"/>
                    <a:pt x="511" y="48"/>
                  </a:cubicBezTo>
                  <a:cubicBezTo>
                    <a:pt x="511" y="107"/>
                    <a:pt x="511" y="107"/>
                    <a:pt x="511" y="107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16"/>
                    <a:pt x="500" y="116"/>
                    <a:pt x="500" y="116"/>
                  </a:cubicBezTo>
                  <a:cubicBezTo>
                    <a:pt x="566" y="116"/>
                    <a:pt x="566" y="116"/>
                    <a:pt x="566" y="116"/>
                  </a:cubicBezTo>
                  <a:lnTo>
                    <a:pt x="566" y="95"/>
                  </a:lnTo>
                  <a:close/>
                  <a:moveTo>
                    <a:pt x="659" y="117"/>
                  </a:moveTo>
                  <a:cubicBezTo>
                    <a:pt x="689" y="117"/>
                    <a:pt x="702" y="100"/>
                    <a:pt x="702" y="67"/>
                  </a:cubicBezTo>
                  <a:cubicBezTo>
                    <a:pt x="702" y="34"/>
                    <a:pt x="689" y="16"/>
                    <a:pt x="659" y="16"/>
                  </a:cubicBezTo>
                  <a:cubicBezTo>
                    <a:pt x="629" y="16"/>
                    <a:pt x="615" y="34"/>
                    <a:pt x="615" y="67"/>
                  </a:cubicBezTo>
                  <a:cubicBezTo>
                    <a:pt x="615" y="99"/>
                    <a:pt x="628" y="117"/>
                    <a:pt x="659" y="117"/>
                  </a:cubicBezTo>
                  <a:close/>
                  <a:moveTo>
                    <a:pt x="659" y="27"/>
                  </a:moveTo>
                  <a:cubicBezTo>
                    <a:pt x="675" y="27"/>
                    <a:pt x="683" y="40"/>
                    <a:pt x="683" y="67"/>
                  </a:cubicBezTo>
                  <a:cubicBezTo>
                    <a:pt x="683" y="94"/>
                    <a:pt x="675" y="107"/>
                    <a:pt x="659" y="107"/>
                  </a:cubicBezTo>
                  <a:cubicBezTo>
                    <a:pt x="642" y="107"/>
                    <a:pt x="634" y="94"/>
                    <a:pt x="634" y="67"/>
                  </a:cubicBezTo>
                  <a:cubicBezTo>
                    <a:pt x="634" y="40"/>
                    <a:pt x="643" y="27"/>
                    <a:pt x="659" y="27"/>
                  </a:cubicBezTo>
                  <a:close/>
                  <a:moveTo>
                    <a:pt x="327" y="28"/>
                  </a:moveTo>
                  <a:cubicBezTo>
                    <a:pt x="349" y="28"/>
                    <a:pt x="349" y="28"/>
                    <a:pt x="349" y="28"/>
                  </a:cubicBezTo>
                  <a:cubicBezTo>
                    <a:pt x="349" y="106"/>
                    <a:pt x="349" y="106"/>
                    <a:pt x="349" y="106"/>
                  </a:cubicBezTo>
                  <a:cubicBezTo>
                    <a:pt x="337" y="108"/>
                    <a:pt x="337" y="108"/>
                    <a:pt x="337" y="108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79" y="116"/>
                    <a:pt x="379" y="116"/>
                    <a:pt x="379" y="116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67" y="106"/>
                    <a:pt x="367" y="106"/>
                    <a:pt x="367" y="106"/>
                  </a:cubicBezTo>
                  <a:cubicBezTo>
                    <a:pt x="367" y="28"/>
                    <a:pt x="367" y="28"/>
                    <a:pt x="367" y="28"/>
                  </a:cubicBezTo>
                  <a:cubicBezTo>
                    <a:pt x="390" y="28"/>
                    <a:pt x="390" y="28"/>
                    <a:pt x="390" y="28"/>
                  </a:cubicBezTo>
                  <a:cubicBezTo>
                    <a:pt x="391" y="40"/>
                    <a:pt x="391" y="40"/>
                    <a:pt x="391" y="40"/>
                  </a:cubicBezTo>
                  <a:cubicBezTo>
                    <a:pt x="399" y="40"/>
                    <a:pt x="399" y="40"/>
                    <a:pt x="399" y="40"/>
                  </a:cubicBezTo>
                  <a:cubicBezTo>
                    <a:pt x="399" y="18"/>
                    <a:pt x="399" y="18"/>
                    <a:pt x="399" y="18"/>
                  </a:cubicBezTo>
                  <a:cubicBezTo>
                    <a:pt x="317" y="18"/>
                    <a:pt x="317" y="18"/>
                    <a:pt x="317" y="18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25" y="40"/>
                    <a:pt x="325" y="40"/>
                    <a:pt x="325" y="40"/>
                  </a:cubicBezTo>
                  <a:lnTo>
                    <a:pt x="327" y="28"/>
                  </a:lnTo>
                  <a:close/>
                  <a:moveTo>
                    <a:pt x="750" y="109"/>
                  </a:moveTo>
                  <a:cubicBezTo>
                    <a:pt x="739" y="107"/>
                    <a:pt x="739" y="107"/>
                    <a:pt x="739" y="107"/>
                  </a:cubicBezTo>
                  <a:cubicBezTo>
                    <a:pt x="739" y="80"/>
                    <a:pt x="739" y="80"/>
                    <a:pt x="739" y="80"/>
                  </a:cubicBezTo>
                  <a:cubicBezTo>
                    <a:pt x="768" y="80"/>
                    <a:pt x="768" y="80"/>
                    <a:pt x="768" y="80"/>
                  </a:cubicBezTo>
                  <a:cubicBezTo>
                    <a:pt x="768" y="107"/>
                    <a:pt x="768" y="107"/>
                    <a:pt x="768" y="107"/>
                  </a:cubicBezTo>
                  <a:cubicBezTo>
                    <a:pt x="757" y="109"/>
                    <a:pt x="757" y="109"/>
                    <a:pt x="757" y="109"/>
                  </a:cubicBezTo>
                  <a:cubicBezTo>
                    <a:pt x="757" y="116"/>
                    <a:pt x="757" y="116"/>
                    <a:pt x="757" y="116"/>
                  </a:cubicBezTo>
                  <a:cubicBezTo>
                    <a:pt x="797" y="116"/>
                    <a:pt x="797" y="116"/>
                    <a:pt x="797" y="116"/>
                  </a:cubicBezTo>
                  <a:cubicBezTo>
                    <a:pt x="797" y="109"/>
                    <a:pt x="797" y="109"/>
                    <a:pt x="797" y="109"/>
                  </a:cubicBezTo>
                  <a:cubicBezTo>
                    <a:pt x="786" y="107"/>
                    <a:pt x="786" y="107"/>
                    <a:pt x="786" y="107"/>
                  </a:cubicBezTo>
                  <a:cubicBezTo>
                    <a:pt x="786" y="48"/>
                    <a:pt x="786" y="48"/>
                    <a:pt x="786" y="48"/>
                  </a:cubicBezTo>
                  <a:cubicBezTo>
                    <a:pt x="797" y="46"/>
                    <a:pt x="797" y="46"/>
                    <a:pt x="797" y="46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57" y="39"/>
                    <a:pt x="757" y="39"/>
                    <a:pt x="757" y="39"/>
                  </a:cubicBezTo>
                  <a:cubicBezTo>
                    <a:pt x="757" y="46"/>
                    <a:pt x="757" y="46"/>
                    <a:pt x="757" y="46"/>
                  </a:cubicBezTo>
                  <a:cubicBezTo>
                    <a:pt x="768" y="48"/>
                    <a:pt x="768" y="48"/>
                    <a:pt x="768" y="48"/>
                  </a:cubicBezTo>
                  <a:cubicBezTo>
                    <a:pt x="768" y="71"/>
                    <a:pt x="768" y="71"/>
                    <a:pt x="768" y="71"/>
                  </a:cubicBezTo>
                  <a:cubicBezTo>
                    <a:pt x="739" y="71"/>
                    <a:pt x="739" y="71"/>
                    <a:pt x="739" y="71"/>
                  </a:cubicBezTo>
                  <a:cubicBezTo>
                    <a:pt x="739" y="48"/>
                    <a:pt x="739" y="48"/>
                    <a:pt x="739" y="48"/>
                  </a:cubicBezTo>
                  <a:cubicBezTo>
                    <a:pt x="750" y="46"/>
                    <a:pt x="750" y="46"/>
                    <a:pt x="750" y="46"/>
                  </a:cubicBezTo>
                  <a:cubicBezTo>
                    <a:pt x="750" y="39"/>
                    <a:pt x="750" y="39"/>
                    <a:pt x="750" y="39"/>
                  </a:cubicBezTo>
                  <a:cubicBezTo>
                    <a:pt x="710" y="39"/>
                    <a:pt x="710" y="39"/>
                    <a:pt x="710" y="39"/>
                  </a:cubicBezTo>
                  <a:cubicBezTo>
                    <a:pt x="710" y="46"/>
                    <a:pt x="710" y="46"/>
                    <a:pt x="710" y="46"/>
                  </a:cubicBezTo>
                  <a:cubicBezTo>
                    <a:pt x="722" y="48"/>
                    <a:pt x="722" y="48"/>
                    <a:pt x="722" y="48"/>
                  </a:cubicBezTo>
                  <a:cubicBezTo>
                    <a:pt x="722" y="107"/>
                    <a:pt x="722" y="107"/>
                    <a:pt x="722" y="107"/>
                  </a:cubicBezTo>
                  <a:cubicBezTo>
                    <a:pt x="710" y="109"/>
                    <a:pt x="710" y="109"/>
                    <a:pt x="710" y="109"/>
                  </a:cubicBezTo>
                  <a:cubicBezTo>
                    <a:pt x="710" y="116"/>
                    <a:pt x="710" y="116"/>
                    <a:pt x="710" y="116"/>
                  </a:cubicBezTo>
                  <a:cubicBezTo>
                    <a:pt x="750" y="116"/>
                    <a:pt x="750" y="116"/>
                    <a:pt x="750" y="116"/>
                  </a:cubicBezTo>
                  <a:lnTo>
                    <a:pt x="750" y="109"/>
                  </a:lnTo>
                  <a:close/>
                  <a:moveTo>
                    <a:pt x="445" y="109"/>
                  </a:moveTo>
                  <a:cubicBezTo>
                    <a:pt x="434" y="107"/>
                    <a:pt x="434" y="107"/>
                    <a:pt x="434" y="107"/>
                  </a:cubicBezTo>
                  <a:cubicBezTo>
                    <a:pt x="434" y="80"/>
                    <a:pt x="434" y="80"/>
                    <a:pt x="434" y="80"/>
                  </a:cubicBezTo>
                  <a:cubicBezTo>
                    <a:pt x="463" y="80"/>
                    <a:pt x="463" y="80"/>
                    <a:pt x="463" y="80"/>
                  </a:cubicBezTo>
                  <a:cubicBezTo>
                    <a:pt x="463" y="107"/>
                    <a:pt x="463" y="107"/>
                    <a:pt x="463" y="107"/>
                  </a:cubicBezTo>
                  <a:cubicBezTo>
                    <a:pt x="452" y="109"/>
                    <a:pt x="452" y="109"/>
                    <a:pt x="452" y="109"/>
                  </a:cubicBezTo>
                  <a:cubicBezTo>
                    <a:pt x="452" y="116"/>
                    <a:pt x="452" y="116"/>
                    <a:pt x="452" y="116"/>
                  </a:cubicBezTo>
                  <a:cubicBezTo>
                    <a:pt x="492" y="116"/>
                    <a:pt x="492" y="116"/>
                    <a:pt x="492" y="116"/>
                  </a:cubicBezTo>
                  <a:cubicBezTo>
                    <a:pt x="492" y="109"/>
                    <a:pt x="492" y="109"/>
                    <a:pt x="492" y="109"/>
                  </a:cubicBezTo>
                  <a:cubicBezTo>
                    <a:pt x="480" y="107"/>
                    <a:pt x="480" y="107"/>
                    <a:pt x="480" y="107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492" y="46"/>
                    <a:pt x="492" y="46"/>
                    <a:pt x="492" y="46"/>
                  </a:cubicBezTo>
                  <a:cubicBezTo>
                    <a:pt x="492" y="39"/>
                    <a:pt x="492" y="39"/>
                    <a:pt x="492" y="39"/>
                  </a:cubicBezTo>
                  <a:cubicBezTo>
                    <a:pt x="452" y="39"/>
                    <a:pt x="452" y="39"/>
                    <a:pt x="452" y="39"/>
                  </a:cubicBezTo>
                  <a:cubicBezTo>
                    <a:pt x="452" y="46"/>
                    <a:pt x="452" y="46"/>
                    <a:pt x="452" y="46"/>
                  </a:cubicBezTo>
                  <a:cubicBezTo>
                    <a:pt x="463" y="48"/>
                    <a:pt x="463" y="48"/>
                    <a:pt x="463" y="48"/>
                  </a:cubicBezTo>
                  <a:cubicBezTo>
                    <a:pt x="463" y="71"/>
                    <a:pt x="463" y="71"/>
                    <a:pt x="463" y="71"/>
                  </a:cubicBezTo>
                  <a:cubicBezTo>
                    <a:pt x="434" y="71"/>
                    <a:pt x="434" y="71"/>
                    <a:pt x="434" y="71"/>
                  </a:cubicBezTo>
                  <a:cubicBezTo>
                    <a:pt x="434" y="48"/>
                    <a:pt x="434" y="48"/>
                    <a:pt x="434" y="48"/>
                  </a:cubicBezTo>
                  <a:cubicBezTo>
                    <a:pt x="445" y="46"/>
                    <a:pt x="445" y="46"/>
                    <a:pt x="445" y="46"/>
                  </a:cubicBezTo>
                  <a:cubicBezTo>
                    <a:pt x="445" y="39"/>
                    <a:pt x="445" y="39"/>
                    <a:pt x="445" y="39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46"/>
                    <a:pt x="405" y="46"/>
                    <a:pt x="405" y="46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107"/>
                    <a:pt x="416" y="107"/>
                    <a:pt x="416" y="107"/>
                  </a:cubicBezTo>
                  <a:cubicBezTo>
                    <a:pt x="405" y="109"/>
                    <a:pt x="405" y="109"/>
                    <a:pt x="405" y="109"/>
                  </a:cubicBezTo>
                  <a:cubicBezTo>
                    <a:pt x="405" y="116"/>
                    <a:pt x="405" y="116"/>
                    <a:pt x="405" y="116"/>
                  </a:cubicBezTo>
                  <a:cubicBezTo>
                    <a:pt x="445" y="116"/>
                    <a:pt x="445" y="116"/>
                    <a:pt x="445" y="116"/>
                  </a:cubicBezTo>
                  <a:lnTo>
                    <a:pt x="445" y="109"/>
                  </a:lnTo>
                  <a:close/>
                  <a:moveTo>
                    <a:pt x="1209" y="49"/>
                  </a:moveTo>
                  <a:cubicBezTo>
                    <a:pt x="1226" y="49"/>
                    <a:pt x="1226" y="49"/>
                    <a:pt x="1226" y="49"/>
                  </a:cubicBezTo>
                  <a:cubicBezTo>
                    <a:pt x="1226" y="107"/>
                    <a:pt x="1226" y="107"/>
                    <a:pt x="1226" y="107"/>
                  </a:cubicBezTo>
                  <a:cubicBezTo>
                    <a:pt x="1215" y="109"/>
                    <a:pt x="1215" y="109"/>
                    <a:pt x="1215" y="109"/>
                  </a:cubicBezTo>
                  <a:cubicBezTo>
                    <a:pt x="1215" y="116"/>
                    <a:pt x="1215" y="116"/>
                    <a:pt x="1215" y="116"/>
                  </a:cubicBezTo>
                  <a:cubicBezTo>
                    <a:pt x="1255" y="116"/>
                    <a:pt x="1255" y="116"/>
                    <a:pt x="1255" y="116"/>
                  </a:cubicBezTo>
                  <a:cubicBezTo>
                    <a:pt x="1255" y="109"/>
                    <a:pt x="1255" y="109"/>
                    <a:pt x="1255" y="109"/>
                  </a:cubicBezTo>
                  <a:cubicBezTo>
                    <a:pt x="1244" y="107"/>
                    <a:pt x="1244" y="107"/>
                    <a:pt x="1244" y="107"/>
                  </a:cubicBezTo>
                  <a:cubicBezTo>
                    <a:pt x="1244" y="49"/>
                    <a:pt x="1244" y="49"/>
                    <a:pt x="1244" y="49"/>
                  </a:cubicBezTo>
                  <a:cubicBezTo>
                    <a:pt x="1261" y="49"/>
                    <a:pt x="1261" y="49"/>
                    <a:pt x="1261" y="49"/>
                  </a:cubicBezTo>
                  <a:cubicBezTo>
                    <a:pt x="1262" y="60"/>
                    <a:pt x="1262" y="60"/>
                    <a:pt x="1262" y="60"/>
                  </a:cubicBezTo>
                  <a:cubicBezTo>
                    <a:pt x="1270" y="60"/>
                    <a:pt x="1270" y="60"/>
                    <a:pt x="1270" y="60"/>
                  </a:cubicBezTo>
                  <a:cubicBezTo>
                    <a:pt x="1270" y="39"/>
                    <a:pt x="1270" y="39"/>
                    <a:pt x="1270" y="39"/>
                  </a:cubicBezTo>
                  <a:cubicBezTo>
                    <a:pt x="1200" y="39"/>
                    <a:pt x="1200" y="39"/>
                    <a:pt x="1200" y="39"/>
                  </a:cubicBezTo>
                  <a:cubicBezTo>
                    <a:pt x="1200" y="60"/>
                    <a:pt x="1200" y="60"/>
                    <a:pt x="1200" y="60"/>
                  </a:cubicBezTo>
                  <a:cubicBezTo>
                    <a:pt x="1208" y="60"/>
                    <a:pt x="1208" y="60"/>
                    <a:pt x="1208" y="60"/>
                  </a:cubicBezTo>
                  <a:lnTo>
                    <a:pt x="1209" y="49"/>
                  </a:lnTo>
                  <a:close/>
                  <a:moveTo>
                    <a:pt x="1058" y="49"/>
                  </a:moveTo>
                  <a:cubicBezTo>
                    <a:pt x="1075" y="49"/>
                    <a:pt x="1075" y="49"/>
                    <a:pt x="1075" y="49"/>
                  </a:cubicBezTo>
                  <a:cubicBezTo>
                    <a:pt x="1075" y="107"/>
                    <a:pt x="1075" y="107"/>
                    <a:pt x="1075" y="107"/>
                  </a:cubicBezTo>
                  <a:cubicBezTo>
                    <a:pt x="1064" y="109"/>
                    <a:pt x="1064" y="109"/>
                    <a:pt x="1064" y="109"/>
                  </a:cubicBezTo>
                  <a:cubicBezTo>
                    <a:pt x="1064" y="116"/>
                    <a:pt x="1064" y="116"/>
                    <a:pt x="1064" y="116"/>
                  </a:cubicBezTo>
                  <a:cubicBezTo>
                    <a:pt x="1104" y="116"/>
                    <a:pt x="1104" y="116"/>
                    <a:pt x="1104" y="116"/>
                  </a:cubicBezTo>
                  <a:cubicBezTo>
                    <a:pt x="1104" y="109"/>
                    <a:pt x="1104" y="109"/>
                    <a:pt x="1104" y="109"/>
                  </a:cubicBezTo>
                  <a:cubicBezTo>
                    <a:pt x="1093" y="107"/>
                    <a:pt x="1093" y="107"/>
                    <a:pt x="1093" y="107"/>
                  </a:cubicBezTo>
                  <a:cubicBezTo>
                    <a:pt x="1093" y="49"/>
                    <a:pt x="1093" y="49"/>
                    <a:pt x="1093" y="49"/>
                  </a:cubicBezTo>
                  <a:cubicBezTo>
                    <a:pt x="1110" y="49"/>
                    <a:pt x="1110" y="49"/>
                    <a:pt x="1110" y="49"/>
                  </a:cubicBezTo>
                  <a:cubicBezTo>
                    <a:pt x="1111" y="60"/>
                    <a:pt x="1111" y="60"/>
                    <a:pt x="1111" y="60"/>
                  </a:cubicBezTo>
                  <a:cubicBezTo>
                    <a:pt x="1119" y="60"/>
                    <a:pt x="1119" y="60"/>
                    <a:pt x="1119" y="60"/>
                  </a:cubicBezTo>
                  <a:cubicBezTo>
                    <a:pt x="1119" y="39"/>
                    <a:pt x="1119" y="39"/>
                    <a:pt x="1119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60"/>
                    <a:pt x="1049" y="60"/>
                    <a:pt x="1049" y="60"/>
                  </a:cubicBezTo>
                  <a:cubicBezTo>
                    <a:pt x="1057" y="60"/>
                    <a:pt x="1057" y="60"/>
                    <a:pt x="1057" y="60"/>
                  </a:cubicBezTo>
                  <a:lnTo>
                    <a:pt x="1058" y="49"/>
                  </a:lnTo>
                  <a:close/>
                  <a:moveTo>
                    <a:pt x="1114" y="116"/>
                  </a:moveTo>
                  <a:cubicBezTo>
                    <a:pt x="1147" y="116"/>
                    <a:pt x="1147" y="116"/>
                    <a:pt x="1147" y="116"/>
                  </a:cubicBezTo>
                  <a:cubicBezTo>
                    <a:pt x="1147" y="109"/>
                    <a:pt x="1147" y="109"/>
                    <a:pt x="1147" y="109"/>
                  </a:cubicBezTo>
                  <a:cubicBezTo>
                    <a:pt x="1136" y="107"/>
                    <a:pt x="1136" y="107"/>
                    <a:pt x="1136" y="107"/>
                  </a:cubicBezTo>
                  <a:cubicBezTo>
                    <a:pt x="1142" y="93"/>
                    <a:pt x="1142" y="93"/>
                    <a:pt x="1142" y="93"/>
                  </a:cubicBezTo>
                  <a:cubicBezTo>
                    <a:pt x="1171" y="93"/>
                    <a:pt x="1171" y="93"/>
                    <a:pt x="1171" y="93"/>
                  </a:cubicBezTo>
                  <a:cubicBezTo>
                    <a:pt x="1176" y="107"/>
                    <a:pt x="1176" y="107"/>
                    <a:pt x="1176" y="107"/>
                  </a:cubicBezTo>
                  <a:cubicBezTo>
                    <a:pt x="1165" y="109"/>
                    <a:pt x="1165" y="109"/>
                    <a:pt x="1165" y="109"/>
                  </a:cubicBezTo>
                  <a:cubicBezTo>
                    <a:pt x="1165" y="116"/>
                    <a:pt x="1165" y="116"/>
                    <a:pt x="1165" y="116"/>
                  </a:cubicBezTo>
                  <a:cubicBezTo>
                    <a:pt x="1205" y="116"/>
                    <a:pt x="1205" y="116"/>
                    <a:pt x="1205" y="116"/>
                  </a:cubicBezTo>
                  <a:cubicBezTo>
                    <a:pt x="1205" y="109"/>
                    <a:pt x="1205" y="109"/>
                    <a:pt x="1205" y="109"/>
                  </a:cubicBezTo>
                  <a:cubicBezTo>
                    <a:pt x="1194" y="107"/>
                    <a:pt x="1194" y="107"/>
                    <a:pt x="1194" y="107"/>
                  </a:cubicBezTo>
                  <a:cubicBezTo>
                    <a:pt x="1168" y="39"/>
                    <a:pt x="1168" y="39"/>
                    <a:pt x="1168" y="39"/>
                  </a:cubicBezTo>
                  <a:cubicBezTo>
                    <a:pt x="1151" y="39"/>
                    <a:pt x="1151" y="39"/>
                    <a:pt x="1151" y="39"/>
                  </a:cubicBezTo>
                  <a:cubicBezTo>
                    <a:pt x="1125" y="107"/>
                    <a:pt x="1125" y="107"/>
                    <a:pt x="1125" y="107"/>
                  </a:cubicBezTo>
                  <a:cubicBezTo>
                    <a:pt x="1114" y="109"/>
                    <a:pt x="1114" y="109"/>
                    <a:pt x="1114" y="109"/>
                  </a:cubicBezTo>
                  <a:lnTo>
                    <a:pt x="1114" y="116"/>
                  </a:lnTo>
                  <a:close/>
                  <a:moveTo>
                    <a:pt x="1156" y="54"/>
                  </a:moveTo>
                  <a:cubicBezTo>
                    <a:pt x="1167" y="84"/>
                    <a:pt x="1167" y="84"/>
                    <a:pt x="1167" y="84"/>
                  </a:cubicBezTo>
                  <a:cubicBezTo>
                    <a:pt x="1145" y="84"/>
                    <a:pt x="1145" y="84"/>
                    <a:pt x="1145" y="84"/>
                  </a:cubicBezTo>
                  <a:lnTo>
                    <a:pt x="1156" y="54"/>
                  </a:lnTo>
                  <a:close/>
                  <a:moveTo>
                    <a:pt x="1042" y="88"/>
                  </a:moveTo>
                  <a:cubicBezTo>
                    <a:pt x="1042" y="49"/>
                    <a:pt x="993" y="65"/>
                    <a:pt x="993" y="41"/>
                  </a:cubicBezTo>
                  <a:cubicBezTo>
                    <a:pt x="993" y="30"/>
                    <a:pt x="1002" y="27"/>
                    <a:pt x="1011" y="27"/>
                  </a:cubicBezTo>
                  <a:cubicBezTo>
                    <a:pt x="1019" y="27"/>
                    <a:pt x="1028" y="29"/>
                    <a:pt x="1028" y="29"/>
                  </a:cubicBezTo>
                  <a:cubicBezTo>
                    <a:pt x="1030" y="41"/>
                    <a:pt x="1030" y="41"/>
                    <a:pt x="1030" y="41"/>
                  </a:cubicBezTo>
                  <a:cubicBezTo>
                    <a:pt x="1038" y="41"/>
                    <a:pt x="1038" y="41"/>
                    <a:pt x="1038" y="41"/>
                  </a:cubicBezTo>
                  <a:cubicBezTo>
                    <a:pt x="1038" y="22"/>
                    <a:pt x="1038" y="22"/>
                    <a:pt x="1038" y="22"/>
                  </a:cubicBezTo>
                  <a:cubicBezTo>
                    <a:pt x="1030" y="19"/>
                    <a:pt x="1019" y="16"/>
                    <a:pt x="1009" y="16"/>
                  </a:cubicBezTo>
                  <a:cubicBezTo>
                    <a:pt x="987" y="16"/>
                    <a:pt x="976" y="27"/>
                    <a:pt x="976" y="44"/>
                  </a:cubicBezTo>
                  <a:cubicBezTo>
                    <a:pt x="976" y="65"/>
                    <a:pt x="992" y="69"/>
                    <a:pt x="1007" y="74"/>
                  </a:cubicBezTo>
                  <a:cubicBezTo>
                    <a:pt x="1017" y="77"/>
                    <a:pt x="1025" y="79"/>
                    <a:pt x="1025" y="90"/>
                  </a:cubicBezTo>
                  <a:cubicBezTo>
                    <a:pt x="1025" y="102"/>
                    <a:pt x="1015" y="106"/>
                    <a:pt x="1003" y="106"/>
                  </a:cubicBezTo>
                  <a:cubicBezTo>
                    <a:pt x="992" y="106"/>
                    <a:pt x="986" y="104"/>
                    <a:pt x="986" y="104"/>
                  </a:cubicBezTo>
                  <a:cubicBezTo>
                    <a:pt x="984" y="91"/>
                    <a:pt x="984" y="91"/>
                    <a:pt x="984" y="91"/>
                  </a:cubicBezTo>
                  <a:cubicBezTo>
                    <a:pt x="976" y="91"/>
                    <a:pt x="976" y="91"/>
                    <a:pt x="976" y="91"/>
                  </a:cubicBezTo>
                  <a:cubicBezTo>
                    <a:pt x="976" y="112"/>
                    <a:pt x="976" y="112"/>
                    <a:pt x="976" y="112"/>
                  </a:cubicBezTo>
                  <a:cubicBezTo>
                    <a:pt x="976" y="112"/>
                    <a:pt x="989" y="117"/>
                    <a:pt x="1006" y="117"/>
                  </a:cubicBezTo>
                  <a:cubicBezTo>
                    <a:pt x="1030" y="117"/>
                    <a:pt x="1042" y="107"/>
                    <a:pt x="1042" y="88"/>
                  </a:cubicBezTo>
                  <a:close/>
                  <a:moveTo>
                    <a:pt x="847" y="109"/>
                  </a:moveTo>
                  <a:cubicBezTo>
                    <a:pt x="835" y="107"/>
                    <a:pt x="835" y="107"/>
                    <a:pt x="835" y="107"/>
                  </a:cubicBezTo>
                  <a:cubicBezTo>
                    <a:pt x="835" y="48"/>
                    <a:pt x="835" y="48"/>
                    <a:pt x="835" y="48"/>
                  </a:cubicBezTo>
                  <a:cubicBezTo>
                    <a:pt x="847" y="46"/>
                    <a:pt x="847" y="46"/>
                    <a:pt x="847" y="46"/>
                  </a:cubicBezTo>
                  <a:cubicBezTo>
                    <a:pt x="847" y="39"/>
                    <a:pt x="847" y="39"/>
                    <a:pt x="847" y="39"/>
                  </a:cubicBezTo>
                  <a:cubicBezTo>
                    <a:pt x="806" y="39"/>
                    <a:pt x="806" y="39"/>
                    <a:pt x="806" y="39"/>
                  </a:cubicBezTo>
                  <a:cubicBezTo>
                    <a:pt x="806" y="46"/>
                    <a:pt x="806" y="46"/>
                    <a:pt x="806" y="46"/>
                  </a:cubicBezTo>
                  <a:cubicBezTo>
                    <a:pt x="818" y="48"/>
                    <a:pt x="818" y="48"/>
                    <a:pt x="818" y="48"/>
                  </a:cubicBezTo>
                  <a:cubicBezTo>
                    <a:pt x="818" y="107"/>
                    <a:pt x="818" y="107"/>
                    <a:pt x="818" y="107"/>
                  </a:cubicBezTo>
                  <a:cubicBezTo>
                    <a:pt x="806" y="109"/>
                    <a:pt x="806" y="109"/>
                    <a:pt x="806" y="109"/>
                  </a:cubicBezTo>
                  <a:cubicBezTo>
                    <a:pt x="806" y="116"/>
                    <a:pt x="806" y="116"/>
                    <a:pt x="806" y="116"/>
                  </a:cubicBezTo>
                  <a:cubicBezTo>
                    <a:pt x="847" y="116"/>
                    <a:pt x="847" y="116"/>
                    <a:pt x="847" y="116"/>
                  </a:cubicBezTo>
                  <a:lnTo>
                    <a:pt x="847" y="109"/>
                  </a:lnTo>
                  <a:close/>
                  <a:moveTo>
                    <a:pt x="890" y="117"/>
                  </a:moveTo>
                  <a:cubicBezTo>
                    <a:pt x="915" y="117"/>
                    <a:pt x="927" y="103"/>
                    <a:pt x="927" y="78"/>
                  </a:cubicBezTo>
                  <a:cubicBezTo>
                    <a:pt x="927" y="52"/>
                    <a:pt x="915" y="38"/>
                    <a:pt x="890" y="38"/>
                  </a:cubicBezTo>
                  <a:cubicBezTo>
                    <a:pt x="864" y="38"/>
                    <a:pt x="853" y="52"/>
                    <a:pt x="853" y="77"/>
                  </a:cubicBezTo>
                  <a:cubicBezTo>
                    <a:pt x="853" y="103"/>
                    <a:pt x="864" y="117"/>
                    <a:pt x="890" y="117"/>
                  </a:cubicBezTo>
                  <a:close/>
                  <a:moveTo>
                    <a:pt x="890" y="48"/>
                  </a:moveTo>
                  <a:cubicBezTo>
                    <a:pt x="902" y="48"/>
                    <a:pt x="908" y="57"/>
                    <a:pt x="908" y="78"/>
                  </a:cubicBezTo>
                  <a:cubicBezTo>
                    <a:pt x="908" y="98"/>
                    <a:pt x="902" y="107"/>
                    <a:pt x="889" y="107"/>
                  </a:cubicBezTo>
                  <a:cubicBezTo>
                    <a:pt x="877" y="107"/>
                    <a:pt x="871" y="98"/>
                    <a:pt x="871" y="77"/>
                  </a:cubicBezTo>
                  <a:cubicBezTo>
                    <a:pt x="871" y="57"/>
                    <a:pt x="877" y="48"/>
                    <a:pt x="890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9849251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-corner lea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Placeholder 43"/>
          <p:cNvSpPr>
            <a:spLocks noGrp="1"/>
          </p:cNvSpPr>
          <p:nvPr>
            <p:ph type="title"/>
          </p:nvPr>
        </p:nvSpPr>
        <p:spPr>
          <a:xfrm>
            <a:off x="759757" y="411833"/>
            <a:ext cx="10822657" cy="792163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44"/>
          <p:cNvSpPr>
            <a:spLocks noGrp="1"/>
          </p:cNvSpPr>
          <p:nvPr>
            <p:ph type="sldNum" sz="quarter" idx="12"/>
          </p:nvPr>
        </p:nvSpPr>
        <p:spPr>
          <a:xfrm>
            <a:off x="46567" y="6562689"/>
            <a:ext cx="643467" cy="23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F44216FD-6AB8-4CAA-AE87-D3440EC6B7F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>
          <a:xfrm>
            <a:off x="9512023" y="6224390"/>
            <a:ext cx="2489604" cy="357593"/>
            <a:chOff x="487363" y="2840038"/>
            <a:chExt cx="8167687" cy="1173162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487363" y="2843213"/>
              <a:ext cx="8167687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531813" y="2892425"/>
              <a:ext cx="803275" cy="1068387"/>
            </a:xfrm>
            <a:custGeom>
              <a:avLst/>
              <a:gdLst>
                <a:gd name="T0" fmla="*/ 126 w 506"/>
                <a:gd name="T1" fmla="*/ 172 h 673"/>
                <a:gd name="T2" fmla="*/ 175 w 506"/>
                <a:gd name="T3" fmla="*/ 125 h 673"/>
                <a:gd name="T4" fmla="*/ 333 w 506"/>
                <a:gd name="T5" fmla="*/ 125 h 673"/>
                <a:gd name="T6" fmla="*/ 383 w 506"/>
                <a:gd name="T7" fmla="*/ 172 h 673"/>
                <a:gd name="T8" fmla="*/ 383 w 506"/>
                <a:gd name="T9" fmla="*/ 500 h 673"/>
                <a:gd name="T10" fmla="*/ 333 w 506"/>
                <a:gd name="T11" fmla="*/ 548 h 673"/>
                <a:gd name="T12" fmla="*/ 175 w 506"/>
                <a:gd name="T13" fmla="*/ 548 h 673"/>
                <a:gd name="T14" fmla="*/ 126 w 506"/>
                <a:gd name="T15" fmla="*/ 500 h 673"/>
                <a:gd name="T16" fmla="*/ 126 w 506"/>
                <a:gd name="T17" fmla="*/ 172 h 673"/>
                <a:gd name="T18" fmla="*/ 126 w 506"/>
                <a:gd name="T19" fmla="*/ 172 h 673"/>
                <a:gd name="T20" fmla="*/ 506 w 506"/>
                <a:gd name="T21" fmla="*/ 120 h 673"/>
                <a:gd name="T22" fmla="*/ 385 w 506"/>
                <a:gd name="T23" fmla="*/ 0 h 673"/>
                <a:gd name="T24" fmla="*/ 123 w 506"/>
                <a:gd name="T25" fmla="*/ 0 h 673"/>
                <a:gd name="T26" fmla="*/ 0 w 506"/>
                <a:gd name="T27" fmla="*/ 120 h 673"/>
                <a:gd name="T28" fmla="*/ 0 w 506"/>
                <a:gd name="T29" fmla="*/ 552 h 673"/>
                <a:gd name="T30" fmla="*/ 123 w 506"/>
                <a:gd name="T31" fmla="*/ 673 h 673"/>
                <a:gd name="T32" fmla="*/ 385 w 506"/>
                <a:gd name="T33" fmla="*/ 673 h 673"/>
                <a:gd name="T34" fmla="*/ 506 w 506"/>
                <a:gd name="T35" fmla="*/ 552 h 673"/>
                <a:gd name="T36" fmla="*/ 506 w 506"/>
                <a:gd name="T37" fmla="*/ 120 h 673"/>
                <a:gd name="T38" fmla="*/ 506 w 506"/>
                <a:gd name="T39" fmla="*/ 12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6" h="673">
                  <a:moveTo>
                    <a:pt x="126" y="172"/>
                  </a:moveTo>
                  <a:lnTo>
                    <a:pt x="175" y="125"/>
                  </a:lnTo>
                  <a:lnTo>
                    <a:pt x="333" y="125"/>
                  </a:lnTo>
                  <a:lnTo>
                    <a:pt x="383" y="172"/>
                  </a:lnTo>
                  <a:lnTo>
                    <a:pt x="383" y="500"/>
                  </a:lnTo>
                  <a:lnTo>
                    <a:pt x="333" y="548"/>
                  </a:lnTo>
                  <a:lnTo>
                    <a:pt x="175" y="548"/>
                  </a:lnTo>
                  <a:lnTo>
                    <a:pt x="126" y="500"/>
                  </a:lnTo>
                  <a:lnTo>
                    <a:pt x="126" y="172"/>
                  </a:lnTo>
                  <a:lnTo>
                    <a:pt x="126" y="172"/>
                  </a:lnTo>
                  <a:close/>
                  <a:moveTo>
                    <a:pt x="506" y="120"/>
                  </a:moveTo>
                  <a:lnTo>
                    <a:pt x="385" y="0"/>
                  </a:lnTo>
                  <a:lnTo>
                    <a:pt x="123" y="0"/>
                  </a:lnTo>
                  <a:lnTo>
                    <a:pt x="0" y="120"/>
                  </a:lnTo>
                  <a:lnTo>
                    <a:pt x="0" y="552"/>
                  </a:lnTo>
                  <a:lnTo>
                    <a:pt x="123" y="673"/>
                  </a:lnTo>
                  <a:lnTo>
                    <a:pt x="385" y="673"/>
                  </a:lnTo>
                  <a:lnTo>
                    <a:pt x="506" y="552"/>
                  </a:lnTo>
                  <a:lnTo>
                    <a:pt x="506" y="120"/>
                  </a:lnTo>
                  <a:lnTo>
                    <a:pt x="506" y="120"/>
                  </a:lnTo>
                  <a:close/>
                </a:path>
              </a:pathLst>
            </a:custGeom>
            <a:solidFill>
              <a:srgbClr val="BB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87363" y="2840038"/>
              <a:ext cx="8167687" cy="1169989"/>
            </a:xfrm>
            <a:custGeom>
              <a:avLst/>
              <a:gdLst>
                <a:gd name="T0" fmla="*/ 397 w 2178"/>
                <a:gd name="T1" fmla="*/ 289 h 312"/>
                <a:gd name="T2" fmla="*/ 430 w 2178"/>
                <a:gd name="T3" fmla="*/ 253 h 312"/>
                <a:gd name="T4" fmla="*/ 493 w 2178"/>
                <a:gd name="T5" fmla="*/ 256 h 312"/>
                <a:gd name="T6" fmla="*/ 535 w 2178"/>
                <a:gd name="T7" fmla="*/ 289 h 312"/>
                <a:gd name="T8" fmla="*/ 608 w 2178"/>
                <a:gd name="T9" fmla="*/ 282 h 312"/>
                <a:gd name="T10" fmla="*/ 678 w 2178"/>
                <a:gd name="T11" fmla="*/ 225 h 312"/>
                <a:gd name="T12" fmla="*/ 660 w 2178"/>
                <a:gd name="T13" fmla="*/ 232 h 312"/>
                <a:gd name="T14" fmla="*/ 761 w 2178"/>
                <a:gd name="T15" fmla="*/ 289 h 312"/>
                <a:gd name="T16" fmla="*/ 814 w 2178"/>
                <a:gd name="T17" fmla="*/ 282 h 312"/>
                <a:gd name="T18" fmla="*/ 858 w 2178"/>
                <a:gd name="T19" fmla="*/ 225 h 312"/>
                <a:gd name="T20" fmla="*/ 923 w 2178"/>
                <a:gd name="T21" fmla="*/ 289 h 312"/>
                <a:gd name="T22" fmla="*/ 941 w 2178"/>
                <a:gd name="T23" fmla="*/ 257 h 312"/>
                <a:gd name="T24" fmla="*/ 1061 w 2178"/>
                <a:gd name="T25" fmla="*/ 289 h 312"/>
                <a:gd name="T26" fmla="*/ 1103 w 2178"/>
                <a:gd name="T27" fmla="*/ 282 h 312"/>
                <a:gd name="T28" fmla="*/ 1182 w 2178"/>
                <a:gd name="T29" fmla="*/ 277 h 312"/>
                <a:gd name="T30" fmla="*/ 1197 w 2178"/>
                <a:gd name="T31" fmla="*/ 232 h 312"/>
                <a:gd name="T32" fmla="*/ 1287 w 2178"/>
                <a:gd name="T33" fmla="*/ 289 h 312"/>
                <a:gd name="T34" fmla="*/ 1351 w 2178"/>
                <a:gd name="T35" fmla="*/ 225 h 312"/>
                <a:gd name="T36" fmla="*/ 1367 w 2178"/>
                <a:gd name="T37" fmla="*/ 232 h 312"/>
                <a:gd name="T38" fmla="*/ 1433 w 2178"/>
                <a:gd name="T39" fmla="*/ 264 h 312"/>
                <a:gd name="T40" fmla="*/ 59 w 2178"/>
                <a:gd name="T41" fmla="*/ 0 h 312"/>
                <a:gd name="T42" fmla="*/ 61 w 2178"/>
                <a:gd name="T43" fmla="*/ 307 h 312"/>
                <a:gd name="T44" fmla="*/ 150 w 2178"/>
                <a:gd name="T45" fmla="*/ 238 h 312"/>
                <a:gd name="T46" fmla="*/ 147 w 2178"/>
                <a:gd name="T47" fmla="*/ 80 h 312"/>
                <a:gd name="T48" fmla="*/ 1628 w 2178"/>
                <a:gd name="T49" fmla="*/ 46 h 312"/>
                <a:gd name="T50" fmla="*/ 1515 w 2178"/>
                <a:gd name="T51" fmla="*/ 107 h 312"/>
                <a:gd name="T52" fmla="*/ 1518 w 2178"/>
                <a:gd name="T53" fmla="*/ 39 h 312"/>
                <a:gd name="T54" fmla="*/ 1438 w 2178"/>
                <a:gd name="T55" fmla="*/ 117 h 312"/>
                <a:gd name="T56" fmla="*/ 1441 w 2178"/>
                <a:gd name="T57" fmla="*/ 107 h 312"/>
                <a:gd name="T58" fmla="*/ 1713 w 2178"/>
                <a:gd name="T59" fmla="*/ 48 h 312"/>
                <a:gd name="T60" fmla="*/ 1634 w 2178"/>
                <a:gd name="T61" fmla="*/ 46 h 312"/>
                <a:gd name="T62" fmla="*/ 1974 w 2178"/>
                <a:gd name="T63" fmla="*/ 107 h 312"/>
                <a:gd name="T64" fmla="*/ 2066 w 2178"/>
                <a:gd name="T65" fmla="*/ 109 h 312"/>
                <a:gd name="T66" fmla="*/ 2122 w 2178"/>
                <a:gd name="T67" fmla="*/ 82 h 312"/>
                <a:gd name="T68" fmla="*/ 2138 w 2178"/>
                <a:gd name="T69" fmla="*/ 39 h 312"/>
                <a:gd name="T70" fmla="*/ 1953 w 2178"/>
                <a:gd name="T71" fmla="*/ 94 h 312"/>
                <a:gd name="T72" fmla="*/ 1920 w 2178"/>
                <a:gd name="T73" fmla="*/ 107 h 312"/>
                <a:gd name="T74" fmla="*/ 1855 w 2178"/>
                <a:gd name="T75" fmla="*/ 98 h 312"/>
                <a:gd name="T76" fmla="*/ 1819 w 2178"/>
                <a:gd name="T77" fmla="*/ 48 h 312"/>
                <a:gd name="T78" fmla="*/ 1839 w 2178"/>
                <a:gd name="T79" fmla="*/ 73 h 312"/>
                <a:gd name="T80" fmla="*/ 1784 w 2178"/>
                <a:gd name="T81" fmla="*/ 61 h 312"/>
                <a:gd name="T82" fmla="*/ 1741 w 2178"/>
                <a:gd name="T83" fmla="*/ 48 h 312"/>
                <a:gd name="T84" fmla="*/ 1323 w 2178"/>
                <a:gd name="T85" fmla="*/ 80 h 312"/>
                <a:gd name="T86" fmla="*/ 1342 w 2178"/>
                <a:gd name="T87" fmla="*/ 39 h 312"/>
                <a:gd name="T88" fmla="*/ 557 w 2178"/>
                <a:gd name="T89" fmla="*/ 106 h 312"/>
                <a:gd name="T90" fmla="*/ 557 w 2178"/>
                <a:gd name="T91" fmla="*/ 49 h 312"/>
                <a:gd name="T92" fmla="*/ 566 w 2178"/>
                <a:gd name="T93" fmla="*/ 95 h 312"/>
                <a:gd name="T94" fmla="*/ 327 w 2178"/>
                <a:gd name="T95" fmla="*/ 28 h 312"/>
                <a:gd name="T96" fmla="*/ 399 w 2178"/>
                <a:gd name="T97" fmla="*/ 40 h 312"/>
                <a:gd name="T98" fmla="*/ 757 w 2178"/>
                <a:gd name="T99" fmla="*/ 109 h 312"/>
                <a:gd name="T100" fmla="*/ 768 w 2178"/>
                <a:gd name="T101" fmla="*/ 71 h 312"/>
                <a:gd name="T102" fmla="*/ 750 w 2178"/>
                <a:gd name="T103" fmla="*/ 116 h 312"/>
                <a:gd name="T104" fmla="*/ 480 w 2178"/>
                <a:gd name="T105" fmla="*/ 107 h 312"/>
                <a:gd name="T106" fmla="*/ 445 w 2178"/>
                <a:gd name="T107" fmla="*/ 39 h 312"/>
                <a:gd name="T108" fmla="*/ 1226 w 2178"/>
                <a:gd name="T109" fmla="*/ 107 h 312"/>
                <a:gd name="T110" fmla="*/ 1200 w 2178"/>
                <a:gd name="T111" fmla="*/ 39 h 312"/>
                <a:gd name="T112" fmla="*/ 1093 w 2178"/>
                <a:gd name="T113" fmla="*/ 107 h 312"/>
                <a:gd name="T114" fmla="*/ 1147 w 2178"/>
                <a:gd name="T115" fmla="*/ 116 h 312"/>
                <a:gd name="T116" fmla="*/ 1168 w 2178"/>
                <a:gd name="T117" fmla="*/ 39 h 312"/>
                <a:gd name="T118" fmla="*/ 1011 w 2178"/>
                <a:gd name="T119" fmla="*/ 27 h 312"/>
                <a:gd name="T120" fmla="*/ 984 w 2178"/>
                <a:gd name="T121" fmla="*/ 91 h 312"/>
                <a:gd name="T122" fmla="*/ 806 w 2178"/>
                <a:gd name="T123" fmla="*/ 46 h 312"/>
                <a:gd name="T124" fmla="*/ 890 w 2178"/>
                <a:gd name="T125" fmla="*/ 1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8" h="312">
                  <a:moveTo>
                    <a:pt x="393" y="278"/>
                  </a:moveTo>
                  <a:cubicBezTo>
                    <a:pt x="378" y="225"/>
                    <a:pt x="378" y="225"/>
                    <a:pt x="378" y="225"/>
                  </a:cubicBezTo>
                  <a:cubicBezTo>
                    <a:pt x="371" y="225"/>
                    <a:pt x="371" y="225"/>
                    <a:pt x="371" y="225"/>
                  </a:cubicBezTo>
                  <a:cubicBezTo>
                    <a:pt x="357" y="278"/>
                    <a:pt x="357" y="278"/>
                    <a:pt x="357" y="278"/>
                  </a:cubicBezTo>
                  <a:cubicBezTo>
                    <a:pt x="343" y="225"/>
                    <a:pt x="343" y="225"/>
                    <a:pt x="343" y="225"/>
                  </a:cubicBezTo>
                  <a:cubicBezTo>
                    <a:pt x="334" y="225"/>
                    <a:pt x="334" y="225"/>
                    <a:pt x="334" y="225"/>
                  </a:cubicBezTo>
                  <a:cubicBezTo>
                    <a:pt x="352" y="289"/>
                    <a:pt x="352" y="289"/>
                    <a:pt x="352" y="289"/>
                  </a:cubicBezTo>
                  <a:cubicBezTo>
                    <a:pt x="361" y="289"/>
                    <a:pt x="361" y="289"/>
                    <a:pt x="361" y="289"/>
                  </a:cubicBezTo>
                  <a:cubicBezTo>
                    <a:pt x="375" y="237"/>
                    <a:pt x="375" y="237"/>
                    <a:pt x="375" y="237"/>
                  </a:cubicBezTo>
                  <a:cubicBezTo>
                    <a:pt x="389" y="289"/>
                    <a:pt x="389" y="289"/>
                    <a:pt x="389" y="289"/>
                  </a:cubicBezTo>
                  <a:cubicBezTo>
                    <a:pt x="397" y="289"/>
                    <a:pt x="397" y="289"/>
                    <a:pt x="397" y="289"/>
                  </a:cubicBezTo>
                  <a:cubicBezTo>
                    <a:pt x="416" y="225"/>
                    <a:pt x="416" y="225"/>
                    <a:pt x="416" y="225"/>
                  </a:cubicBezTo>
                  <a:cubicBezTo>
                    <a:pt x="407" y="225"/>
                    <a:pt x="407" y="225"/>
                    <a:pt x="407" y="225"/>
                  </a:cubicBezTo>
                  <a:lnTo>
                    <a:pt x="393" y="278"/>
                  </a:lnTo>
                  <a:close/>
                  <a:moveTo>
                    <a:pt x="422" y="289"/>
                  </a:moveTo>
                  <a:cubicBezTo>
                    <a:pt x="464" y="289"/>
                    <a:pt x="464" y="289"/>
                    <a:pt x="464" y="289"/>
                  </a:cubicBezTo>
                  <a:cubicBezTo>
                    <a:pt x="464" y="282"/>
                    <a:pt x="464" y="282"/>
                    <a:pt x="464" y="282"/>
                  </a:cubicBezTo>
                  <a:cubicBezTo>
                    <a:pt x="430" y="282"/>
                    <a:pt x="430" y="282"/>
                    <a:pt x="430" y="282"/>
                  </a:cubicBezTo>
                  <a:cubicBezTo>
                    <a:pt x="430" y="260"/>
                    <a:pt x="430" y="260"/>
                    <a:pt x="430" y="260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63" y="253"/>
                    <a:pt x="463" y="253"/>
                    <a:pt x="463" y="253"/>
                  </a:cubicBezTo>
                  <a:cubicBezTo>
                    <a:pt x="430" y="253"/>
                    <a:pt x="430" y="253"/>
                    <a:pt x="430" y="253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464" y="232"/>
                    <a:pt x="464" y="232"/>
                    <a:pt x="464" y="232"/>
                  </a:cubicBezTo>
                  <a:cubicBezTo>
                    <a:pt x="464" y="225"/>
                    <a:pt x="464" y="225"/>
                    <a:pt x="464" y="225"/>
                  </a:cubicBezTo>
                  <a:cubicBezTo>
                    <a:pt x="422" y="225"/>
                    <a:pt x="422" y="225"/>
                    <a:pt x="422" y="225"/>
                  </a:cubicBezTo>
                  <a:lnTo>
                    <a:pt x="422" y="289"/>
                  </a:lnTo>
                  <a:close/>
                  <a:moveTo>
                    <a:pt x="527" y="225"/>
                  </a:moveTo>
                  <a:cubicBezTo>
                    <a:pt x="517" y="225"/>
                    <a:pt x="517" y="225"/>
                    <a:pt x="517" y="225"/>
                  </a:cubicBezTo>
                  <a:cubicBezTo>
                    <a:pt x="498" y="251"/>
                    <a:pt x="498" y="251"/>
                    <a:pt x="498" y="251"/>
                  </a:cubicBezTo>
                  <a:cubicBezTo>
                    <a:pt x="479" y="225"/>
                    <a:pt x="479" y="225"/>
                    <a:pt x="479" y="225"/>
                  </a:cubicBezTo>
                  <a:cubicBezTo>
                    <a:pt x="470" y="225"/>
                    <a:pt x="470" y="225"/>
                    <a:pt x="470" y="225"/>
                  </a:cubicBezTo>
                  <a:cubicBezTo>
                    <a:pt x="493" y="256"/>
                    <a:pt x="493" y="256"/>
                    <a:pt x="493" y="256"/>
                  </a:cubicBezTo>
                  <a:cubicBezTo>
                    <a:pt x="468" y="289"/>
                    <a:pt x="468" y="289"/>
                    <a:pt x="468" y="289"/>
                  </a:cubicBezTo>
                  <a:cubicBezTo>
                    <a:pt x="478" y="289"/>
                    <a:pt x="478" y="289"/>
                    <a:pt x="478" y="289"/>
                  </a:cubicBezTo>
                  <a:cubicBezTo>
                    <a:pt x="498" y="262"/>
                    <a:pt x="498" y="262"/>
                    <a:pt x="498" y="262"/>
                  </a:cubicBezTo>
                  <a:cubicBezTo>
                    <a:pt x="519" y="289"/>
                    <a:pt x="519" y="289"/>
                    <a:pt x="519" y="289"/>
                  </a:cubicBezTo>
                  <a:cubicBezTo>
                    <a:pt x="528" y="289"/>
                    <a:pt x="528" y="289"/>
                    <a:pt x="528" y="289"/>
                  </a:cubicBezTo>
                  <a:cubicBezTo>
                    <a:pt x="503" y="256"/>
                    <a:pt x="503" y="256"/>
                    <a:pt x="503" y="256"/>
                  </a:cubicBezTo>
                  <a:lnTo>
                    <a:pt x="527" y="225"/>
                  </a:lnTo>
                  <a:close/>
                  <a:moveTo>
                    <a:pt x="580" y="275"/>
                  </a:moveTo>
                  <a:cubicBezTo>
                    <a:pt x="543" y="225"/>
                    <a:pt x="543" y="225"/>
                    <a:pt x="543" y="225"/>
                  </a:cubicBezTo>
                  <a:cubicBezTo>
                    <a:pt x="535" y="225"/>
                    <a:pt x="535" y="225"/>
                    <a:pt x="535" y="225"/>
                  </a:cubicBezTo>
                  <a:cubicBezTo>
                    <a:pt x="535" y="289"/>
                    <a:pt x="535" y="289"/>
                    <a:pt x="535" y="289"/>
                  </a:cubicBezTo>
                  <a:cubicBezTo>
                    <a:pt x="543" y="289"/>
                    <a:pt x="543" y="289"/>
                    <a:pt x="543" y="289"/>
                  </a:cubicBezTo>
                  <a:cubicBezTo>
                    <a:pt x="543" y="238"/>
                    <a:pt x="543" y="238"/>
                    <a:pt x="543" y="238"/>
                  </a:cubicBezTo>
                  <a:cubicBezTo>
                    <a:pt x="580" y="289"/>
                    <a:pt x="580" y="289"/>
                    <a:pt x="580" y="289"/>
                  </a:cubicBezTo>
                  <a:cubicBezTo>
                    <a:pt x="588" y="289"/>
                    <a:pt x="588" y="289"/>
                    <a:pt x="588" y="289"/>
                  </a:cubicBezTo>
                  <a:cubicBezTo>
                    <a:pt x="588" y="225"/>
                    <a:pt x="588" y="225"/>
                    <a:pt x="588" y="225"/>
                  </a:cubicBezTo>
                  <a:cubicBezTo>
                    <a:pt x="580" y="225"/>
                    <a:pt x="580" y="225"/>
                    <a:pt x="580" y="225"/>
                  </a:cubicBezTo>
                  <a:lnTo>
                    <a:pt x="580" y="275"/>
                  </a:lnTo>
                  <a:close/>
                  <a:moveTo>
                    <a:pt x="600" y="289"/>
                  </a:moveTo>
                  <a:cubicBezTo>
                    <a:pt x="642" y="289"/>
                    <a:pt x="642" y="289"/>
                    <a:pt x="642" y="289"/>
                  </a:cubicBezTo>
                  <a:cubicBezTo>
                    <a:pt x="642" y="282"/>
                    <a:pt x="642" y="282"/>
                    <a:pt x="642" y="282"/>
                  </a:cubicBezTo>
                  <a:cubicBezTo>
                    <a:pt x="608" y="282"/>
                    <a:pt x="608" y="282"/>
                    <a:pt x="608" y="282"/>
                  </a:cubicBezTo>
                  <a:cubicBezTo>
                    <a:pt x="608" y="260"/>
                    <a:pt x="608" y="260"/>
                    <a:pt x="608" y="260"/>
                  </a:cubicBezTo>
                  <a:cubicBezTo>
                    <a:pt x="641" y="260"/>
                    <a:pt x="641" y="260"/>
                    <a:pt x="641" y="260"/>
                  </a:cubicBezTo>
                  <a:cubicBezTo>
                    <a:pt x="641" y="253"/>
                    <a:pt x="641" y="253"/>
                    <a:pt x="641" y="253"/>
                  </a:cubicBezTo>
                  <a:cubicBezTo>
                    <a:pt x="608" y="253"/>
                    <a:pt x="608" y="253"/>
                    <a:pt x="608" y="253"/>
                  </a:cubicBezTo>
                  <a:cubicBezTo>
                    <a:pt x="608" y="232"/>
                    <a:pt x="608" y="232"/>
                    <a:pt x="608" y="232"/>
                  </a:cubicBezTo>
                  <a:cubicBezTo>
                    <a:pt x="642" y="232"/>
                    <a:pt x="642" y="232"/>
                    <a:pt x="642" y="232"/>
                  </a:cubicBezTo>
                  <a:cubicBezTo>
                    <a:pt x="642" y="225"/>
                    <a:pt x="642" y="225"/>
                    <a:pt x="642" y="225"/>
                  </a:cubicBezTo>
                  <a:cubicBezTo>
                    <a:pt x="600" y="225"/>
                    <a:pt x="600" y="225"/>
                    <a:pt x="600" y="225"/>
                  </a:cubicBezTo>
                  <a:lnTo>
                    <a:pt x="600" y="289"/>
                  </a:lnTo>
                  <a:close/>
                  <a:moveTo>
                    <a:pt x="698" y="244"/>
                  </a:moveTo>
                  <a:cubicBezTo>
                    <a:pt x="698" y="233"/>
                    <a:pt x="690" y="225"/>
                    <a:pt x="678" y="225"/>
                  </a:cubicBezTo>
                  <a:cubicBezTo>
                    <a:pt x="652" y="225"/>
                    <a:pt x="652" y="225"/>
                    <a:pt x="652" y="225"/>
                  </a:cubicBezTo>
                  <a:cubicBezTo>
                    <a:pt x="652" y="289"/>
                    <a:pt x="652" y="289"/>
                    <a:pt x="652" y="289"/>
                  </a:cubicBezTo>
                  <a:cubicBezTo>
                    <a:pt x="660" y="289"/>
                    <a:pt x="660" y="289"/>
                    <a:pt x="660" y="289"/>
                  </a:cubicBezTo>
                  <a:cubicBezTo>
                    <a:pt x="660" y="264"/>
                    <a:pt x="660" y="264"/>
                    <a:pt x="660" y="264"/>
                  </a:cubicBezTo>
                  <a:cubicBezTo>
                    <a:pt x="673" y="264"/>
                    <a:pt x="673" y="264"/>
                    <a:pt x="673" y="264"/>
                  </a:cubicBezTo>
                  <a:cubicBezTo>
                    <a:pt x="689" y="289"/>
                    <a:pt x="689" y="289"/>
                    <a:pt x="689" y="289"/>
                  </a:cubicBezTo>
                  <a:cubicBezTo>
                    <a:pt x="699" y="289"/>
                    <a:pt x="699" y="289"/>
                    <a:pt x="699" y="289"/>
                  </a:cubicBezTo>
                  <a:cubicBezTo>
                    <a:pt x="682" y="263"/>
                    <a:pt x="682" y="263"/>
                    <a:pt x="682" y="263"/>
                  </a:cubicBezTo>
                  <a:cubicBezTo>
                    <a:pt x="690" y="262"/>
                    <a:pt x="698" y="256"/>
                    <a:pt x="698" y="244"/>
                  </a:cubicBezTo>
                  <a:close/>
                  <a:moveTo>
                    <a:pt x="660" y="257"/>
                  </a:moveTo>
                  <a:cubicBezTo>
                    <a:pt x="660" y="232"/>
                    <a:pt x="660" y="232"/>
                    <a:pt x="660" y="232"/>
                  </a:cubicBezTo>
                  <a:cubicBezTo>
                    <a:pt x="677" y="232"/>
                    <a:pt x="677" y="232"/>
                    <a:pt x="677" y="232"/>
                  </a:cubicBezTo>
                  <a:cubicBezTo>
                    <a:pt x="685" y="232"/>
                    <a:pt x="690" y="237"/>
                    <a:pt x="690" y="244"/>
                  </a:cubicBezTo>
                  <a:cubicBezTo>
                    <a:pt x="690" y="252"/>
                    <a:pt x="685" y="257"/>
                    <a:pt x="677" y="257"/>
                  </a:cubicBezTo>
                  <a:lnTo>
                    <a:pt x="660" y="257"/>
                  </a:lnTo>
                  <a:close/>
                  <a:moveTo>
                    <a:pt x="762" y="274"/>
                  </a:moveTo>
                  <a:cubicBezTo>
                    <a:pt x="742" y="225"/>
                    <a:pt x="742" y="225"/>
                    <a:pt x="742" y="225"/>
                  </a:cubicBezTo>
                  <a:cubicBezTo>
                    <a:pt x="731" y="225"/>
                    <a:pt x="731" y="225"/>
                    <a:pt x="731" y="225"/>
                  </a:cubicBezTo>
                  <a:cubicBezTo>
                    <a:pt x="731" y="289"/>
                    <a:pt x="731" y="289"/>
                    <a:pt x="731" y="289"/>
                  </a:cubicBezTo>
                  <a:cubicBezTo>
                    <a:pt x="739" y="289"/>
                    <a:pt x="739" y="289"/>
                    <a:pt x="739" y="289"/>
                  </a:cubicBezTo>
                  <a:cubicBezTo>
                    <a:pt x="739" y="235"/>
                    <a:pt x="739" y="235"/>
                    <a:pt x="739" y="235"/>
                  </a:cubicBezTo>
                  <a:cubicBezTo>
                    <a:pt x="761" y="289"/>
                    <a:pt x="761" y="289"/>
                    <a:pt x="761" y="289"/>
                  </a:cubicBezTo>
                  <a:cubicBezTo>
                    <a:pt x="764" y="289"/>
                    <a:pt x="764" y="289"/>
                    <a:pt x="764" y="289"/>
                  </a:cubicBezTo>
                  <a:cubicBezTo>
                    <a:pt x="786" y="235"/>
                    <a:pt x="786" y="235"/>
                    <a:pt x="786" y="235"/>
                  </a:cubicBezTo>
                  <a:cubicBezTo>
                    <a:pt x="786" y="289"/>
                    <a:pt x="786" y="289"/>
                    <a:pt x="786" y="289"/>
                  </a:cubicBezTo>
                  <a:cubicBezTo>
                    <a:pt x="794" y="289"/>
                    <a:pt x="794" y="289"/>
                    <a:pt x="794" y="289"/>
                  </a:cubicBezTo>
                  <a:cubicBezTo>
                    <a:pt x="794" y="225"/>
                    <a:pt x="794" y="225"/>
                    <a:pt x="794" y="225"/>
                  </a:cubicBezTo>
                  <a:cubicBezTo>
                    <a:pt x="782" y="225"/>
                    <a:pt x="782" y="225"/>
                    <a:pt x="782" y="225"/>
                  </a:cubicBezTo>
                  <a:lnTo>
                    <a:pt x="762" y="274"/>
                  </a:lnTo>
                  <a:close/>
                  <a:moveTo>
                    <a:pt x="806" y="289"/>
                  </a:moveTo>
                  <a:cubicBezTo>
                    <a:pt x="848" y="289"/>
                    <a:pt x="848" y="289"/>
                    <a:pt x="848" y="289"/>
                  </a:cubicBezTo>
                  <a:cubicBezTo>
                    <a:pt x="848" y="282"/>
                    <a:pt x="848" y="282"/>
                    <a:pt x="848" y="282"/>
                  </a:cubicBezTo>
                  <a:cubicBezTo>
                    <a:pt x="814" y="282"/>
                    <a:pt x="814" y="282"/>
                    <a:pt x="814" y="282"/>
                  </a:cubicBezTo>
                  <a:cubicBezTo>
                    <a:pt x="814" y="260"/>
                    <a:pt x="814" y="260"/>
                    <a:pt x="814" y="260"/>
                  </a:cubicBezTo>
                  <a:cubicBezTo>
                    <a:pt x="847" y="260"/>
                    <a:pt x="847" y="260"/>
                    <a:pt x="847" y="260"/>
                  </a:cubicBezTo>
                  <a:cubicBezTo>
                    <a:pt x="847" y="253"/>
                    <a:pt x="847" y="253"/>
                    <a:pt x="847" y="253"/>
                  </a:cubicBezTo>
                  <a:cubicBezTo>
                    <a:pt x="814" y="253"/>
                    <a:pt x="814" y="253"/>
                    <a:pt x="814" y="253"/>
                  </a:cubicBezTo>
                  <a:cubicBezTo>
                    <a:pt x="814" y="232"/>
                    <a:pt x="814" y="232"/>
                    <a:pt x="814" y="232"/>
                  </a:cubicBezTo>
                  <a:cubicBezTo>
                    <a:pt x="848" y="232"/>
                    <a:pt x="848" y="232"/>
                    <a:pt x="848" y="232"/>
                  </a:cubicBezTo>
                  <a:cubicBezTo>
                    <a:pt x="848" y="225"/>
                    <a:pt x="848" y="225"/>
                    <a:pt x="848" y="225"/>
                  </a:cubicBezTo>
                  <a:cubicBezTo>
                    <a:pt x="806" y="225"/>
                    <a:pt x="806" y="225"/>
                    <a:pt x="806" y="225"/>
                  </a:cubicBezTo>
                  <a:lnTo>
                    <a:pt x="806" y="289"/>
                  </a:lnTo>
                  <a:close/>
                  <a:moveTo>
                    <a:pt x="880" y="225"/>
                  </a:moveTo>
                  <a:cubicBezTo>
                    <a:pt x="858" y="225"/>
                    <a:pt x="858" y="225"/>
                    <a:pt x="858" y="225"/>
                  </a:cubicBezTo>
                  <a:cubicBezTo>
                    <a:pt x="858" y="289"/>
                    <a:pt x="858" y="289"/>
                    <a:pt x="858" y="289"/>
                  </a:cubicBezTo>
                  <a:cubicBezTo>
                    <a:pt x="880" y="289"/>
                    <a:pt x="880" y="289"/>
                    <a:pt x="880" y="289"/>
                  </a:cubicBezTo>
                  <a:cubicBezTo>
                    <a:pt x="900" y="289"/>
                    <a:pt x="913" y="275"/>
                    <a:pt x="913" y="257"/>
                  </a:cubicBezTo>
                  <a:cubicBezTo>
                    <a:pt x="913" y="239"/>
                    <a:pt x="900" y="225"/>
                    <a:pt x="880" y="225"/>
                  </a:cubicBezTo>
                  <a:close/>
                  <a:moveTo>
                    <a:pt x="880" y="282"/>
                  </a:moveTo>
                  <a:cubicBezTo>
                    <a:pt x="866" y="282"/>
                    <a:pt x="866" y="282"/>
                    <a:pt x="866" y="282"/>
                  </a:cubicBezTo>
                  <a:cubicBezTo>
                    <a:pt x="866" y="232"/>
                    <a:pt x="866" y="232"/>
                    <a:pt x="866" y="232"/>
                  </a:cubicBezTo>
                  <a:cubicBezTo>
                    <a:pt x="880" y="232"/>
                    <a:pt x="880" y="232"/>
                    <a:pt x="880" y="232"/>
                  </a:cubicBezTo>
                  <a:cubicBezTo>
                    <a:pt x="896" y="232"/>
                    <a:pt x="905" y="243"/>
                    <a:pt x="905" y="257"/>
                  </a:cubicBezTo>
                  <a:cubicBezTo>
                    <a:pt x="905" y="271"/>
                    <a:pt x="896" y="282"/>
                    <a:pt x="880" y="282"/>
                  </a:cubicBezTo>
                  <a:close/>
                  <a:moveTo>
                    <a:pt x="923" y="289"/>
                  </a:moveTo>
                  <a:cubicBezTo>
                    <a:pt x="931" y="289"/>
                    <a:pt x="931" y="289"/>
                    <a:pt x="931" y="289"/>
                  </a:cubicBezTo>
                  <a:cubicBezTo>
                    <a:pt x="931" y="225"/>
                    <a:pt x="931" y="225"/>
                    <a:pt x="931" y="225"/>
                  </a:cubicBezTo>
                  <a:cubicBezTo>
                    <a:pt x="923" y="225"/>
                    <a:pt x="923" y="225"/>
                    <a:pt x="923" y="225"/>
                  </a:cubicBezTo>
                  <a:lnTo>
                    <a:pt x="923" y="289"/>
                  </a:lnTo>
                  <a:close/>
                  <a:moveTo>
                    <a:pt x="974" y="283"/>
                  </a:moveTo>
                  <a:cubicBezTo>
                    <a:pt x="960" y="283"/>
                    <a:pt x="949" y="272"/>
                    <a:pt x="949" y="257"/>
                  </a:cubicBezTo>
                  <a:cubicBezTo>
                    <a:pt x="949" y="242"/>
                    <a:pt x="960" y="231"/>
                    <a:pt x="974" y="231"/>
                  </a:cubicBezTo>
                  <a:cubicBezTo>
                    <a:pt x="981" y="231"/>
                    <a:pt x="988" y="235"/>
                    <a:pt x="992" y="240"/>
                  </a:cubicBezTo>
                  <a:cubicBezTo>
                    <a:pt x="998" y="237"/>
                    <a:pt x="998" y="237"/>
                    <a:pt x="998" y="237"/>
                  </a:cubicBezTo>
                  <a:cubicBezTo>
                    <a:pt x="993" y="229"/>
                    <a:pt x="985" y="224"/>
                    <a:pt x="974" y="224"/>
                  </a:cubicBezTo>
                  <a:cubicBezTo>
                    <a:pt x="956" y="224"/>
                    <a:pt x="941" y="237"/>
                    <a:pt x="941" y="257"/>
                  </a:cubicBezTo>
                  <a:cubicBezTo>
                    <a:pt x="941" y="277"/>
                    <a:pt x="956" y="290"/>
                    <a:pt x="974" y="290"/>
                  </a:cubicBezTo>
                  <a:cubicBezTo>
                    <a:pt x="985" y="290"/>
                    <a:pt x="993" y="285"/>
                    <a:pt x="998" y="277"/>
                  </a:cubicBezTo>
                  <a:cubicBezTo>
                    <a:pt x="992" y="274"/>
                    <a:pt x="992" y="274"/>
                    <a:pt x="992" y="274"/>
                  </a:cubicBezTo>
                  <a:cubicBezTo>
                    <a:pt x="988" y="279"/>
                    <a:pt x="981" y="283"/>
                    <a:pt x="974" y="283"/>
                  </a:cubicBezTo>
                  <a:close/>
                  <a:moveTo>
                    <a:pt x="1025" y="225"/>
                  </a:moveTo>
                  <a:cubicBezTo>
                    <a:pt x="999" y="289"/>
                    <a:pt x="999" y="289"/>
                    <a:pt x="999" y="289"/>
                  </a:cubicBezTo>
                  <a:cubicBezTo>
                    <a:pt x="1008" y="289"/>
                    <a:pt x="1008" y="289"/>
                    <a:pt x="1008" y="289"/>
                  </a:cubicBezTo>
                  <a:cubicBezTo>
                    <a:pt x="1014" y="275"/>
                    <a:pt x="1014" y="275"/>
                    <a:pt x="1014" y="275"/>
                  </a:cubicBezTo>
                  <a:cubicBezTo>
                    <a:pt x="1046" y="275"/>
                    <a:pt x="1046" y="275"/>
                    <a:pt x="1046" y="275"/>
                  </a:cubicBezTo>
                  <a:cubicBezTo>
                    <a:pt x="1052" y="289"/>
                    <a:pt x="1052" y="289"/>
                    <a:pt x="1052" y="289"/>
                  </a:cubicBezTo>
                  <a:cubicBezTo>
                    <a:pt x="1061" y="289"/>
                    <a:pt x="1061" y="289"/>
                    <a:pt x="1061" y="289"/>
                  </a:cubicBezTo>
                  <a:cubicBezTo>
                    <a:pt x="1035" y="225"/>
                    <a:pt x="1035" y="225"/>
                    <a:pt x="1035" y="225"/>
                  </a:cubicBezTo>
                  <a:lnTo>
                    <a:pt x="1025" y="225"/>
                  </a:lnTo>
                  <a:close/>
                  <a:moveTo>
                    <a:pt x="1017" y="268"/>
                  </a:moveTo>
                  <a:cubicBezTo>
                    <a:pt x="1030" y="233"/>
                    <a:pt x="1030" y="233"/>
                    <a:pt x="1030" y="233"/>
                  </a:cubicBezTo>
                  <a:cubicBezTo>
                    <a:pt x="1044" y="268"/>
                    <a:pt x="1044" y="268"/>
                    <a:pt x="1044" y="268"/>
                  </a:cubicBezTo>
                  <a:lnTo>
                    <a:pt x="1017" y="268"/>
                  </a:lnTo>
                  <a:close/>
                  <a:moveTo>
                    <a:pt x="1074" y="225"/>
                  </a:moveTo>
                  <a:cubicBezTo>
                    <a:pt x="1066" y="225"/>
                    <a:pt x="1066" y="225"/>
                    <a:pt x="1066" y="225"/>
                  </a:cubicBezTo>
                  <a:cubicBezTo>
                    <a:pt x="1066" y="289"/>
                    <a:pt x="1066" y="289"/>
                    <a:pt x="1066" y="289"/>
                  </a:cubicBezTo>
                  <a:cubicBezTo>
                    <a:pt x="1103" y="289"/>
                    <a:pt x="1103" y="289"/>
                    <a:pt x="1103" y="289"/>
                  </a:cubicBezTo>
                  <a:cubicBezTo>
                    <a:pt x="1103" y="282"/>
                    <a:pt x="1103" y="282"/>
                    <a:pt x="1103" y="282"/>
                  </a:cubicBezTo>
                  <a:cubicBezTo>
                    <a:pt x="1074" y="282"/>
                    <a:pt x="1074" y="282"/>
                    <a:pt x="1074" y="282"/>
                  </a:cubicBezTo>
                  <a:lnTo>
                    <a:pt x="1074" y="225"/>
                  </a:lnTo>
                  <a:close/>
                  <a:moveTo>
                    <a:pt x="1157" y="283"/>
                  </a:moveTo>
                  <a:cubicBezTo>
                    <a:pt x="1143" y="283"/>
                    <a:pt x="1133" y="272"/>
                    <a:pt x="1133" y="257"/>
                  </a:cubicBezTo>
                  <a:cubicBezTo>
                    <a:pt x="1133" y="242"/>
                    <a:pt x="1143" y="231"/>
                    <a:pt x="1157" y="231"/>
                  </a:cubicBezTo>
                  <a:cubicBezTo>
                    <a:pt x="1165" y="231"/>
                    <a:pt x="1171" y="235"/>
                    <a:pt x="1175" y="240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76" y="229"/>
                    <a:pt x="1169" y="224"/>
                    <a:pt x="1157" y="224"/>
                  </a:cubicBezTo>
                  <a:cubicBezTo>
                    <a:pt x="1139" y="224"/>
                    <a:pt x="1124" y="237"/>
                    <a:pt x="1124" y="257"/>
                  </a:cubicBezTo>
                  <a:cubicBezTo>
                    <a:pt x="1124" y="277"/>
                    <a:pt x="1139" y="290"/>
                    <a:pt x="1157" y="290"/>
                  </a:cubicBezTo>
                  <a:cubicBezTo>
                    <a:pt x="1169" y="290"/>
                    <a:pt x="1176" y="285"/>
                    <a:pt x="1182" y="277"/>
                  </a:cubicBezTo>
                  <a:cubicBezTo>
                    <a:pt x="1175" y="274"/>
                    <a:pt x="1175" y="274"/>
                    <a:pt x="1175" y="274"/>
                  </a:cubicBezTo>
                  <a:cubicBezTo>
                    <a:pt x="1171" y="279"/>
                    <a:pt x="1165" y="283"/>
                    <a:pt x="1157" y="283"/>
                  </a:cubicBezTo>
                  <a:close/>
                  <a:moveTo>
                    <a:pt x="1189" y="289"/>
                  </a:moveTo>
                  <a:cubicBezTo>
                    <a:pt x="1231" y="289"/>
                    <a:pt x="1231" y="289"/>
                    <a:pt x="1231" y="289"/>
                  </a:cubicBezTo>
                  <a:cubicBezTo>
                    <a:pt x="1231" y="282"/>
                    <a:pt x="1231" y="282"/>
                    <a:pt x="1231" y="282"/>
                  </a:cubicBezTo>
                  <a:cubicBezTo>
                    <a:pt x="1197" y="282"/>
                    <a:pt x="1197" y="282"/>
                    <a:pt x="1197" y="282"/>
                  </a:cubicBezTo>
                  <a:cubicBezTo>
                    <a:pt x="1197" y="260"/>
                    <a:pt x="1197" y="260"/>
                    <a:pt x="1197" y="260"/>
                  </a:cubicBezTo>
                  <a:cubicBezTo>
                    <a:pt x="1231" y="260"/>
                    <a:pt x="1231" y="260"/>
                    <a:pt x="1231" y="260"/>
                  </a:cubicBezTo>
                  <a:cubicBezTo>
                    <a:pt x="1231" y="253"/>
                    <a:pt x="1231" y="253"/>
                    <a:pt x="1231" y="253"/>
                  </a:cubicBezTo>
                  <a:cubicBezTo>
                    <a:pt x="1197" y="253"/>
                    <a:pt x="1197" y="253"/>
                    <a:pt x="1197" y="253"/>
                  </a:cubicBezTo>
                  <a:cubicBezTo>
                    <a:pt x="1197" y="232"/>
                    <a:pt x="1197" y="232"/>
                    <a:pt x="1197" y="232"/>
                  </a:cubicBezTo>
                  <a:cubicBezTo>
                    <a:pt x="1231" y="232"/>
                    <a:pt x="1231" y="232"/>
                    <a:pt x="1231" y="232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189" y="225"/>
                    <a:pt x="1189" y="225"/>
                    <a:pt x="1189" y="225"/>
                  </a:cubicBezTo>
                  <a:lnTo>
                    <a:pt x="1189" y="289"/>
                  </a:lnTo>
                  <a:close/>
                  <a:moveTo>
                    <a:pt x="1287" y="275"/>
                  </a:moveTo>
                  <a:cubicBezTo>
                    <a:pt x="1250" y="225"/>
                    <a:pt x="1250" y="225"/>
                    <a:pt x="1250" y="225"/>
                  </a:cubicBezTo>
                  <a:cubicBezTo>
                    <a:pt x="1242" y="225"/>
                    <a:pt x="1242" y="225"/>
                    <a:pt x="1242" y="225"/>
                  </a:cubicBezTo>
                  <a:cubicBezTo>
                    <a:pt x="1242" y="289"/>
                    <a:pt x="1242" y="289"/>
                    <a:pt x="1242" y="289"/>
                  </a:cubicBezTo>
                  <a:cubicBezTo>
                    <a:pt x="1250" y="289"/>
                    <a:pt x="1250" y="289"/>
                    <a:pt x="1250" y="289"/>
                  </a:cubicBezTo>
                  <a:cubicBezTo>
                    <a:pt x="1250" y="238"/>
                    <a:pt x="1250" y="238"/>
                    <a:pt x="1250" y="238"/>
                  </a:cubicBezTo>
                  <a:cubicBezTo>
                    <a:pt x="1287" y="289"/>
                    <a:pt x="1287" y="289"/>
                    <a:pt x="1287" y="289"/>
                  </a:cubicBezTo>
                  <a:cubicBezTo>
                    <a:pt x="1295" y="289"/>
                    <a:pt x="1295" y="289"/>
                    <a:pt x="1295" y="289"/>
                  </a:cubicBezTo>
                  <a:cubicBezTo>
                    <a:pt x="1295" y="225"/>
                    <a:pt x="1295" y="225"/>
                    <a:pt x="1295" y="225"/>
                  </a:cubicBezTo>
                  <a:cubicBezTo>
                    <a:pt x="1287" y="225"/>
                    <a:pt x="1287" y="225"/>
                    <a:pt x="1287" y="225"/>
                  </a:cubicBezTo>
                  <a:lnTo>
                    <a:pt x="1287" y="275"/>
                  </a:lnTo>
                  <a:close/>
                  <a:moveTo>
                    <a:pt x="1303" y="232"/>
                  </a:moveTo>
                  <a:cubicBezTo>
                    <a:pt x="1323" y="232"/>
                    <a:pt x="1323" y="232"/>
                    <a:pt x="1323" y="232"/>
                  </a:cubicBezTo>
                  <a:cubicBezTo>
                    <a:pt x="1323" y="289"/>
                    <a:pt x="1323" y="289"/>
                    <a:pt x="1323" y="289"/>
                  </a:cubicBezTo>
                  <a:cubicBezTo>
                    <a:pt x="1331" y="289"/>
                    <a:pt x="1331" y="289"/>
                    <a:pt x="1331" y="289"/>
                  </a:cubicBezTo>
                  <a:cubicBezTo>
                    <a:pt x="1331" y="232"/>
                    <a:pt x="1331" y="232"/>
                    <a:pt x="1331" y="232"/>
                  </a:cubicBezTo>
                  <a:cubicBezTo>
                    <a:pt x="1351" y="232"/>
                    <a:pt x="1351" y="232"/>
                    <a:pt x="1351" y="232"/>
                  </a:cubicBezTo>
                  <a:cubicBezTo>
                    <a:pt x="1351" y="225"/>
                    <a:pt x="1351" y="225"/>
                    <a:pt x="1351" y="225"/>
                  </a:cubicBezTo>
                  <a:cubicBezTo>
                    <a:pt x="1303" y="225"/>
                    <a:pt x="1303" y="225"/>
                    <a:pt x="1303" y="225"/>
                  </a:cubicBezTo>
                  <a:lnTo>
                    <a:pt x="1303" y="232"/>
                  </a:lnTo>
                  <a:close/>
                  <a:moveTo>
                    <a:pt x="1360" y="289"/>
                  </a:moveTo>
                  <a:cubicBezTo>
                    <a:pt x="1401" y="289"/>
                    <a:pt x="1401" y="289"/>
                    <a:pt x="1401" y="289"/>
                  </a:cubicBezTo>
                  <a:cubicBezTo>
                    <a:pt x="1401" y="282"/>
                    <a:pt x="1401" y="282"/>
                    <a:pt x="1401" y="282"/>
                  </a:cubicBezTo>
                  <a:cubicBezTo>
                    <a:pt x="1367" y="282"/>
                    <a:pt x="1367" y="282"/>
                    <a:pt x="1367" y="282"/>
                  </a:cubicBezTo>
                  <a:cubicBezTo>
                    <a:pt x="1367" y="260"/>
                    <a:pt x="1367" y="260"/>
                    <a:pt x="1367" y="260"/>
                  </a:cubicBezTo>
                  <a:cubicBezTo>
                    <a:pt x="1401" y="260"/>
                    <a:pt x="1401" y="260"/>
                    <a:pt x="1401" y="260"/>
                  </a:cubicBezTo>
                  <a:cubicBezTo>
                    <a:pt x="1401" y="253"/>
                    <a:pt x="1401" y="253"/>
                    <a:pt x="1401" y="253"/>
                  </a:cubicBezTo>
                  <a:cubicBezTo>
                    <a:pt x="1367" y="253"/>
                    <a:pt x="1367" y="253"/>
                    <a:pt x="1367" y="253"/>
                  </a:cubicBezTo>
                  <a:cubicBezTo>
                    <a:pt x="1367" y="232"/>
                    <a:pt x="1367" y="232"/>
                    <a:pt x="1367" y="232"/>
                  </a:cubicBezTo>
                  <a:cubicBezTo>
                    <a:pt x="1401" y="232"/>
                    <a:pt x="1401" y="232"/>
                    <a:pt x="1401" y="232"/>
                  </a:cubicBezTo>
                  <a:cubicBezTo>
                    <a:pt x="1401" y="225"/>
                    <a:pt x="1401" y="225"/>
                    <a:pt x="1401" y="225"/>
                  </a:cubicBezTo>
                  <a:cubicBezTo>
                    <a:pt x="1360" y="225"/>
                    <a:pt x="1360" y="225"/>
                    <a:pt x="1360" y="225"/>
                  </a:cubicBezTo>
                  <a:lnTo>
                    <a:pt x="1360" y="289"/>
                  </a:lnTo>
                  <a:close/>
                  <a:moveTo>
                    <a:pt x="1458" y="244"/>
                  </a:moveTo>
                  <a:cubicBezTo>
                    <a:pt x="1458" y="233"/>
                    <a:pt x="1449" y="225"/>
                    <a:pt x="1437" y="225"/>
                  </a:cubicBezTo>
                  <a:cubicBezTo>
                    <a:pt x="1412" y="225"/>
                    <a:pt x="1412" y="225"/>
                    <a:pt x="1412" y="225"/>
                  </a:cubicBezTo>
                  <a:cubicBezTo>
                    <a:pt x="1412" y="289"/>
                    <a:pt x="1412" y="289"/>
                    <a:pt x="1412" y="289"/>
                  </a:cubicBezTo>
                  <a:cubicBezTo>
                    <a:pt x="1420" y="289"/>
                    <a:pt x="1420" y="289"/>
                    <a:pt x="1420" y="289"/>
                  </a:cubicBezTo>
                  <a:cubicBezTo>
                    <a:pt x="1420" y="264"/>
                    <a:pt x="1420" y="264"/>
                    <a:pt x="1420" y="264"/>
                  </a:cubicBezTo>
                  <a:cubicBezTo>
                    <a:pt x="1433" y="264"/>
                    <a:pt x="1433" y="264"/>
                    <a:pt x="1433" y="264"/>
                  </a:cubicBezTo>
                  <a:cubicBezTo>
                    <a:pt x="1449" y="289"/>
                    <a:pt x="1449" y="289"/>
                    <a:pt x="1449" y="289"/>
                  </a:cubicBezTo>
                  <a:cubicBezTo>
                    <a:pt x="1458" y="289"/>
                    <a:pt x="1458" y="289"/>
                    <a:pt x="1458" y="289"/>
                  </a:cubicBezTo>
                  <a:cubicBezTo>
                    <a:pt x="1441" y="263"/>
                    <a:pt x="1441" y="263"/>
                    <a:pt x="1441" y="263"/>
                  </a:cubicBezTo>
                  <a:cubicBezTo>
                    <a:pt x="1450" y="262"/>
                    <a:pt x="1458" y="256"/>
                    <a:pt x="1458" y="244"/>
                  </a:cubicBezTo>
                  <a:close/>
                  <a:moveTo>
                    <a:pt x="1420" y="257"/>
                  </a:moveTo>
                  <a:cubicBezTo>
                    <a:pt x="1420" y="232"/>
                    <a:pt x="1420" y="232"/>
                    <a:pt x="1420" y="232"/>
                  </a:cubicBezTo>
                  <a:cubicBezTo>
                    <a:pt x="1437" y="232"/>
                    <a:pt x="1437" y="232"/>
                    <a:pt x="1437" y="232"/>
                  </a:cubicBezTo>
                  <a:cubicBezTo>
                    <a:pt x="1444" y="232"/>
                    <a:pt x="1449" y="237"/>
                    <a:pt x="1449" y="244"/>
                  </a:cubicBezTo>
                  <a:cubicBezTo>
                    <a:pt x="1449" y="252"/>
                    <a:pt x="1444" y="257"/>
                    <a:pt x="1437" y="257"/>
                  </a:cubicBezTo>
                  <a:lnTo>
                    <a:pt x="1420" y="257"/>
                  </a:lnTo>
                  <a:close/>
                  <a:moveTo>
                    <a:pt x="59" y="0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58" y="312"/>
                    <a:pt x="58" y="312"/>
                    <a:pt x="58" y="312"/>
                  </a:cubicBezTo>
                  <a:cubicBezTo>
                    <a:pt x="180" y="312"/>
                    <a:pt x="180" y="312"/>
                    <a:pt x="180" y="312"/>
                  </a:cubicBezTo>
                  <a:cubicBezTo>
                    <a:pt x="239" y="253"/>
                    <a:pt x="239" y="253"/>
                    <a:pt x="239" y="25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180" y="0"/>
                    <a:pt x="180" y="0"/>
                    <a:pt x="180" y="0"/>
                  </a:cubicBezTo>
                  <a:lnTo>
                    <a:pt x="59" y="0"/>
                  </a:lnTo>
                  <a:close/>
                  <a:moveTo>
                    <a:pt x="233" y="251"/>
                  </a:moveTo>
                  <a:cubicBezTo>
                    <a:pt x="178" y="307"/>
                    <a:pt x="178" y="307"/>
                    <a:pt x="178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5" y="251"/>
                    <a:pt x="5" y="251"/>
                    <a:pt x="5" y="25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233" y="60"/>
                    <a:pt x="233" y="60"/>
                    <a:pt x="233" y="60"/>
                  </a:cubicBezTo>
                  <a:lnTo>
                    <a:pt x="233" y="251"/>
                  </a:lnTo>
                  <a:close/>
                  <a:moveTo>
                    <a:pt x="89" y="75"/>
                  </a:moveTo>
                  <a:cubicBezTo>
                    <a:pt x="73" y="91"/>
                    <a:pt x="73" y="91"/>
                    <a:pt x="73" y="91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89" y="238"/>
                    <a:pt x="89" y="238"/>
                    <a:pt x="89" y="238"/>
                  </a:cubicBezTo>
                  <a:cubicBezTo>
                    <a:pt x="150" y="238"/>
                    <a:pt x="150" y="238"/>
                    <a:pt x="150" y="238"/>
                  </a:cubicBezTo>
                  <a:cubicBezTo>
                    <a:pt x="165" y="222"/>
                    <a:pt x="165" y="222"/>
                    <a:pt x="165" y="222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49" y="75"/>
                    <a:pt x="149" y="75"/>
                    <a:pt x="149" y="75"/>
                  </a:cubicBezTo>
                  <a:lnTo>
                    <a:pt x="89" y="75"/>
                  </a:lnTo>
                  <a:close/>
                  <a:moveTo>
                    <a:pt x="160" y="220"/>
                  </a:moveTo>
                  <a:cubicBezTo>
                    <a:pt x="147" y="233"/>
                    <a:pt x="147" y="233"/>
                    <a:pt x="147" y="233"/>
                  </a:cubicBezTo>
                  <a:cubicBezTo>
                    <a:pt x="91" y="233"/>
                    <a:pt x="91" y="233"/>
                    <a:pt x="91" y="233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9" y="93"/>
                    <a:pt x="79" y="93"/>
                    <a:pt x="79" y="93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60" y="93"/>
                    <a:pt x="160" y="93"/>
                    <a:pt x="160" y="93"/>
                  </a:cubicBezTo>
                  <a:lnTo>
                    <a:pt x="160" y="220"/>
                  </a:lnTo>
                  <a:close/>
                  <a:moveTo>
                    <a:pt x="318" y="169"/>
                  </a:moveTo>
                  <a:cubicBezTo>
                    <a:pt x="318" y="174"/>
                    <a:pt x="318" y="174"/>
                    <a:pt x="318" y="174"/>
                  </a:cubicBezTo>
                  <a:cubicBezTo>
                    <a:pt x="2178" y="174"/>
                    <a:pt x="2178" y="174"/>
                    <a:pt x="2178" y="174"/>
                  </a:cubicBezTo>
                  <a:cubicBezTo>
                    <a:pt x="2178" y="169"/>
                    <a:pt x="2178" y="169"/>
                    <a:pt x="2178" y="169"/>
                  </a:cubicBezTo>
                  <a:lnTo>
                    <a:pt x="318" y="169"/>
                  </a:lnTo>
                  <a:close/>
                  <a:moveTo>
                    <a:pt x="1628" y="109"/>
                  </a:moveTo>
                  <a:cubicBezTo>
                    <a:pt x="1616" y="107"/>
                    <a:pt x="1616" y="107"/>
                    <a:pt x="1616" y="107"/>
                  </a:cubicBezTo>
                  <a:cubicBezTo>
                    <a:pt x="1616" y="48"/>
                    <a:pt x="1616" y="48"/>
                    <a:pt x="1616" y="48"/>
                  </a:cubicBezTo>
                  <a:cubicBezTo>
                    <a:pt x="1628" y="46"/>
                    <a:pt x="1628" y="46"/>
                    <a:pt x="1628" y="46"/>
                  </a:cubicBezTo>
                  <a:cubicBezTo>
                    <a:pt x="1628" y="39"/>
                    <a:pt x="1628" y="39"/>
                    <a:pt x="1628" y="39"/>
                  </a:cubicBezTo>
                  <a:cubicBezTo>
                    <a:pt x="1587" y="39"/>
                    <a:pt x="1587" y="39"/>
                    <a:pt x="1587" y="39"/>
                  </a:cubicBezTo>
                  <a:cubicBezTo>
                    <a:pt x="1587" y="46"/>
                    <a:pt x="1587" y="46"/>
                    <a:pt x="1587" y="46"/>
                  </a:cubicBezTo>
                  <a:cubicBezTo>
                    <a:pt x="1599" y="48"/>
                    <a:pt x="1599" y="48"/>
                    <a:pt x="1599" y="48"/>
                  </a:cubicBezTo>
                  <a:cubicBezTo>
                    <a:pt x="1599" y="107"/>
                    <a:pt x="1599" y="107"/>
                    <a:pt x="1599" y="107"/>
                  </a:cubicBezTo>
                  <a:cubicBezTo>
                    <a:pt x="1587" y="109"/>
                    <a:pt x="1587" y="109"/>
                    <a:pt x="1587" y="109"/>
                  </a:cubicBezTo>
                  <a:cubicBezTo>
                    <a:pt x="1587" y="116"/>
                    <a:pt x="1587" y="116"/>
                    <a:pt x="1587" y="116"/>
                  </a:cubicBezTo>
                  <a:cubicBezTo>
                    <a:pt x="1628" y="116"/>
                    <a:pt x="1628" y="116"/>
                    <a:pt x="1628" y="116"/>
                  </a:cubicBezTo>
                  <a:lnTo>
                    <a:pt x="1628" y="109"/>
                  </a:lnTo>
                  <a:close/>
                  <a:moveTo>
                    <a:pt x="1526" y="109"/>
                  </a:moveTo>
                  <a:cubicBezTo>
                    <a:pt x="1515" y="107"/>
                    <a:pt x="1515" y="107"/>
                    <a:pt x="1515" y="107"/>
                  </a:cubicBezTo>
                  <a:cubicBezTo>
                    <a:pt x="1515" y="61"/>
                    <a:pt x="1515" y="61"/>
                    <a:pt x="1515" y="61"/>
                  </a:cubicBezTo>
                  <a:cubicBezTo>
                    <a:pt x="1553" y="116"/>
                    <a:pt x="1553" y="116"/>
                    <a:pt x="1553" y="116"/>
                  </a:cubicBezTo>
                  <a:cubicBezTo>
                    <a:pt x="1567" y="116"/>
                    <a:pt x="1567" y="116"/>
                    <a:pt x="1567" y="116"/>
                  </a:cubicBezTo>
                  <a:cubicBezTo>
                    <a:pt x="1567" y="48"/>
                    <a:pt x="1567" y="48"/>
                    <a:pt x="1567" y="48"/>
                  </a:cubicBezTo>
                  <a:cubicBezTo>
                    <a:pt x="1578" y="46"/>
                    <a:pt x="1578" y="46"/>
                    <a:pt x="1578" y="46"/>
                  </a:cubicBezTo>
                  <a:cubicBezTo>
                    <a:pt x="1578" y="39"/>
                    <a:pt x="1578" y="39"/>
                    <a:pt x="1578" y="39"/>
                  </a:cubicBezTo>
                  <a:cubicBezTo>
                    <a:pt x="1544" y="39"/>
                    <a:pt x="1544" y="39"/>
                    <a:pt x="1544" y="39"/>
                  </a:cubicBezTo>
                  <a:cubicBezTo>
                    <a:pt x="1544" y="46"/>
                    <a:pt x="1544" y="46"/>
                    <a:pt x="1544" y="46"/>
                  </a:cubicBezTo>
                  <a:cubicBezTo>
                    <a:pt x="1556" y="48"/>
                    <a:pt x="1556" y="48"/>
                    <a:pt x="1556" y="48"/>
                  </a:cubicBezTo>
                  <a:cubicBezTo>
                    <a:pt x="1556" y="91"/>
                    <a:pt x="1556" y="91"/>
                    <a:pt x="1556" y="91"/>
                  </a:cubicBezTo>
                  <a:cubicBezTo>
                    <a:pt x="1518" y="39"/>
                    <a:pt x="1518" y="39"/>
                    <a:pt x="1518" y="39"/>
                  </a:cubicBezTo>
                  <a:cubicBezTo>
                    <a:pt x="1492" y="39"/>
                    <a:pt x="1492" y="39"/>
                    <a:pt x="1492" y="39"/>
                  </a:cubicBezTo>
                  <a:cubicBezTo>
                    <a:pt x="1492" y="46"/>
                    <a:pt x="1492" y="46"/>
                    <a:pt x="1492" y="46"/>
                  </a:cubicBezTo>
                  <a:cubicBezTo>
                    <a:pt x="1503" y="48"/>
                    <a:pt x="1503" y="48"/>
                    <a:pt x="1503" y="48"/>
                  </a:cubicBezTo>
                  <a:cubicBezTo>
                    <a:pt x="1503" y="107"/>
                    <a:pt x="1503" y="107"/>
                    <a:pt x="1503" y="107"/>
                  </a:cubicBezTo>
                  <a:cubicBezTo>
                    <a:pt x="1492" y="109"/>
                    <a:pt x="1492" y="109"/>
                    <a:pt x="1492" y="109"/>
                  </a:cubicBezTo>
                  <a:cubicBezTo>
                    <a:pt x="1492" y="116"/>
                    <a:pt x="1492" y="116"/>
                    <a:pt x="1492" y="116"/>
                  </a:cubicBezTo>
                  <a:cubicBezTo>
                    <a:pt x="1526" y="116"/>
                    <a:pt x="1526" y="116"/>
                    <a:pt x="1526" y="116"/>
                  </a:cubicBezTo>
                  <a:lnTo>
                    <a:pt x="1526" y="109"/>
                  </a:lnTo>
                  <a:close/>
                  <a:moveTo>
                    <a:pt x="1400" y="76"/>
                  </a:moveTo>
                  <a:cubicBezTo>
                    <a:pt x="1400" y="86"/>
                    <a:pt x="1399" y="99"/>
                    <a:pt x="1407" y="107"/>
                  </a:cubicBezTo>
                  <a:cubicBezTo>
                    <a:pt x="1414" y="114"/>
                    <a:pt x="1424" y="117"/>
                    <a:pt x="1438" y="117"/>
                  </a:cubicBezTo>
                  <a:cubicBezTo>
                    <a:pt x="1451" y="117"/>
                    <a:pt x="1461" y="115"/>
                    <a:pt x="1466" y="109"/>
                  </a:cubicBezTo>
                  <a:cubicBezTo>
                    <a:pt x="1474" y="101"/>
                    <a:pt x="1475" y="94"/>
                    <a:pt x="1475" y="77"/>
                  </a:cubicBezTo>
                  <a:cubicBezTo>
                    <a:pt x="1475" y="27"/>
                    <a:pt x="1475" y="27"/>
                    <a:pt x="1475" y="27"/>
                  </a:cubicBezTo>
                  <a:cubicBezTo>
                    <a:pt x="1487" y="26"/>
                    <a:pt x="1487" y="26"/>
                    <a:pt x="1487" y="26"/>
                  </a:cubicBezTo>
                  <a:cubicBezTo>
                    <a:pt x="1487" y="18"/>
                    <a:pt x="1487" y="18"/>
                    <a:pt x="1487" y="18"/>
                  </a:cubicBezTo>
                  <a:cubicBezTo>
                    <a:pt x="1452" y="18"/>
                    <a:pt x="1452" y="18"/>
                    <a:pt x="1452" y="18"/>
                  </a:cubicBezTo>
                  <a:cubicBezTo>
                    <a:pt x="1452" y="26"/>
                    <a:pt x="1452" y="26"/>
                    <a:pt x="1452" y="26"/>
                  </a:cubicBezTo>
                  <a:cubicBezTo>
                    <a:pt x="1463" y="27"/>
                    <a:pt x="1463" y="27"/>
                    <a:pt x="1463" y="27"/>
                  </a:cubicBezTo>
                  <a:cubicBezTo>
                    <a:pt x="1463" y="84"/>
                    <a:pt x="1463" y="84"/>
                    <a:pt x="1463" y="84"/>
                  </a:cubicBezTo>
                  <a:cubicBezTo>
                    <a:pt x="1463" y="92"/>
                    <a:pt x="1461" y="97"/>
                    <a:pt x="1458" y="101"/>
                  </a:cubicBezTo>
                  <a:cubicBezTo>
                    <a:pt x="1454" y="105"/>
                    <a:pt x="1448" y="107"/>
                    <a:pt x="1441" y="107"/>
                  </a:cubicBezTo>
                  <a:cubicBezTo>
                    <a:pt x="1427" y="107"/>
                    <a:pt x="1418" y="100"/>
                    <a:pt x="1418" y="84"/>
                  </a:cubicBezTo>
                  <a:cubicBezTo>
                    <a:pt x="1418" y="27"/>
                    <a:pt x="1418" y="27"/>
                    <a:pt x="1418" y="27"/>
                  </a:cubicBezTo>
                  <a:cubicBezTo>
                    <a:pt x="1430" y="26"/>
                    <a:pt x="1430" y="26"/>
                    <a:pt x="1430" y="26"/>
                  </a:cubicBezTo>
                  <a:cubicBezTo>
                    <a:pt x="1430" y="18"/>
                    <a:pt x="1430" y="18"/>
                    <a:pt x="1430" y="18"/>
                  </a:cubicBezTo>
                  <a:cubicBezTo>
                    <a:pt x="1388" y="18"/>
                    <a:pt x="1388" y="18"/>
                    <a:pt x="1388" y="18"/>
                  </a:cubicBezTo>
                  <a:cubicBezTo>
                    <a:pt x="1388" y="26"/>
                    <a:pt x="1388" y="26"/>
                    <a:pt x="1388" y="26"/>
                  </a:cubicBezTo>
                  <a:cubicBezTo>
                    <a:pt x="1400" y="27"/>
                    <a:pt x="1400" y="27"/>
                    <a:pt x="1400" y="27"/>
                  </a:cubicBezTo>
                  <a:lnTo>
                    <a:pt x="1400" y="76"/>
                  </a:lnTo>
                  <a:close/>
                  <a:moveTo>
                    <a:pt x="1671" y="116"/>
                  </a:moveTo>
                  <a:cubicBezTo>
                    <a:pt x="1687" y="116"/>
                    <a:pt x="1687" y="116"/>
                    <a:pt x="1687" y="116"/>
                  </a:cubicBezTo>
                  <a:cubicBezTo>
                    <a:pt x="1713" y="48"/>
                    <a:pt x="1713" y="48"/>
                    <a:pt x="1713" y="48"/>
                  </a:cubicBezTo>
                  <a:cubicBezTo>
                    <a:pt x="1724" y="46"/>
                    <a:pt x="1724" y="46"/>
                    <a:pt x="1724" y="46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690" y="39"/>
                    <a:pt x="1690" y="39"/>
                    <a:pt x="1690" y="39"/>
                  </a:cubicBezTo>
                  <a:cubicBezTo>
                    <a:pt x="1690" y="46"/>
                    <a:pt x="1690" y="46"/>
                    <a:pt x="1690" y="46"/>
                  </a:cubicBezTo>
                  <a:cubicBezTo>
                    <a:pt x="1701" y="48"/>
                    <a:pt x="1701" y="48"/>
                    <a:pt x="1701" y="48"/>
                  </a:cubicBezTo>
                  <a:cubicBezTo>
                    <a:pt x="1682" y="100"/>
                    <a:pt x="1682" y="100"/>
                    <a:pt x="1682" y="100"/>
                  </a:cubicBezTo>
                  <a:cubicBezTo>
                    <a:pt x="1663" y="48"/>
                    <a:pt x="1663" y="48"/>
                    <a:pt x="1663" y="48"/>
                  </a:cubicBezTo>
                  <a:cubicBezTo>
                    <a:pt x="1674" y="46"/>
                    <a:pt x="1674" y="46"/>
                    <a:pt x="1674" y="46"/>
                  </a:cubicBezTo>
                  <a:cubicBezTo>
                    <a:pt x="1674" y="39"/>
                    <a:pt x="1674" y="39"/>
                    <a:pt x="1674" y="39"/>
                  </a:cubicBezTo>
                  <a:cubicBezTo>
                    <a:pt x="1634" y="39"/>
                    <a:pt x="1634" y="39"/>
                    <a:pt x="1634" y="39"/>
                  </a:cubicBezTo>
                  <a:cubicBezTo>
                    <a:pt x="1634" y="46"/>
                    <a:pt x="1634" y="46"/>
                    <a:pt x="1634" y="46"/>
                  </a:cubicBezTo>
                  <a:cubicBezTo>
                    <a:pt x="1645" y="48"/>
                    <a:pt x="1645" y="48"/>
                    <a:pt x="1645" y="48"/>
                  </a:cubicBezTo>
                  <a:lnTo>
                    <a:pt x="1671" y="116"/>
                  </a:lnTo>
                  <a:close/>
                  <a:moveTo>
                    <a:pt x="2003" y="109"/>
                  </a:moveTo>
                  <a:cubicBezTo>
                    <a:pt x="1992" y="107"/>
                    <a:pt x="1992" y="107"/>
                    <a:pt x="1992" y="107"/>
                  </a:cubicBezTo>
                  <a:cubicBezTo>
                    <a:pt x="1992" y="48"/>
                    <a:pt x="1992" y="48"/>
                    <a:pt x="1992" y="48"/>
                  </a:cubicBezTo>
                  <a:cubicBezTo>
                    <a:pt x="2003" y="46"/>
                    <a:pt x="2003" y="46"/>
                    <a:pt x="2003" y="46"/>
                  </a:cubicBezTo>
                  <a:cubicBezTo>
                    <a:pt x="2003" y="39"/>
                    <a:pt x="2003" y="39"/>
                    <a:pt x="2003" y="39"/>
                  </a:cubicBezTo>
                  <a:cubicBezTo>
                    <a:pt x="1963" y="39"/>
                    <a:pt x="1963" y="39"/>
                    <a:pt x="1963" y="39"/>
                  </a:cubicBezTo>
                  <a:cubicBezTo>
                    <a:pt x="1963" y="46"/>
                    <a:pt x="1963" y="46"/>
                    <a:pt x="1963" y="46"/>
                  </a:cubicBezTo>
                  <a:cubicBezTo>
                    <a:pt x="1974" y="48"/>
                    <a:pt x="1974" y="48"/>
                    <a:pt x="1974" y="48"/>
                  </a:cubicBezTo>
                  <a:cubicBezTo>
                    <a:pt x="1974" y="107"/>
                    <a:pt x="1974" y="107"/>
                    <a:pt x="1974" y="107"/>
                  </a:cubicBezTo>
                  <a:cubicBezTo>
                    <a:pt x="1963" y="109"/>
                    <a:pt x="1963" y="109"/>
                    <a:pt x="1963" y="109"/>
                  </a:cubicBezTo>
                  <a:cubicBezTo>
                    <a:pt x="1963" y="116"/>
                    <a:pt x="1963" y="116"/>
                    <a:pt x="1963" y="116"/>
                  </a:cubicBezTo>
                  <a:cubicBezTo>
                    <a:pt x="2003" y="116"/>
                    <a:pt x="2003" y="116"/>
                    <a:pt x="2003" y="116"/>
                  </a:cubicBezTo>
                  <a:lnTo>
                    <a:pt x="2003" y="109"/>
                  </a:lnTo>
                  <a:close/>
                  <a:moveTo>
                    <a:pt x="2021" y="49"/>
                  </a:moveTo>
                  <a:cubicBezTo>
                    <a:pt x="2037" y="49"/>
                    <a:pt x="2037" y="49"/>
                    <a:pt x="2037" y="49"/>
                  </a:cubicBezTo>
                  <a:cubicBezTo>
                    <a:pt x="2037" y="107"/>
                    <a:pt x="2037" y="107"/>
                    <a:pt x="2037" y="107"/>
                  </a:cubicBezTo>
                  <a:cubicBezTo>
                    <a:pt x="2026" y="109"/>
                    <a:pt x="2026" y="109"/>
                    <a:pt x="2026" y="109"/>
                  </a:cubicBezTo>
                  <a:cubicBezTo>
                    <a:pt x="2026" y="116"/>
                    <a:pt x="2026" y="116"/>
                    <a:pt x="2026" y="116"/>
                  </a:cubicBezTo>
                  <a:cubicBezTo>
                    <a:pt x="2066" y="116"/>
                    <a:pt x="2066" y="116"/>
                    <a:pt x="2066" y="116"/>
                  </a:cubicBezTo>
                  <a:cubicBezTo>
                    <a:pt x="2066" y="109"/>
                    <a:pt x="2066" y="109"/>
                    <a:pt x="2066" y="109"/>
                  </a:cubicBezTo>
                  <a:cubicBezTo>
                    <a:pt x="2055" y="107"/>
                    <a:pt x="2055" y="107"/>
                    <a:pt x="2055" y="107"/>
                  </a:cubicBezTo>
                  <a:cubicBezTo>
                    <a:pt x="2055" y="49"/>
                    <a:pt x="2055" y="49"/>
                    <a:pt x="2055" y="49"/>
                  </a:cubicBezTo>
                  <a:cubicBezTo>
                    <a:pt x="2072" y="49"/>
                    <a:pt x="2072" y="49"/>
                    <a:pt x="2072" y="49"/>
                  </a:cubicBezTo>
                  <a:cubicBezTo>
                    <a:pt x="2074" y="60"/>
                    <a:pt x="2074" y="60"/>
                    <a:pt x="2074" y="60"/>
                  </a:cubicBezTo>
                  <a:cubicBezTo>
                    <a:pt x="2081" y="60"/>
                    <a:pt x="2081" y="60"/>
                    <a:pt x="2081" y="60"/>
                  </a:cubicBezTo>
                  <a:cubicBezTo>
                    <a:pt x="2081" y="39"/>
                    <a:pt x="2081" y="39"/>
                    <a:pt x="2081" y="39"/>
                  </a:cubicBezTo>
                  <a:cubicBezTo>
                    <a:pt x="2011" y="39"/>
                    <a:pt x="2011" y="39"/>
                    <a:pt x="2011" y="39"/>
                  </a:cubicBezTo>
                  <a:cubicBezTo>
                    <a:pt x="2011" y="60"/>
                    <a:pt x="2011" y="60"/>
                    <a:pt x="2011" y="60"/>
                  </a:cubicBezTo>
                  <a:cubicBezTo>
                    <a:pt x="2019" y="60"/>
                    <a:pt x="2019" y="60"/>
                    <a:pt x="2019" y="60"/>
                  </a:cubicBezTo>
                  <a:lnTo>
                    <a:pt x="2021" y="49"/>
                  </a:lnTo>
                  <a:close/>
                  <a:moveTo>
                    <a:pt x="2122" y="82"/>
                  </a:moveTo>
                  <a:cubicBezTo>
                    <a:pt x="2122" y="107"/>
                    <a:pt x="2122" y="107"/>
                    <a:pt x="2122" y="107"/>
                  </a:cubicBezTo>
                  <a:cubicBezTo>
                    <a:pt x="2110" y="109"/>
                    <a:pt x="2110" y="109"/>
                    <a:pt x="2110" y="109"/>
                  </a:cubicBezTo>
                  <a:cubicBezTo>
                    <a:pt x="2110" y="116"/>
                    <a:pt x="2110" y="116"/>
                    <a:pt x="2110" y="116"/>
                  </a:cubicBezTo>
                  <a:cubicBezTo>
                    <a:pt x="2150" y="116"/>
                    <a:pt x="2150" y="116"/>
                    <a:pt x="2150" y="116"/>
                  </a:cubicBezTo>
                  <a:cubicBezTo>
                    <a:pt x="2150" y="109"/>
                    <a:pt x="2150" y="109"/>
                    <a:pt x="2150" y="109"/>
                  </a:cubicBezTo>
                  <a:cubicBezTo>
                    <a:pt x="2139" y="107"/>
                    <a:pt x="2139" y="107"/>
                    <a:pt x="2139" y="107"/>
                  </a:cubicBezTo>
                  <a:cubicBezTo>
                    <a:pt x="2139" y="82"/>
                    <a:pt x="2139" y="82"/>
                    <a:pt x="2139" y="82"/>
                  </a:cubicBezTo>
                  <a:cubicBezTo>
                    <a:pt x="2161" y="48"/>
                    <a:pt x="2161" y="48"/>
                    <a:pt x="2161" y="48"/>
                  </a:cubicBezTo>
                  <a:cubicBezTo>
                    <a:pt x="2172" y="46"/>
                    <a:pt x="2172" y="46"/>
                    <a:pt x="2172" y="46"/>
                  </a:cubicBezTo>
                  <a:cubicBezTo>
                    <a:pt x="2172" y="39"/>
                    <a:pt x="2172" y="39"/>
                    <a:pt x="2172" y="39"/>
                  </a:cubicBezTo>
                  <a:cubicBezTo>
                    <a:pt x="2138" y="39"/>
                    <a:pt x="2138" y="39"/>
                    <a:pt x="2138" y="39"/>
                  </a:cubicBezTo>
                  <a:cubicBezTo>
                    <a:pt x="2138" y="46"/>
                    <a:pt x="2138" y="46"/>
                    <a:pt x="2138" y="46"/>
                  </a:cubicBezTo>
                  <a:cubicBezTo>
                    <a:pt x="2149" y="48"/>
                    <a:pt x="2149" y="48"/>
                    <a:pt x="2149" y="48"/>
                  </a:cubicBezTo>
                  <a:cubicBezTo>
                    <a:pt x="2133" y="73"/>
                    <a:pt x="2133" y="73"/>
                    <a:pt x="2133" y="73"/>
                  </a:cubicBezTo>
                  <a:cubicBezTo>
                    <a:pt x="2118" y="48"/>
                    <a:pt x="2118" y="48"/>
                    <a:pt x="2118" y="48"/>
                  </a:cubicBezTo>
                  <a:cubicBezTo>
                    <a:pt x="2129" y="46"/>
                    <a:pt x="2129" y="46"/>
                    <a:pt x="2129" y="46"/>
                  </a:cubicBezTo>
                  <a:cubicBezTo>
                    <a:pt x="2129" y="39"/>
                    <a:pt x="2129" y="39"/>
                    <a:pt x="2129" y="39"/>
                  </a:cubicBezTo>
                  <a:cubicBezTo>
                    <a:pt x="2088" y="39"/>
                    <a:pt x="2088" y="39"/>
                    <a:pt x="2088" y="39"/>
                  </a:cubicBezTo>
                  <a:cubicBezTo>
                    <a:pt x="2088" y="46"/>
                    <a:pt x="2088" y="46"/>
                    <a:pt x="2088" y="46"/>
                  </a:cubicBezTo>
                  <a:cubicBezTo>
                    <a:pt x="2099" y="48"/>
                    <a:pt x="2099" y="48"/>
                    <a:pt x="2099" y="48"/>
                  </a:cubicBezTo>
                  <a:lnTo>
                    <a:pt x="2122" y="82"/>
                  </a:lnTo>
                  <a:close/>
                  <a:moveTo>
                    <a:pt x="1953" y="94"/>
                  </a:moveTo>
                  <a:cubicBezTo>
                    <a:pt x="1953" y="63"/>
                    <a:pt x="1913" y="75"/>
                    <a:pt x="1913" y="58"/>
                  </a:cubicBezTo>
                  <a:cubicBezTo>
                    <a:pt x="1913" y="50"/>
                    <a:pt x="1919" y="48"/>
                    <a:pt x="1926" y="48"/>
                  </a:cubicBezTo>
                  <a:cubicBezTo>
                    <a:pt x="1933" y="48"/>
                    <a:pt x="1939" y="49"/>
                    <a:pt x="1939" y="49"/>
                  </a:cubicBezTo>
                  <a:cubicBezTo>
                    <a:pt x="1941" y="61"/>
                    <a:pt x="1941" y="61"/>
                    <a:pt x="1941" y="61"/>
                  </a:cubicBezTo>
                  <a:cubicBezTo>
                    <a:pt x="1949" y="61"/>
                    <a:pt x="1949" y="61"/>
                    <a:pt x="1949" y="61"/>
                  </a:cubicBezTo>
                  <a:cubicBezTo>
                    <a:pt x="1949" y="42"/>
                    <a:pt x="1949" y="42"/>
                    <a:pt x="1949" y="42"/>
                  </a:cubicBezTo>
                  <a:cubicBezTo>
                    <a:pt x="1941" y="40"/>
                    <a:pt x="1933" y="38"/>
                    <a:pt x="1924" y="38"/>
                  </a:cubicBezTo>
                  <a:cubicBezTo>
                    <a:pt x="1905" y="38"/>
                    <a:pt x="1896" y="46"/>
                    <a:pt x="1896" y="60"/>
                  </a:cubicBezTo>
                  <a:cubicBezTo>
                    <a:pt x="1896" y="79"/>
                    <a:pt x="1914" y="81"/>
                    <a:pt x="1928" y="86"/>
                  </a:cubicBezTo>
                  <a:cubicBezTo>
                    <a:pt x="1933" y="87"/>
                    <a:pt x="1936" y="89"/>
                    <a:pt x="1936" y="95"/>
                  </a:cubicBezTo>
                  <a:cubicBezTo>
                    <a:pt x="1936" y="104"/>
                    <a:pt x="1929" y="107"/>
                    <a:pt x="1920" y="107"/>
                  </a:cubicBezTo>
                  <a:cubicBezTo>
                    <a:pt x="1911" y="107"/>
                    <a:pt x="1905" y="105"/>
                    <a:pt x="1905" y="105"/>
                  </a:cubicBezTo>
                  <a:cubicBezTo>
                    <a:pt x="1903" y="92"/>
                    <a:pt x="1903" y="92"/>
                    <a:pt x="1903" y="92"/>
                  </a:cubicBezTo>
                  <a:cubicBezTo>
                    <a:pt x="1896" y="92"/>
                    <a:pt x="1896" y="92"/>
                    <a:pt x="1896" y="92"/>
                  </a:cubicBezTo>
                  <a:cubicBezTo>
                    <a:pt x="1896" y="112"/>
                    <a:pt x="1896" y="112"/>
                    <a:pt x="1896" y="112"/>
                  </a:cubicBezTo>
                  <a:cubicBezTo>
                    <a:pt x="1896" y="112"/>
                    <a:pt x="1908" y="117"/>
                    <a:pt x="1922" y="117"/>
                  </a:cubicBezTo>
                  <a:cubicBezTo>
                    <a:pt x="1942" y="117"/>
                    <a:pt x="1953" y="109"/>
                    <a:pt x="1953" y="94"/>
                  </a:cubicBezTo>
                  <a:close/>
                  <a:moveTo>
                    <a:pt x="1847" y="109"/>
                  </a:moveTo>
                  <a:cubicBezTo>
                    <a:pt x="1836" y="107"/>
                    <a:pt x="1836" y="107"/>
                    <a:pt x="1836" y="107"/>
                  </a:cubicBezTo>
                  <a:cubicBezTo>
                    <a:pt x="1836" y="81"/>
                    <a:pt x="1836" y="81"/>
                    <a:pt x="1836" y="81"/>
                  </a:cubicBezTo>
                  <a:cubicBezTo>
                    <a:pt x="1838" y="81"/>
                    <a:pt x="1838" y="81"/>
                    <a:pt x="1838" y="81"/>
                  </a:cubicBezTo>
                  <a:cubicBezTo>
                    <a:pt x="1848" y="81"/>
                    <a:pt x="1851" y="86"/>
                    <a:pt x="1855" y="98"/>
                  </a:cubicBezTo>
                  <a:cubicBezTo>
                    <a:pt x="1863" y="116"/>
                    <a:pt x="1863" y="116"/>
                    <a:pt x="1863" y="116"/>
                  </a:cubicBezTo>
                  <a:cubicBezTo>
                    <a:pt x="1887" y="116"/>
                    <a:pt x="1887" y="116"/>
                    <a:pt x="1887" y="116"/>
                  </a:cubicBezTo>
                  <a:cubicBezTo>
                    <a:pt x="1887" y="109"/>
                    <a:pt x="1887" y="109"/>
                    <a:pt x="1887" y="109"/>
                  </a:cubicBezTo>
                  <a:cubicBezTo>
                    <a:pt x="1876" y="107"/>
                    <a:pt x="1876" y="107"/>
                    <a:pt x="1876" y="107"/>
                  </a:cubicBezTo>
                  <a:cubicBezTo>
                    <a:pt x="1873" y="99"/>
                    <a:pt x="1868" y="84"/>
                    <a:pt x="1861" y="79"/>
                  </a:cubicBezTo>
                  <a:cubicBezTo>
                    <a:pt x="1869" y="76"/>
                    <a:pt x="1875" y="68"/>
                    <a:pt x="1875" y="59"/>
                  </a:cubicBezTo>
                  <a:cubicBezTo>
                    <a:pt x="1875" y="54"/>
                    <a:pt x="1873" y="49"/>
                    <a:pt x="1869" y="45"/>
                  </a:cubicBezTo>
                  <a:cubicBezTo>
                    <a:pt x="1863" y="40"/>
                    <a:pt x="1854" y="39"/>
                    <a:pt x="1846" y="39"/>
                  </a:cubicBezTo>
                  <a:cubicBezTo>
                    <a:pt x="1807" y="39"/>
                    <a:pt x="1807" y="39"/>
                    <a:pt x="1807" y="39"/>
                  </a:cubicBezTo>
                  <a:cubicBezTo>
                    <a:pt x="1807" y="46"/>
                    <a:pt x="1807" y="46"/>
                    <a:pt x="1807" y="46"/>
                  </a:cubicBezTo>
                  <a:cubicBezTo>
                    <a:pt x="1819" y="48"/>
                    <a:pt x="1819" y="48"/>
                    <a:pt x="1819" y="48"/>
                  </a:cubicBezTo>
                  <a:cubicBezTo>
                    <a:pt x="1819" y="107"/>
                    <a:pt x="1819" y="107"/>
                    <a:pt x="1819" y="107"/>
                  </a:cubicBezTo>
                  <a:cubicBezTo>
                    <a:pt x="1807" y="109"/>
                    <a:pt x="1807" y="109"/>
                    <a:pt x="1807" y="109"/>
                  </a:cubicBezTo>
                  <a:cubicBezTo>
                    <a:pt x="1807" y="116"/>
                    <a:pt x="1807" y="116"/>
                    <a:pt x="1807" y="116"/>
                  </a:cubicBezTo>
                  <a:cubicBezTo>
                    <a:pt x="1847" y="116"/>
                    <a:pt x="1847" y="116"/>
                    <a:pt x="1847" y="116"/>
                  </a:cubicBezTo>
                  <a:lnTo>
                    <a:pt x="1847" y="109"/>
                  </a:lnTo>
                  <a:close/>
                  <a:moveTo>
                    <a:pt x="1836" y="48"/>
                  </a:moveTo>
                  <a:cubicBezTo>
                    <a:pt x="1841" y="48"/>
                    <a:pt x="1841" y="48"/>
                    <a:pt x="1841" y="48"/>
                  </a:cubicBezTo>
                  <a:cubicBezTo>
                    <a:pt x="1845" y="48"/>
                    <a:pt x="1852" y="48"/>
                    <a:pt x="1854" y="51"/>
                  </a:cubicBezTo>
                  <a:cubicBezTo>
                    <a:pt x="1857" y="53"/>
                    <a:pt x="1858" y="57"/>
                    <a:pt x="1858" y="60"/>
                  </a:cubicBezTo>
                  <a:cubicBezTo>
                    <a:pt x="1858" y="63"/>
                    <a:pt x="1857" y="66"/>
                    <a:pt x="1855" y="69"/>
                  </a:cubicBezTo>
                  <a:cubicBezTo>
                    <a:pt x="1851" y="73"/>
                    <a:pt x="1844" y="73"/>
                    <a:pt x="1839" y="73"/>
                  </a:cubicBezTo>
                  <a:cubicBezTo>
                    <a:pt x="1836" y="73"/>
                    <a:pt x="1836" y="73"/>
                    <a:pt x="1836" y="73"/>
                  </a:cubicBezTo>
                  <a:lnTo>
                    <a:pt x="1836" y="48"/>
                  </a:lnTo>
                  <a:close/>
                  <a:moveTo>
                    <a:pt x="1796" y="95"/>
                  </a:moveTo>
                  <a:cubicBezTo>
                    <a:pt x="1788" y="95"/>
                    <a:pt x="1788" y="95"/>
                    <a:pt x="1788" y="95"/>
                  </a:cubicBezTo>
                  <a:cubicBezTo>
                    <a:pt x="1787" y="106"/>
                    <a:pt x="1787" y="106"/>
                    <a:pt x="1787" y="106"/>
                  </a:cubicBezTo>
                  <a:cubicBezTo>
                    <a:pt x="1759" y="106"/>
                    <a:pt x="1759" y="106"/>
                    <a:pt x="1759" y="106"/>
                  </a:cubicBezTo>
                  <a:cubicBezTo>
                    <a:pt x="1759" y="80"/>
                    <a:pt x="1759" y="80"/>
                    <a:pt x="1759" y="80"/>
                  </a:cubicBezTo>
                  <a:cubicBezTo>
                    <a:pt x="1776" y="80"/>
                    <a:pt x="1776" y="80"/>
                    <a:pt x="1776" y="80"/>
                  </a:cubicBezTo>
                  <a:cubicBezTo>
                    <a:pt x="1778" y="90"/>
                    <a:pt x="1778" y="90"/>
                    <a:pt x="1778" y="90"/>
                  </a:cubicBezTo>
                  <a:cubicBezTo>
                    <a:pt x="1784" y="90"/>
                    <a:pt x="1784" y="90"/>
                    <a:pt x="1784" y="90"/>
                  </a:cubicBezTo>
                  <a:cubicBezTo>
                    <a:pt x="1784" y="61"/>
                    <a:pt x="1784" y="61"/>
                    <a:pt x="1784" y="61"/>
                  </a:cubicBezTo>
                  <a:cubicBezTo>
                    <a:pt x="1778" y="61"/>
                    <a:pt x="1778" y="61"/>
                    <a:pt x="1778" y="61"/>
                  </a:cubicBezTo>
                  <a:cubicBezTo>
                    <a:pt x="1776" y="71"/>
                    <a:pt x="1776" y="71"/>
                    <a:pt x="1776" y="71"/>
                  </a:cubicBezTo>
                  <a:cubicBezTo>
                    <a:pt x="1759" y="71"/>
                    <a:pt x="1759" y="71"/>
                    <a:pt x="1759" y="71"/>
                  </a:cubicBezTo>
                  <a:cubicBezTo>
                    <a:pt x="1759" y="49"/>
                    <a:pt x="1759" y="49"/>
                    <a:pt x="1759" y="49"/>
                  </a:cubicBezTo>
                  <a:cubicBezTo>
                    <a:pt x="1787" y="49"/>
                    <a:pt x="1787" y="49"/>
                    <a:pt x="1787" y="49"/>
                  </a:cubicBezTo>
                  <a:cubicBezTo>
                    <a:pt x="1788" y="59"/>
                    <a:pt x="1788" y="59"/>
                    <a:pt x="1788" y="59"/>
                  </a:cubicBezTo>
                  <a:cubicBezTo>
                    <a:pt x="1796" y="59"/>
                    <a:pt x="1796" y="59"/>
                    <a:pt x="1796" y="59"/>
                  </a:cubicBezTo>
                  <a:cubicBezTo>
                    <a:pt x="1796" y="39"/>
                    <a:pt x="1796" y="39"/>
                    <a:pt x="1796" y="39"/>
                  </a:cubicBezTo>
                  <a:cubicBezTo>
                    <a:pt x="1730" y="39"/>
                    <a:pt x="1730" y="39"/>
                    <a:pt x="1730" y="39"/>
                  </a:cubicBezTo>
                  <a:cubicBezTo>
                    <a:pt x="1730" y="46"/>
                    <a:pt x="1730" y="46"/>
                    <a:pt x="1730" y="46"/>
                  </a:cubicBezTo>
                  <a:cubicBezTo>
                    <a:pt x="1741" y="48"/>
                    <a:pt x="1741" y="48"/>
                    <a:pt x="1741" y="48"/>
                  </a:cubicBezTo>
                  <a:cubicBezTo>
                    <a:pt x="1741" y="107"/>
                    <a:pt x="1741" y="107"/>
                    <a:pt x="1741" y="107"/>
                  </a:cubicBezTo>
                  <a:cubicBezTo>
                    <a:pt x="1730" y="109"/>
                    <a:pt x="1730" y="109"/>
                    <a:pt x="1730" y="109"/>
                  </a:cubicBezTo>
                  <a:cubicBezTo>
                    <a:pt x="1730" y="116"/>
                    <a:pt x="1730" y="116"/>
                    <a:pt x="1730" y="116"/>
                  </a:cubicBezTo>
                  <a:cubicBezTo>
                    <a:pt x="1796" y="116"/>
                    <a:pt x="1796" y="116"/>
                    <a:pt x="1796" y="116"/>
                  </a:cubicBezTo>
                  <a:lnTo>
                    <a:pt x="1796" y="95"/>
                  </a:lnTo>
                  <a:close/>
                  <a:moveTo>
                    <a:pt x="1342" y="95"/>
                  </a:moveTo>
                  <a:cubicBezTo>
                    <a:pt x="1335" y="95"/>
                    <a:pt x="1335" y="95"/>
                    <a:pt x="1335" y="95"/>
                  </a:cubicBezTo>
                  <a:cubicBezTo>
                    <a:pt x="1333" y="106"/>
                    <a:pt x="1333" y="106"/>
                    <a:pt x="1333" y="106"/>
                  </a:cubicBezTo>
                  <a:cubicBezTo>
                    <a:pt x="1305" y="106"/>
                    <a:pt x="1305" y="106"/>
                    <a:pt x="1305" y="106"/>
                  </a:cubicBezTo>
                  <a:cubicBezTo>
                    <a:pt x="1305" y="80"/>
                    <a:pt x="1305" y="80"/>
                    <a:pt x="1305" y="80"/>
                  </a:cubicBezTo>
                  <a:cubicBezTo>
                    <a:pt x="1323" y="80"/>
                    <a:pt x="1323" y="80"/>
                    <a:pt x="1323" y="80"/>
                  </a:cubicBezTo>
                  <a:cubicBezTo>
                    <a:pt x="1325" y="90"/>
                    <a:pt x="1325" y="90"/>
                    <a:pt x="1325" y="90"/>
                  </a:cubicBezTo>
                  <a:cubicBezTo>
                    <a:pt x="1331" y="90"/>
                    <a:pt x="1331" y="90"/>
                    <a:pt x="1331" y="90"/>
                  </a:cubicBezTo>
                  <a:cubicBezTo>
                    <a:pt x="1331" y="61"/>
                    <a:pt x="1331" y="61"/>
                    <a:pt x="1331" y="61"/>
                  </a:cubicBezTo>
                  <a:cubicBezTo>
                    <a:pt x="1325" y="61"/>
                    <a:pt x="1325" y="61"/>
                    <a:pt x="1325" y="61"/>
                  </a:cubicBezTo>
                  <a:cubicBezTo>
                    <a:pt x="1323" y="71"/>
                    <a:pt x="1323" y="71"/>
                    <a:pt x="1323" y="71"/>
                  </a:cubicBezTo>
                  <a:cubicBezTo>
                    <a:pt x="1305" y="71"/>
                    <a:pt x="1305" y="71"/>
                    <a:pt x="1305" y="71"/>
                  </a:cubicBezTo>
                  <a:cubicBezTo>
                    <a:pt x="1305" y="49"/>
                    <a:pt x="1305" y="49"/>
                    <a:pt x="1305" y="49"/>
                  </a:cubicBezTo>
                  <a:cubicBezTo>
                    <a:pt x="1333" y="49"/>
                    <a:pt x="1333" y="49"/>
                    <a:pt x="1333" y="49"/>
                  </a:cubicBezTo>
                  <a:cubicBezTo>
                    <a:pt x="1335" y="59"/>
                    <a:pt x="1335" y="59"/>
                    <a:pt x="1335" y="59"/>
                  </a:cubicBezTo>
                  <a:cubicBezTo>
                    <a:pt x="1342" y="59"/>
                    <a:pt x="1342" y="59"/>
                    <a:pt x="1342" y="59"/>
                  </a:cubicBezTo>
                  <a:cubicBezTo>
                    <a:pt x="1342" y="39"/>
                    <a:pt x="1342" y="39"/>
                    <a:pt x="1342" y="39"/>
                  </a:cubicBezTo>
                  <a:cubicBezTo>
                    <a:pt x="1277" y="39"/>
                    <a:pt x="1277" y="39"/>
                    <a:pt x="1277" y="39"/>
                  </a:cubicBezTo>
                  <a:cubicBezTo>
                    <a:pt x="1277" y="46"/>
                    <a:pt x="1277" y="46"/>
                    <a:pt x="1277" y="46"/>
                  </a:cubicBezTo>
                  <a:cubicBezTo>
                    <a:pt x="1288" y="48"/>
                    <a:pt x="1288" y="48"/>
                    <a:pt x="1288" y="48"/>
                  </a:cubicBezTo>
                  <a:cubicBezTo>
                    <a:pt x="1288" y="107"/>
                    <a:pt x="1288" y="107"/>
                    <a:pt x="1288" y="107"/>
                  </a:cubicBezTo>
                  <a:cubicBezTo>
                    <a:pt x="1277" y="109"/>
                    <a:pt x="1277" y="109"/>
                    <a:pt x="1277" y="109"/>
                  </a:cubicBezTo>
                  <a:cubicBezTo>
                    <a:pt x="1277" y="116"/>
                    <a:pt x="1277" y="116"/>
                    <a:pt x="1277" y="116"/>
                  </a:cubicBezTo>
                  <a:cubicBezTo>
                    <a:pt x="1342" y="116"/>
                    <a:pt x="1342" y="116"/>
                    <a:pt x="1342" y="116"/>
                  </a:cubicBezTo>
                  <a:lnTo>
                    <a:pt x="1342" y="95"/>
                  </a:lnTo>
                  <a:close/>
                  <a:moveTo>
                    <a:pt x="566" y="95"/>
                  </a:moveTo>
                  <a:cubicBezTo>
                    <a:pt x="559" y="95"/>
                    <a:pt x="559" y="95"/>
                    <a:pt x="559" y="95"/>
                  </a:cubicBezTo>
                  <a:cubicBezTo>
                    <a:pt x="557" y="106"/>
                    <a:pt x="557" y="106"/>
                    <a:pt x="557" y="106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29" y="80"/>
                    <a:pt x="529" y="80"/>
                    <a:pt x="529" y="80"/>
                  </a:cubicBezTo>
                  <a:cubicBezTo>
                    <a:pt x="546" y="80"/>
                    <a:pt x="546" y="80"/>
                    <a:pt x="546" y="80"/>
                  </a:cubicBezTo>
                  <a:cubicBezTo>
                    <a:pt x="548" y="90"/>
                    <a:pt x="548" y="90"/>
                    <a:pt x="548" y="90"/>
                  </a:cubicBezTo>
                  <a:cubicBezTo>
                    <a:pt x="555" y="90"/>
                    <a:pt x="555" y="90"/>
                    <a:pt x="555" y="90"/>
                  </a:cubicBezTo>
                  <a:cubicBezTo>
                    <a:pt x="555" y="61"/>
                    <a:pt x="555" y="61"/>
                    <a:pt x="555" y="61"/>
                  </a:cubicBezTo>
                  <a:cubicBezTo>
                    <a:pt x="548" y="61"/>
                    <a:pt x="548" y="61"/>
                    <a:pt x="548" y="61"/>
                  </a:cubicBezTo>
                  <a:cubicBezTo>
                    <a:pt x="546" y="71"/>
                    <a:pt x="546" y="71"/>
                    <a:pt x="546" y="71"/>
                  </a:cubicBezTo>
                  <a:cubicBezTo>
                    <a:pt x="529" y="71"/>
                    <a:pt x="529" y="71"/>
                    <a:pt x="529" y="71"/>
                  </a:cubicBezTo>
                  <a:cubicBezTo>
                    <a:pt x="529" y="49"/>
                    <a:pt x="529" y="49"/>
                    <a:pt x="529" y="49"/>
                  </a:cubicBezTo>
                  <a:cubicBezTo>
                    <a:pt x="557" y="49"/>
                    <a:pt x="557" y="49"/>
                    <a:pt x="557" y="49"/>
                  </a:cubicBezTo>
                  <a:cubicBezTo>
                    <a:pt x="559" y="59"/>
                    <a:pt x="559" y="59"/>
                    <a:pt x="559" y="59"/>
                  </a:cubicBezTo>
                  <a:cubicBezTo>
                    <a:pt x="566" y="59"/>
                    <a:pt x="566" y="59"/>
                    <a:pt x="566" y="59"/>
                  </a:cubicBezTo>
                  <a:cubicBezTo>
                    <a:pt x="566" y="39"/>
                    <a:pt x="566" y="39"/>
                    <a:pt x="566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00" y="46"/>
                    <a:pt x="500" y="46"/>
                    <a:pt x="500" y="46"/>
                  </a:cubicBezTo>
                  <a:cubicBezTo>
                    <a:pt x="511" y="48"/>
                    <a:pt x="511" y="48"/>
                    <a:pt x="511" y="48"/>
                  </a:cubicBezTo>
                  <a:cubicBezTo>
                    <a:pt x="511" y="107"/>
                    <a:pt x="511" y="107"/>
                    <a:pt x="511" y="107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16"/>
                    <a:pt x="500" y="116"/>
                    <a:pt x="500" y="116"/>
                  </a:cubicBezTo>
                  <a:cubicBezTo>
                    <a:pt x="566" y="116"/>
                    <a:pt x="566" y="116"/>
                    <a:pt x="566" y="116"/>
                  </a:cubicBezTo>
                  <a:lnTo>
                    <a:pt x="566" y="95"/>
                  </a:lnTo>
                  <a:close/>
                  <a:moveTo>
                    <a:pt x="659" y="117"/>
                  </a:moveTo>
                  <a:cubicBezTo>
                    <a:pt x="689" y="117"/>
                    <a:pt x="702" y="100"/>
                    <a:pt x="702" y="67"/>
                  </a:cubicBezTo>
                  <a:cubicBezTo>
                    <a:pt x="702" y="34"/>
                    <a:pt x="689" y="16"/>
                    <a:pt x="659" y="16"/>
                  </a:cubicBezTo>
                  <a:cubicBezTo>
                    <a:pt x="629" y="16"/>
                    <a:pt x="615" y="34"/>
                    <a:pt x="615" y="67"/>
                  </a:cubicBezTo>
                  <a:cubicBezTo>
                    <a:pt x="615" y="99"/>
                    <a:pt x="628" y="117"/>
                    <a:pt x="659" y="117"/>
                  </a:cubicBezTo>
                  <a:close/>
                  <a:moveTo>
                    <a:pt x="659" y="27"/>
                  </a:moveTo>
                  <a:cubicBezTo>
                    <a:pt x="675" y="27"/>
                    <a:pt x="683" y="40"/>
                    <a:pt x="683" y="67"/>
                  </a:cubicBezTo>
                  <a:cubicBezTo>
                    <a:pt x="683" y="94"/>
                    <a:pt x="675" y="107"/>
                    <a:pt x="659" y="107"/>
                  </a:cubicBezTo>
                  <a:cubicBezTo>
                    <a:pt x="642" y="107"/>
                    <a:pt x="634" y="94"/>
                    <a:pt x="634" y="67"/>
                  </a:cubicBezTo>
                  <a:cubicBezTo>
                    <a:pt x="634" y="40"/>
                    <a:pt x="643" y="27"/>
                    <a:pt x="659" y="27"/>
                  </a:cubicBezTo>
                  <a:close/>
                  <a:moveTo>
                    <a:pt x="327" y="28"/>
                  </a:moveTo>
                  <a:cubicBezTo>
                    <a:pt x="349" y="28"/>
                    <a:pt x="349" y="28"/>
                    <a:pt x="349" y="28"/>
                  </a:cubicBezTo>
                  <a:cubicBezTo>
                    <a:pt x="349" y="106"/>
                    <a:pt x="349" y="106"/>
                    <a:pt x="349" y="106"/>
                  </a:cubicBezTo>
                  <a:cubicBezTo>
                    <a:pt x="337" y="108"/>
                    <a:pt x="337" y="108"/>
                    <a:pt x="337" y="108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79" y="116"/>
                    <a:pt x="379" y="116"/>
                    <a:pt x="379" y="116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67" y="106"/>
                    <a:pt x="367" y="106"/>
                    <a:pt x="367" y="106"/>
                  </a:cubicBezTo>
                  <a:cubicBezTo>
                    <a:pt x="367" y="28"/>
                    <a:pt x="367" y="28"/>
                    <a:pt x="367" y="28"/>
                  </a:cubicBezTo>
                  <a:cubicBezTo>
                    <a:pt x="390" y="28"/>
                    <a:pt x="390" y="28"/>
                    <a:pt x="390" y="28"/>
                  </a:cubicBezTo>
                  <a:cubicBezTo>
                    <a:pt x="391" y="40"/>
                    <a:pt x="391" y="40"/>
                    <a:pt x="391" y="40"/>
                  </a:cubicBezTo>
                  <a:cubicBezTo>
                    <a:pt x="399" y="40"/>
                    <a:pt x="399" y="40"/>
                    <a:pt x="399" y="40"/>
                  </a:cubicBezTo>
                  <a:cubicBezTo>
                    <a:pt x="399" y="18"/>
                    <a:pt x="399" y="18"/>
                    <a:pt x="399" y="18"/>
                  </a:cubicBezTo>
                  <a:cubicBezTo>
                    <a:pt x="317" y="18"/>
                    <a:pt x="317" y="18"/>
                    <a:pt x="317" y="18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25" y="40"/>
                    <a:pt x="325" y="40"/>
                    <a:pt x="325" y="40"/>
                  </a:cubicBezTo>
                  <a:lnTo>
                    <a:pt x="327" y="28"/>
                  </a:lnTo>
                  <a:close/>
                  <a:moveTo>
                    <a:pt x="750" y="109"/>
                  </a:moveTo>
                  <a:cubicBezTo>
                    <a:pt x="739" y="107"/>
                    <a:pt x="739" y="107"/>
                    <a:pt x="739" y="107"/>
                  </a:cubicBezTo>
                  <a:cubicBezTo>
                    <a:pt x="739" y="80"/>
                    <a:pt x="739" y="80"/>
                    <a:pt x="739" y="80"/>
                  </a:cubicBezTo>
                  <a:cubicBezTo>
                    <a:pt x="768" y="80"/>
                    <a:pt x="768" y="80"/>
                    <a:pt x="768" y="80"/>
                  </a:cubicBezTo>
                  <a:cubicBezTo>
                    <a:pt x="768" y="107"/>
                    <a:pt x="768" y="107"/>
                    <a:pt x="768" y="107"/>
                  </a:cubicBezTo>
                  <a:cubicBezTo>
                    <a:pt x="757" y="109"/>
                    <a:pt x="757" y="109"/>
                    <a:pt x="757" y="109"/>
                  </a:cubicBezTo>
                  <a:cubicBezTo>
                    <a:pt x="757" y="116"/>
                    <a:pt x="757" y="116"/>
                    <a:pt x="757" y="116"/>
                  </a:cubicBezTo>
                  <a:cubicBezTo>
                    <a:pt x="797" y="116"/>
                    <a:pt x="797" y="116"/>
                    <a:pt x="797" y="116"/>
                  </a:cubicBezTo>
                  <a:cubicBezTo>
                    <a:pt x="797" y="109"/>
                    <a:pt x="797" y="109"/>
                    <a:pt x="797" y="109"/>
                  </a:cubicBezTo>
                  <a:cubicBezTo>
                    <a:pt x="786" y="107"/>
                    <a:pt x="786" y="107"/>
                    <a:pt x="786" y="107"/>
                  </a:cubicBezTo>
                  <a:cubicBezTo>
                    <a:pt x="786" y="48"/>
                    <a:pt x="786" y="48"/>
                    <a:pt x="786" y="48"/>
                  </a:cubicBezTo>
                  <a:cubicBezTo>
                    <a:pt x="797" y="46"/>
                    <a:pt x="797" y="46"/>
                    <a:pt x="797" y="46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57" y="39"/>
                    <a:pt x="757" y="39"/>
                    <a:pt x="757" y="39"/>
                  </a:cubicBezTo>
                  <a:cubicBezTo>
                    <a:pt x="757" y="46"/>
                    <a:pt x="757" y="46"/>
                    <a:pt x="757" y="46"/>
                  </a:cubicBezTo>
                  <a:cubicBezTo>
                    <a:pt x="768" y="48"/>
                    <a:pt x="768" y="48"/>
                    <a:pt x="768" y="48"/>
                  </a:cubicBezTo>
                  <a:cubicBezTo>
                    <a:pt x="768" y="71"/>
                    <a:pt x="768" y="71"/>
                    <a:pt x="768" y="71"/>
                  </a:cubicBezTo>
                  <a:cubicBezTo>
                    <a:pt x="739" y="71"/>
                    <a:pt x="739" y="71"/>
                    <a:pt x="739" y="71"/>
                  </a:cubicBezTo>
                  <a:cubicBezTo>
                    <a:pt x="739" y="48"/>
                    <a:pt x="739" y="48"/>
                    <a:pt x="739" y="48"/>
                  </a:cubicBezTo>
                  <a:cubicBezTo>
                    <a:pt x="750" y="46"/>
                    <a:pt x="750" y="46"/>
                    <a:pt x="750" y="46"/>
                  </a:cubicBezTo>
                  <a:cubicBezTo>
                    <a:pt x="750" y="39"/>
                    <a:pt x="750" y="39"/>
                    <a:pt x="750" y="39"/>
                  </a:cubicBezTo>
                  <a:cubicBezTo>
                    <a:pt x="710" y="39"/>
                    <a:pt x="710" y="39"/>
                    <a:pt x="710" y="39"/>
                  </a:cubicBezTo>
                  <a:cubicBezTo>
                    <a:pt x="710" y="46"/>
                    <a:pt x="710" y="46"/>
                    <a:pt x="710" y="46"/>
                  </a:cubicBezTo>
                  <a:cubicBezTo>
                    <a:pt x="722" y="48"/>
                    <a:pt x="722" y="48"/>
                    <a:pt x="722" y="48"/>
                  </a:cubicBezTo>
                  <a:cubicBezTo>
                    <a:pt x="722" y="107"/>
                    <a:pt x="722" y="107"/>
                    <a:pt x="722" y="107"/>
                  </a:cubicBezTo>
                  <a:cubicBezTo>
                    <a:pt x="710" y="109"/>
                    <a:pt x="710" y="109"/>
                    <a:pt x="710" y="109"/>
                  </a:cubicBezTo>
                  <a:cubicBezTo>
                    <a:pt x="710" y="116"/>
                    <a:pt x="710" y="116"/>
                    <a:pt x="710" y="116"/>
                  </a:cubicBezTo>
                  <a:cubicBezTo>
                    <a:pt x="750" y="116"/>
                    <a:pt x="750" y="116"/>
                    <a:pt x="750" y="116"/>
                  </a:cubicBezTo>
                  <a:lnTo>
                    <a:pt x="750" y="109"/>
                  </a:lnTo>
                  <a:close/>
                  <a:moveTo>
                    <a:pt x="445" y="109"/>
                  </a:moveTo>
                  <a:cubicBezTo>
                    <a:pt x="434" y="107"/>
                    <a:pt x="434" y="107"/>
                    <a:pt x="434" y="107"/>
                  </a:cubicBezTo>
                  <a:cubicBezTo>
                    <a:pt x="434" y="80"/>
                    <a:pt x="434" y="80"/>
                    <a:pt x="434" y="80"/>
                  </a:cubicBezTo>
                  <a:cubicBezTo>
                    <a:pt x="463" y="80"/>
                    <a:pt x="463" y="80"/>
                    <a:pt x="463" y="80"/>
                  </a:cubicBezTo>
                  <a:cubicBezTo>
                    <a:pt x="463" y="107"/>
                    <a:pt x="463" y="107"/>
                    <a:pt x="463" y="107"/>
                  </a:cubicBezTo>
                  <a:cubicBezTo>
                    <a:pt x="452" y="109"/>
                    <a:pt x="452" y="109"/>
                    <a:pt x="452" y="109"/>
                  </a:cubicBezTo>
                  <a:cubicBezTo>
                    <a:pt x="452" y="116"/>
                    <a:pt x="452" y="116"/>
                    <a:pt x="452" y="116"/>
                  </a:cubicBezTo>
                  <a:cubicBezTo>
                    <a:pt x="492" y="116"/>
                    <a:pt x="492" y="116"/>
                    <a:pt x="492" y="116"/>
                  </a:cubicBezTo>
                  <a:cubicBezTo>
                    <a:pt x="492" y="109"/>
                    <a:pt x="492" y="109"/>
                    <a:pt x="492" y="109"/>
                  </a:cubicBezTo>
                  <a:cubicBezTo>
                    <a:pt x="480" y="107"/>
                    <a:pt x="480" y="107"/>
                    <a:pt x="480" y="107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492" y="46"/>
                    <a:pt x="492" y="46"/>
                    <a:pt x="492" y="46"/>
                  </a:cubicBezTo>
                  <a:cubicBezTo>
                    <a:pt x="492" y="39"/>
                    <a:pt x="492" y="39"/>
                    <a:pt x="492" y="39"/>
                  </a:cubicBezTo>
                  <a:cubicBezTo>
                    <a:pt x="452" y="39"/>
                    <a:pt x="452" y="39"/>
                    <a:pt x="452" y="39"/>
                  </a:cubicBezTo>
                  <a:cubicBezTo>
                    <a:pt x="452" y="46"/>
                    <a:pt x="452" y="46"/>
                    <a:pt x="452" y="46"/>
                  </a:cubicBezTo>
                  <a:cubicBezTo>
                    <a:pt x="463" y="48"/>
                    <a:pt x="463" y="48"/>
                    <a:pt x="463" y="48"/>
                  </a:cubicBezTo>
                  <a:cubicBezTo>
                    <a:pt x="463" y="71"/>
                    <a:pt x="463" y="71"/>
                    <a:pt x="463" y="71"/>
                  </a:cubicBezTo>
                  <a:cubicBezTo>
                    <a:pt x="434" y="71"/>
                    <a:pt x="434" y="71"/>
                    <a:pt x="434" y="71"/>
                  </a:cubicBezTo>
                  <a:cubicBezTo>
                    <a:pt x="434" y="48"/>
                    <a:pt x="434" y="48"/>
                    <a:pt x="434" y="48"/>
                  </a:cubicBezTo>
                  <a:cubicBezTo>
                    <a:pt x="445" y="46"/>
                    <a:pt x="445" y="46"/>
                    <a:pt x="445" y="46"/>
                  </a:cubicBezTo>
                  <a:cubicBezTo>
                    <a:pt x="445" y="39"/>
                    <a:pt x="445" y="39"/>
                    <a:pt x="445" y="39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46"/>
                    <a:pt x="405" y="46"/>
                    <a:pt x="405" y="46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107"/>
                    <a:pt x="416" y="107"/>
                    <a:pt x="416" y="107"/>
                  </a:cubicBezTo>
                  <a:cubicBezTo>
                    <a:pt x="405" y="109"/>
                    <a:pt x="405" y="109"/>
                    <a:pt x="405" y="109"/>
                  </a:cubicBezTo>
                  <a:cubicBezTo>
                    <a:pt x="405" y="116"/>
                    <a:pt x="405" y="116"/>
                    <a:pt x="405" y="116"/>
                  </a:cubicBezTo>
                  <a:cubicBezTo>
                    <a:pt x="445" y="116"/>
                    <a:pt x="445" y="116"/>
                    <a:pt x="445" y="116"/>
                  </a:cubicBezTo>
                  <a:lnTo>
                    <a:pt x="445" y="109"/>
                  </a:lnTo>
                  <a:close/>
                  <a:moveTo>
                    <a:pt x="1209" y="49"/>
                  </a:moveTo>
                  <a:cubicBezTo>
                    <a:pt x="1226" y="49"/>
                    <a:pt x="1226" y="49"/>
                    <a:pt x="1226" y="49"/>
                  </a:cubicBezTo>
                  <a:cubicBezTo>
                    <a:pt x="1226" y="107"/>
                    <a:pt x="1226" y="107"/>
                    <a:pt x="1226" y="107"/>
                  </a:cubicBezTo>
                  <a:cubicBezTo>
                    <a:pt x="1215" y="109"/>
                    <a:pt x="1215" y="109"/>
                    <a:pt x="1215" y="109"/>
                  </a:cubicBezTo>
                  <a:cubicBezTo>
                    <a:pt x="1215" y="116"/>
                    <a:pt x="1215" y="116"/>
                    <a:pt x="1215" y="116"/>
                  </a:cubicBezTo>
                  <a:cubicBezTo>
                    <a:pt x="1255" y="116"/>
                    <a:pt x="1255" y="116"/>
                    <a:pt x="1255" y="116"/>
                  </a:cubicBezTo>
                  <a:cubicBezTo>
                    <a:pt x="1255" y="109"/>
                    <a:pt x="1255" y="109"/>
                    <a:pt x="1255" y="109"/>
                  </a:cubicBezTo>
                  <a:cubicBezTo>
                    <a:pt x="1244" y="107"/>
                    <a:pt x="1244" y="107"/>
                    <a:pt x="1244" y="107"/>
                  </a:cubicBezTo>
                  <a:cubicBezTo>
                    <a:pt x="1244" y="49"/>
                    <a:pt x="1244" y="49"/>
                    <a:pt x="1244" y="49"/>
                  </a:cubicBezTo>
                  <a:cubicBezTo>
                    <a:pt x="1261" y="49"/>
                    <a:pt x="1261" y="49"/>
                    <a:pt x="1261" y="49"/>
                  </a:cubicBezTo>
                  <a:cubicBezTo>
                    <a:pt x="1262" y="60"/>
                    <a:pt x="1262" y="60"/>
                    <a:pt x="1262" y="60"/>
                  </a:cubicBezTo>
                  <a:cubicBezTo>
                    <a:pt x="1270" y="60"/>
                    <a:pt x="1270" y="60"/>
                    <a:pt x="1270" y="60"/>
                  </a:cubicBezTo>
                  <a:cubicBezTo>
                    <a:pt x="1270" y="39"/>
                    <a:pt x="1270" y="39"/>
                    <a:pt x="1270" y="39"/>
                  </a:cubicBezTo>
                  <a:cubicBezTo>
                    <a:pt x="1200" y="39"/>
                    <a:pt x="1200" y="39"/>
                    <a:pt x="1200" y="39"/>
                  </a:cubicBezTo>
                  <a:cubicBezTo>
                    <a:pt x="1200" y="60"/>
                    <a:pt x="1200" y="60"/>
                    <a:pt x="1200" y="60"/>
                  </a:cubicBezTo>
                  <a:cubicBezTo>
                    <a:pt x="1208" y="60"/>
                    <a:pt x="1208" y="60"/>
                    <a:pt x="1208" y="60"/>
                  </a:cubicBezTo>
                  <a:lnTo>
                    <a:pt x="1209" y="49"/>
                  </a:lnTo>
                  <a:close/>
                  <a:moveTo>
                    <a:pt x="1058" y="49"/>
                  </a:moveTo>
                  <a:cubicBezTo>
                    <a:pt x="1075" y="49"/>
                    <a:pt x="1075" y="49"/>
                    <a:pt x="1075" y="49"/>
                  </a:cubicBezTo>
                  <a:cubicBezTo>
                    <a:pt x="1075" y="107"/>
                    <a:pt x="1075" y="107"/>
                    <a:pt x="1075" y="107"/>
                  </a:cubicBezTo>
                  <a:cubicBezTo>
                    <a:pt x="1064" y="109"/>
                    <a:pt x="1064" y="109"/>
                    <a:pt x="1064" y="109"/>
                  </a:cubicBezTo>
                  <a:cubicBezTo>
                    <a:pt x="1064" y="116"/>
                    <a:pt x="1064" y="116"/>
                    <a:pt x="1064" y="116"/>
                  </a:cubicBezTo>
                  <a:cubicBezTo>
                    <a:pt x="1104" y="116"/>
                    <a:pt x="1104" y="116"/>
                    <a:pt x="1104" y="116"/>
                  </a:cubicBezTo>
                  <a:cubicBezTo>
                    <a:pt x="1104" y="109"/>
                    <a:pt x="1104" y="109"/>
                    <a:pt x="1104" y="109"/>
                  </a:cubicBezTo>
                  <a:cubicBezTo>
                    <a:pt x="1093" y="107"/>
                    <a:pt x="1093" y="107"/>
                    <a:pt x="1093" y="107"/>
                  </a:cubicBezTo>
                  <a:cubicBezTo>
                    <a:pt x="1093" y="49"/>
                    <a:pt x="1093" y="49"/>
                    <a:pt x="1093" y="49"/>
                  </a:cubicBezTo>
                  <a:cubicBezTo>
                    <a:pt x="1110" y="49"/>
                    <a:pt x="1110" y="49"/>
                    <a:pt x="1110" y="49"/>
                  </a:cubicBezTo>
                  <a:cubicBezTo>
                    <a:pt x="1111" y="60"/>
                    <a:pt x="1111" y="60"/>
                    <a:pt x="1111" y="60"/>
                  </a:cubicBezTo>
                  <a:cubicBezTo>
                    <a:pt x="1119" y="60"/>
                    <a:pt x="1119" y="60"/>
                    <a:pt x="1119" y="60"/>
                  </a:cubicBezTo>
                  <a:cubicBezTo>
                    <a:pt x="1119" y="39"/>
                    <a:pt x="1119" y="39"/>
                    <a:pt x="1119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60"/>
                    <a:pt x="1049" y="60"/>
                    <a:pt x="1049" y="60"/>
                  </a:cubicBezTo>
                  <a:cubicBezTo>
                    <a:pt x="1057" y="60"/>
                    <a:pt x="1057" y="60"/>
                    <a:pt x="1057" y="60"/>
                  </a:cubicBezTo>
                  <a:lnTo>
                    <a:pt x="1058" y="49"/>
                  </a:lnTo>
                  <a:close/>
                  <a:moveTo>
                    <a:pt x="1114" y="116"/>
                  </a:moveTo>
                  <a:cubicBezTo>
                    <a:pt x="1147" y="116"/>
                    <a:pt x="1147" y="116"/>
                    <a:pt x="1147" y="116"/>
                  </a:cubicBezTo>
                  <a:cubicBezTo>
                    <a:pt x="1147" y="109"/>
                    <a:pt x="1147" y="109"/>
                    <a:pt x="1147" y="109"/>
                  </a:cubicBezTo>
                  <a:cubicBezTo>
                    <a:pt x="1136" y="107"/>
                    <a:pt x="1136" y="107"/>
                    <a:pt x="1136" y="107"/>
                  </a:cubicBezTo>
                  <a:cubicBezTo>
                    <a:pt x="1142" y="93"/>
                    <a:pt x="1142" y="93"/>
                    <a:pt x="1142" y="93"/>
                  </a:cubicBezTo>
                  <a:cubicBezTo>
                    <a:pt x="1171" y="93"/>
                    <a:pt x="1171" y="93"/>
                    <a:pt x="1171" y="93"/>
                  </a:cubicBezTo>
                  <a:cubicBezTo>
                    <a:pt x="1176" y="107"/>
                    <a:pt x="1176" y="107"/>
                    <a:pt x="1176" y="107"/>
                  </a:cubicBezTo>
                  <a:cubicBezTo>
                    <a:pt x="1165" y="109"/>
                    <a:pt x="1165" y="109"/>
                    <a:pt x="1165" y="109"/>
                  </a:cubicBezTo>
                  <a:cubicBezTo>
                    <a:pt x="1165" y="116"/>
                    <a:pt x="1165" y="116"/>
                    <a:pt x="1165" y="116"/>
                  </a:cubicBezTo>
                  <a:cubicBezTo>
                    <a:pt x="1205" y="116"/>
                    <a:pt x="1205" y="116"/>
                    <a:pt x="1205" y="116"/>
                  </a:cubicBezTo>
                  <a:cubicBezTo>
                    <a:pt x="1205" y="109"/>
                    <a:pt x="1205" y="109"/>
                    <a:pt x="1205" y="109"/>
                  </a:cubicBezTo>
                  <a:cubicBezTo>
                    <a:pt x="1194" y="107"/>
                    <a:pt x="1194" y="107"/>
                    <a:pt x="1194" y="107"/>
                  </a:cubicBezTo>
                  <a:cubicBezTo>
                    <a:pt x="1168" y="39"/>
                    <a:pt x="1168" y="39"/>
                    <a:pt x="1168" y="39"/>
                  </a:cubicBezTo>
                  <a:cubicBezTo>
                    <a:pt x="1151" y="39"/>
                    <a:pt x="1151" y="39"/>
                    <a:pt x="1151" y="39"/>
                  </a:cubicBezTo>
                  <a:cubicBezTo>
                    <a:pt x="1125" y="107"/>
                    <a:pt x="1125" y="107"/>
                    <a:pt x="1125" y="107"/>
                  </a:cubicBezTo>
                  <a:cubicBezTo>
                    <a:pt x="1114" y="109"/>
                    <a:pt x="1114" y="109"/>
                    <a:pt x="1114" y="109"/>
                  </a:cubicBezTo>
                  <a:lnTo>
                    <a:pt x="1114" y="116"/>
                  </a:lnTo>
                  <a:close/>
                  <a:moveTo>
                    <a:pt x="1156" y="54"/>
                  </a:moveTo>
                  <a:cubicBezTo>
                    <a:pt x="1167" y="84"/>
                    <a:pt x="1167" y="84"/>
                    <a:pt x="1167" y="84"/>
                  </a:cubicBezTo>
                  <a:cubicBezTo>
                    <a:pt x="1145" y="84"/>
                    <a:pt x="1145" y="84"/>
                    <a:pt x="1145" y="84"/>
                  </a:cubicBezTo>
                  <a:lnTo>
                    <a:pt x="1156" y="54"/>
                  </a:lnTo>
                  <a:close/>
                  <a:moveTo>
                    <a:pt x="1042" y="88"/>
                  </a:moveTo>
                  <a:cubicBezTo>
                    <a:pt x="1042" y="49"/>
                    <a:pt x="993" y="65"/>
                    <a:pt x="993" y="41"/>
                  </a:cubicBezTo>
                  <a:cubicBezTo>
                    <a:pt x="993" y="30"/>
                    <a:pt x="1002" y="27"/>
                    <a:pt x="1011" y="27"/>
                  </a:cubicBezTo>
                  <a:cubicBezTo>
                    <a:pt x="1019" y="27"/>
                    <a:pt x="1028" y="29"/>
                    <a:pt x="1028" y="29"/>
                  </a:cubicBezTo>
                  <a:cubicBezTo>
                    <a:pt x="1030" y="41"/>
                    <a:pt x="1030" y="41"/>
                    <a:pt x="1030" y="41"/>
                  </a:cubicBezTo>
                  <a:cubicBezTo>
                    <a:pt x="1038" y="41"/>
                    <a:pt x="1038" y="41"/>
                    <a:pt x="1038" y="41"/>
                  </a:cubicBezTo>
                  <a:cubicBezTo>
                    <a:pt x="1038" y="22"/>
                    <a:pt x="1038" y="22"/>
                    <a:pt x="1038" y="22"/>
                  </a:cubicBezTo>
                  <a:cubicBezTo>
                    <a:pt x="1030" y="19"/>
                    <a:pt x="1019" y="16"/>
                    <a:pt x="1009" y="16"/>
                  </a:cubicBezTo>
                  <a:cubicBezTo>
                    <a:pt x="987" y="16"/>
                    <a:pt x="976" y="27"/>
                    <a:pt x="976" y="44"/>
                  </a:cubicBezTo>
                  <a:cubicBezTo>
                    <a:pt x="976" y="65"/>
                    <a:pt x="992" y="69"/>
                    <a:pt x="1007" y="74"/>
                  </a:cubicBezTo>
                  <a:cubicBezTo>
                    <a:pt x="1017" y="77"/>
                    <a:pt x="1025" y="79"/>
                    <a:pt x="1025" y="90"/>
                  </a:cubicBezTo>
                  <a:cubicBezTo>
                    <a:pt x="1025" y="102"/>
                    <a:pt x="1015" y="106"/>
                    <a:pt x="1003" y="106"/>
                  </a:cubicBezTo>
                  <a:cubicBezTo>
                    <a:pt x="992" y="106"/>
                    <a:pt x="986" y="104"/>
                    <a:pt x="986" y="104"/>
                  </a:cubicBezTo>
                  <a:cubicBezTo>
                    <a:pt x="984" y="91"/>
                    <a:pt x="984" y="91"/>
                    <a:pt x="984" y="91"/>
                  </a:cubicBezTo>
                  <a:cubicBezTo>
                    <a:pt x="976" y="91"/>
                    <a:pt x="976" y="91"/>
                    <a:pt x="976" y="91"/>
                  </a:cubicBezTo>
                  <a:cubicBezTo>
                    <a:pt x="976" y="112"/>
                    <a:pt x="976" y="112"/>
                    <a:pt x="976" y="112"/>
                  </a:cubicBezTo>
                  <a:cubicBezTo>
                    <a:pt x="976" y="112"/>
                    <a:pt x="989" y="117"/>
                    <a:pt x="1006" y="117"/>
                  </a:cubicBezTo>
                  <a:cubicBezTo>
                    <a:pt x="1030" y="117"/>
                    <a:pt x="1042" y="107"/>
                    <a:pt x="1042" y="88"/>
                  </a:cubicBezTo>
                  <a:close/>
                  <a:moveTo>
                    <a:pt x="847" y="109"/>
                  </a:moveTo>
                  <a:cubicBezTo>
                    <a:pt x="835" y="107"/>
                    <a:pt x="835" y="107"/>
                    <a:pt x="835" y="107"/>
                  </a:cubicBezTo>
                  <a:cubicBezTo>
                    <a:pt x="835" y="48"/>
                    <a:pt x="835" y="48"/>
                    <a:pt x="835" y="48"/>
                  </a:cubicBezTo>
                  <a:cubicBezTo>
                    <a:pt x="847" y="46"/>
                    <a:pt x="847" y="46"/>
                    <a:pt x="847" y="46"/>
                  </a:cubicBezTo>
                  <a:cubicBezTo>
                    <a:pt x="847" y="39"/>
                    <a:pt x="847" y="39"/>
                    <a:pt x="847" y="39"/>
                  </a:cubicBezTo>
                  <a:cubicBezTo>
                    <a:pt x="806" y="39"/>
                    <a:pt x="806" y="39"/>
                    <a:pt x="806" y="39"/>
                  </a:cubicBezTo>
                  <a:cubicBezTo>
                    <a:pt x="806" y="46"/>
                    <a:pt x="806" y="46"/>
                    <a:pt x="806" y="46"/>
                  </a:cubicBezTo>
                  <a:cubicBezTo>
                    <a:pt x="818" y="48"/>
                    <a:pt x="818" y="48"/>
                    <a:pt x="818" y="48"/>
                  </a:cubicBezTo>
                  <a:cubicBezTo>
                    <a:pt x="818" y="107"/>
                    <a:pt x="818" y="107"/>
                    <a:pt x="818" y="107"/>
                  </a:cubicBezTo>
                  <a:cubicBezTo>
                    <a:pt x="806" y="109"/>
                    <a:pt x="806" y="109"/>
                    <a:pt x="806" y="109"/>
                  </a:cubicBezTo>
                  <a:cubicBezTo>
                    <a:pt x="806" y="116"/>
                    <a:pt x="806" y="116"/>
                    <a:pt x="806" y="116"/>
                  </a:cubicBezTo>
                  <a:cubicBezTo>
                    <a:pt x="847" y="116"/>
                    <a:pt x="847" y="116"/>
                    <a:pt x="847" y="116"/>
                  </a:cubicBezTo>
                  <a:lnTo>
                    <a:pt x="847" y="109"/>
                  </a:lnTo>
                  <a:close/>
                  <a:moveTo>
                    <a:pt x="890" y="117"/>
                  </a:moveTo>
                  <a:cubicBezTo>
                    <a:pt x="915" y="117"/>
                    <a:pt x="927" y="103"/>
                    <a:pt x="927" y="78"/>
                  </a:cubicBezTo>
                  <a:cubicBezTo>
                    <a:pt x="927" y="52"/>
                    <a:pt x="915" y="38"/>
                    <a:pt x="890" y="38"/>
                  </a:cubicBezTo>
                  <a:cubicBezTo>
                    <a:pt x="864" y="38"/>
                    <a:pt x="853" y="52"/>
                    <a:pt x="853" y="77"/>
                  </a:cubicBezTo>
                  <a:cubicBezTo>
                    <a:pt x="853" y="103"/>
                    <a:pt x="864" y="117"/>
                    <a:pt x="890" y="117"/>
                  </a:cubicBezTo>
                  <a:close/>
                  <a:moveTo>
                    <a:pt x="890" y="48"/>
                  </a:moveTo>
                  <a:cubicBezTo>
                    <a:pt x="902" y="48"/>
                    <a:pt x="908" y="57"/>
                    <a:pt x="908" y="78"/>
                  </a:cubicBezTo>
                  <a:cubicBezTo>
                    <a:pt x="908" y="98"/>
                    <a:pt x="902" y="107"/>
                    <a:pt x="889" y="107"/>
                  </a:cubicBezTo>
                  <a:cubicBezTo>
                    <a:pt x="877" y="107"/>
                    <a:pt x="871" y="98"/>
                    <a:pt x="871" y="77"/>
                  </a:cubicBezTo>
                  <a:cubicBezTo>
                    <a:pt x="871" y="57"/>
                    <a:pt x="877" y="48"/>
                    <a:pt x="890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5775216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rporate Title Lea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41"/>
          <p:cNvSpPr>
            <a:spLocks noGrp="1"/>
          </p:cNvSpPr>
          <p:nvPr>
            <p:ph type="title"/>
          </p:nvPr>
        </p:nvSpPr>
        <p:spPr>
          <a:xfrm>
            <a:off x="1901372" y="2467999"/>
            <a:ext cx="8447315" cy="920559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3733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3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39713" y="3587547"/>
            <a:ext cx="5170632" cy="428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85000"/>
              </a:lnSpc>
              <a:spcBef>
                <a:spcPct val="0"/>
              </a:spcBef>
              <a:buFont typeface="Wingdings" pitchFamily="2" charset="2"/>
              <a:buNone/>
              <a:defRPr sz="2667"/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4396442" y="5448959"/>
            <a:ext cx="3457207" cy="496575"/>
            <a:chOff x="487363" y="2840038"/>
            <a:chExt cx="8167687" cy="1173162"/>
          </a:xfrm>
        </p:grpSpPr>
        <p:sp>
          <p:nvSpPr>
            <p:cNvPr id="13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487363" y="2843213"/>
              <a:ext cx="8167687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531813" y="2892425"/>
              <a:ext cx="803275" cy="1068387"/>
            </a:xfrm>
            <a:custGeom>
              <a:avLst/>
              <a:gdLst>
                <a:gd name="T0" fmla="*/ 126 w 506"/>
                <a:gd name="T1" fmla="*/ 172 h 673"/>
                <a:gd name="T2" fmla="*/ 175 w 506"/>
                <a:gd name="T3" fmla="*/ 125 h 673"/>
                <a:gd name="T4" fmla="*/ 333 w 506"/>
                <a:gd name="T5" fmla="*/ 125 h 673"/>
                <a:gd name="T6" fmla="*/ 383 w 506"/>
                <a:gd name="T7" fmla="*/ 172 h 673"/>
                <a:gd name="T8" fmla="*/ 383 w 506"/>
                <a:gd name="T9" fmla="*/ 500 h 673"/>
                <a:gd name="T10" fmla="*/ 333 w 506"/>
                <a:gd name="T11" fmla="*/ 548 h 673"/>
                <a:gd name="T12" fmla="*/ 175 w 506"/>
                <a:gd name="T13" fmla="*/ 548 h 673"/>
                <a:gd name="T14" fmla="*/ 126 w 506"/>
                <a:gd name="T15" fmla="*/ 500 h 673"/>
                <a:gd name="T16" fmla="*/ 126 w 506"/>
                <a:gd name="T17" fmla="*/ 172 h 673"/>
                <a:gd name="T18" fmla="*/ 126 w 506"/>
                <a:gd name="T19" fmla="*/ 172 h 673"/>
                <a:gd name="T20" fmla="*/ 506 w 506"/>
                <a:gd name="T21" fmla="*/ 120 h 673"/>
                <a:gd name="T22" fmla="*/ 385 w 506"/>
                <a:gd name="T23" fmla="*/ 0 h 673"/>
                <a:gd name="T24" fmla="*/ 123 w 506"/>
                <a:gd name="T25" fmla="*/ 0 h 673"/>
                <a:gd name="T26" fmla="*/ 0 w 506"/>
                <a:gd name="T27" fmla="*/ 120 h 673"/>
                <a:gd name="T28" fmla="*/ 0 w 506"/>
                <a:gd name="T29" fmla="*/ 552 h 673"/>
                <a:gd name="T30" fmla="*/ 123 w 506"/>
                <a:gd name="T31" fmla="*/ 673 h 673"/>
                <a:gd name="T32" fmla="*/ 385 w 506"/>
                <a:gd name="T33" fmla="*/ 673 h 673"/>
                <a:gd name="T34" fmla="*/ 506 w 506"/>
                <a:gd name="T35" fmla="*/ 552 h 673"/>
                <a:gd name="T36" fmla="*/ 506 w 506"/>
                <a:gd name="T37" fmla="*/ 120 h 673"/>
                <a:gd name="T38" fmla="*/ 506 w 506"/>
                <a:gd name="T39" fmla="*/ 12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6" h="673">
                  <a:moveTo>
                    <a:pt x="126" y="172"/>
                  </a:moveTo>
                  <a:lnTo>
                    <a:pt x="175" y="125"/>
                  </a:lnTo>
                  <a:lnTo>
                    <a:pt x="333" y="125"/>
                  </a:lnTo>
                  <a:lnTo>
                    <a:pt x="383" y="172"/>
                  </a:lnTo>
                  <a:lnTo>
                    <a:pt x="383" y="500"/>
                  </a:lnTo>
                  <a:lnTo>
                    <a:pt x="333" y="548"/>
                  </a:lnTo>
                  <a:lnTo>
                    <a:pt x="175" y="548"/>
                  </a:lnTo>
                  <a:lnTo>
                    <a:pt x="126" y="500"/>
                  </a:lnTo>
                  <a:lnTo>
                    <a:pt x="126" y="172"/>
                  </a:lnTo>
                  <a:lnTo>
                    <a:pt x="126" y="172"/>
                  </a:lnTo>
                  <a:close/>
                  <a:moveTo>
                    <a:pt x="506" y="120"/>
                  </a:moveTo>
                  <a:lnTo>
                    <a:pt x="385" y="0"/>
                  </a:lnTo>
                  <a:lnTo>
                    <a:pt x="123" y="0"/>
                  </a:lnTo>
                  <a:lnTo>
                    <a:pt x="0" y="120"/>
                  </a:lnTo>
                  <a:lnTo>
                    <a:pt x="0" y="552"/>
                  </a:lnTo>
                  <a:lnTo>
                    <a:pt x="123" y="673"/>
                  </a:lnTo>
                  <a:lnTo>
                    <a:pt x="385" y="673"/>
                  </a:lnTo>
                  <a:lnTo>
                    <a:pt x="506" y="552"/>
                  </a:lnTo>
                  <a:lnTo>
                    <a:pt x="506" y="120"/>
                  </a:lnTo>
                  <a:lnTo>
                    <a:pt x="506" y="120"/>
                  </a:lnTo>
                  <a:close/>
                </a:path>
              </a:pathLst>
            </a:custGeom>
            <a:solidFill>
              <a:srgbClr val="BB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487363" y="2840038"/>
              <a:ext cx="8167687" cy="1169989"/>
            </a:xfrm>
            <a:custGeom>
              <a:avLst/>
              <a:gdLst>
                <a:gd name="T0" fmla="*/ 397 w 2178"/>
                <a:gd name="T1" fmla="*/ 289 h 312"/>
                <a:gd name="T2" fmla="*/ 430 w 2178"/>
                <a:gd name="T3" fmla="*/ 253 h 312"/>
                <a:gd name="T4" fmla="*/ 493 w 2178"/>
                <a:gd name="T5" fmla="*/ 256 h 312"/>
                <a:gd name="T6" fmla="*/ 535 w 2178"/>
                <a:gd name="T7" fmla="*/ 289 h 312"/>
                <a:gd name="T8" fmla="*/ 608 w 2178"/>
                <a:gd name="T9" fmla="*/ 282 h 312"/>
                <a:gd name="T10" fmla="*/ 678 w 2178"/>
                <a:gd name="T11" fmla="*/ 225 h 312"/>
                <a:gd name="T12" fmla="*/ 660 w 2178"/>
                <a:gd name="T13" fmla="*/ 232 h 312"/>
                <a:gd name="T14" fmla="*/ 761 w 2178"/>
                <a:gd name="T15" fmla="*/ 289 h 312"/>
                <a:gd name="T16" fmla="*/ 814 w 2178"/>
                <a:gd name="T17" fmla="*/ 282 h 312"/>
                <a:gd name="T18" fmla="*/ 858 w 2178"/>
                <a:gd name="T19" fmla="*/ 225 h 312"/>
                <a:gd name="T20" fmla="*/ 923 w 2178"/>
                <a:gd name="T21" fmla="*/ 289 h 312"/>
                <a:gd name="T22" fmla="*/ 941 w 2178"/>
                <a:gd name="T23" fmla="*/ 257 h 312"/>
                <a:gd name="T24" fmla="*/ 1061 w 2178"/>
                <a:gd name="T25" fmla="*/ 289 h 312"/>
                <a:gd name="T26" fmla="*/ 1103 w 2178"/>
                <a:gd name="T27" fmla="*/ 282 h 312"/>
                <a:gd name="T28" fmla="*/ 1182 w 2178"/>
                <a:gd name="T29" fmla="*/ 277 h 312"/>
                <a:gd name="T30" fmla="*/ 1197 w 2178"/>
                <a:gd name="T31" fmla="*/ 232 h 312"/>
                <a:gd name="T32" fmla="*/ 1287 w 2178"/>
                <a:gd name="T33" fmla="*/ 289 h 312"/>
                <a:gd name="T34" fmla="*/ 1351 w 2178"/>
                <a:gd name="T35" fmla="*/ 225 h 312"/>
                <a:gd name="T36" fmla="*/ 1367 w 2178"/>
                <a:gd name="T37" fmla="*/ 232 h 312"/>
                <a:gd name="T38" fmla="*/ 1433 w 2178"/>
                <a:gd name="T39" fmla="*/ 264 h 312"/>
                <a:gd name="T40" fmla="*/ 59 w 2178"/>
                <a:gd name="T41" fmla="*/ 0 h 312"/>
                <a:gd name="T42" fmla="*/ 61 w 2178"/>
                <a:gd name="T43" fmla="*/ 307 h 312"/>
                <a:gd name="T44" fmla="*/ 150 w 2178"/>
                <a:gd name="T45" fmla="*/ 238 h 312"/>
                <a:gd name="T46" fmla="*/ 147 w 2178"/>
                <a:gd name="T47" fmla="*/ 80 h 312"/>
                <a:gd name="T48" fmla="*/ 1628 w 2178"/>
                <a:gd name="T49" fmla="*/ 46 h 312"/>
                <a:gd name="T50" fmla="*/ 1515 w 2178"/>
                <a:gd name="T51" fmla="*/ 107 h 312"/>
                <a:gd name="T52" fmla="*/ 1518 w 2178"/>
                <a:gd name="T53" fmla="*/ 39 h 312"/>
                <a:gd name="T54" fmla="*/ 1438 w 2178"/>
                <a:gd name="T55" fmla="*/ 117 h 312"/>
                <a:gd name="T56" fmla="*/ 1441 w 2178"/>
                <a:gd name="T57" fmla="*/ 107 h 312"/>
                <a:gd name="T58" fmla="*/ 1713 w 2178"/>
                <a:gd name="T59" fmla="*/ 48 h 312"/>
                <a:gd name="T60" fmla="*/ 1634 w 2178"/>
                <a:gd name="T61" fmla="*/ 46 h 312"/>
                <a:gd name="T62" fmla="*/ 1974 w 2178"/>
                <a:gd name="T63" fmla="*/ 107 h 312"/>
                <a:gd name="T64" fmla="*/ 2066 w 2178"/>
                <a:gd name="T65" fmla="*/ 109 h 312"/>
                <a:gd name="T66" fmla="*/ 2122 w 2178"/>
                <a:gd name="T67" fmla="*/ 82 h 312"/>
                <a:gd name="T68" fmla="*/ 2138 w 2178"/>
                <a:gd name="T69" fmla="*/ 39 h 312"/>
                <a:gd name="T70" fmla="*/ 1953 w 2178"/>
                <a:gd name="T71" fmla="*/ 94 h 312"/>
                <a:gd name="T72" fmla="*/ 1920 w 2178"/>
                <a:gd name="T73" fmla="*/ 107 h 312"/>
                <a:gd name="T74" fmla="*/ 1855 w 2178"/>
                <a:gd name="T75" fmla="*/ 98 h 312"/>
                <a:gd name="T76" fmla="*/ 1819 w 2178"/>
                <a:gd name="T77" fmla="*/ 48 h 312"/>
                <a:gd name="T78" fmla="*/ 1839 w 2178"/>
                <a:gd name="T79" fmla="*/ 73 h 312"/>
                <a:gd name="T80" fmla="*/ 1784 w 2178"/>
                <a:gd name="T81" fmla="*/ 61 h 312"/>
                <a:gd name="T82" fmla="*/ 1741 w 2178"/>
                <a:gd name="T83" fmla="*/ 48 h 312"/>
                <a:gd name="T84" fmla="*/ 1323 w 2178"/>
                <a:gd name="T85" fmla="*/ 80 h 312"/>
                <a:gd name="T86" fmla="*/ 1342 w 2178"/>
                <a:gd name="T87" fmla="*/ 39 h 312"/>
                <a:gd name="T88" fmla="*/ 557 w 2178"/>
                <a:gd name="T89" fmla="*/ 106 h 312"/>
                <a:gd name="T90" fmla="*/ 557 w 2178"/>
                <a:gd name="T91" fmla="*/ 49 h 312"/>
                <a:gd name="T92" fmla="*/ 566 w 2178"/>
                <a:gd name="T93" fmla="*/ 95 h 312"/>
                <a:gd name="T94" fmla="*/ 327 w 2178"/>
                <a:gd name="T95" fmla="*/ 28 h 312"/>
                <a:gd name="T96" fmla="*/ 399 w 2178"/>
                <a:gd name="T97" fmla="*/ 40 h 312"/>
                <a:gd name="T98" fmla="*/ 757 w 2178"/>
                <a:gd name="T99" fmla="*/ 109 h 312"/>
                <a:gd name="T100" fmla="*/ 768 w 2178"/>
                <a:gd name="T101" fmla="*/ 71 h 312"/>
                <a:gd name="T102" fmla="*/ 750 w 2178"/>
                <a:gd name="T103" fmla="*/ 116 h 312"/>
                <a:gd name="T104" fmla="*/ 480 w 2178"/>
                <a:gd name="T105" fmla="*/ 107 h 312"/>
                <a:gd name="T106" fmla="*/ 445 w 2178"/>
                <a:gd name="T107" fmla="*/ 39 h 312"/>
                <a:gd name="T108" fmla="*/ 1226 w 2178"/>
                <a:gd name="T109" fmla="*/ 107 h 312"/>
                <a:gd name="T110" fmla="*/ 1200 w 2178"/>
                <a:gd name="T111" fmla="*/ 39 h 312"/>
                <a:gd name="T112" fmla="*/ 1093 w 2178"/>
                <a:gd name="T113" fmla="*/ 107 h 312"/>
                <a:gd name="T114" fmla="*/ 1147 w 2178"/>
                <a:gd name="T115" fmla="*/ 116 h 312"/>
                <a:gd name="T116" fmla="*/ 1168 w 2178"/>
                <a:gd name="T117" fmla="*/ 39 h 312"/>
                <a:gd name="T118" fmla="*/ 1011 w 2178"/>
                <a:gd name="T119" fmla="*/ 27 h 312"/>
                <a:gd name="T120" fmla="*/ 984 w 2178"/>
                <a:gd name="T121" fmla="*/ 91 h 312"/>
                <a:gd name="T122" fmla="*/ 806 w 2178"/>
                <a:gd name="T123" fmla="*/ 46 h 312"/>
                <a:gd name="T124" fmla="*/ 890 w 2178"/>
                <a:gd name="T125" fmla="*/ 1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8" h="312">
                  <a:moveTo>
                    <a:pt x="393" y="278"/>
                  </a:moveTo>
                  <a:cubicBezTo>
                    <a:pt x="378" y="225"/>
                    <a:pt x="378" y="225"/>
                    <a:pt x="378" y="225"/>
                  </a:cubicBezTo>
                  <a:cubicBezTo>
                    <a:pt x="371" y="225"/>
                    <a:pt x="371" y="225"/>
                    <a:pt x="371" y="225"/>
                  </a:cubicBezTo>
                  <a:cubicBezTo>
                    <a:pt x="357" y="278"/>
                    <a:pt x="357" y="278"/>
                    <a:pt x="357" y="278"/>
                  </a:cubicBezTo>
                  <a:cubicBezTo>
                    <a:pt x="343" y="225"/>
                    <a:pt x="343" y="225"/>
                    <a:pt x="343" y="225"/>
                  </a:cubicBezTo>
                  <a:cubicBezTo>
                    <a:pt x="334" y="225"/>
                    <a:pt x="334" y="225"/>
                    <a:pt x="334" y="225"/>
                  </a:cubicBezTo>
                  <a:cubicBezTo>
                    <a:pt x="352" y="289"/>
                    <a:pt x="352" y="289"/>
                    <a:pt x="352" y="289"/>
                  </a:cubicBezTo>
                  <a:cubicBezTo>
                    <a:pt x="361" y="289"/>
                    <a:pt x="361" y="289"/>
                    <a:pt x="361" y="289"/>
                  </a:cubicBezTo>
                  <a:cubicBezTo>
                    <a:pt x="375" y="237"/>
                    <a:pt x="375" y="237"/>
                    <a:pt x="375" y="237"/>
                  </a:cubicBezTo>
                  <a:cubicBezTo>
                    <a:pt x="389" y="289"/>
                    <a:pt x="389" y="289"/>
                    <a:pt x="389" y="289"/>
                  </a:cubicBezTo>
                  <a:cubicBezTo>
                    <a:pt x="397" y="289"/>
                    <a:pt x="397" y="289"/>
                    <a:pt x="397" y="289"/>
                  </a:cubicBezTo>
                  <a:cubicBezTo>
                    <a:pt x="416" y="225"/>
                    <a:pt x="416" y="225"/>
                    <a:pt x="416" y="225"/>
                  </a:cubicBezTo>
                  <a:cubicBezTo>
                    <a:pt x="407" y="225"/>
                    <a:pt x="407" y="225"/>
                    <a:pt x="407" y="225"/>
                  </a:cubicBezTo>
                  <a:lnTo>
                    <a:pt x="393" y="278"/>
                  </a:lnTo>
                  <a:close/>
                  <a:moveTo>
                    <a:pt x="422" y="289"/>
                  </a:moveTo>
                  <a:cubicBezTo>
                    <a:pt x="464" y="289"/>
                    <a:pt x="464" y="289"/>
                    <a:pt x="464" y="289"/>
                  </a:cubicBezTo>
                  <a:cubicBezTo>
                    <a:pt x="464" y="282"/>
                    <a:pt x="464" y="282"/>
                    <a:pt x="464" y="282"/>
                  </a:cubicBezTo>
                  <a:cubicBezTo>
                    <a:pt x="430" y="282"/>
                    <a:pt x="430" y="282"/>
                    <a:pt x="430" y="282"/>
                  </a:cubicBezTo>
                  <a:cubicBezTo>
                    <a:pt x="430" y="260"/>
                    <a:pt x="430" y="260"/>
                    <a:pt x="430" y="260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63" y="253"/>
                    <a:pt x="463" y="253"/>
                    <a:pt x="463" y="253"/>
                  </a:cubicBezTo>
                  <a:cubicBezTo>
                    <a:pt x="430" y="253"/>
                    <a:pt x="430" y="253"/>
                    <a:pt x="430" y="253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464" y="232"/>
                    <a:pt x="464" y="232"/>
                    <a:pt x="464" y="232"/>
                  </a:cubicBezTo>
                  <a:cubicBezTo>
                    <a:pt x="464" y="225"/>
                    <a:pt x="464" y="225"/>
                    <a:pt x="464" y="225"/>
                  </a:cubicBezTo>
                  <a:cubicBezTo>
                    <a:pt x="422" y="225"/>
                    <a:pt x="422" y="225"/>
                    <a:pt x="422" y="225"/>
                  </a:cubicBezTo>
                  <a:lnTo>
                    <a:pt x="422" y="289"/>
                  </a:lnTo>
                  <a:close/>
                  <a:moveTo>
                    <a:pt x="527" y="225"/>
                  </a:moveTo>
                  <a:cubicBezTo>
                    <a:pt x="517" y="225"/>
                    <a:pt x="517" y="225"/>
                    <a:pt x="517" y="225"/>
                  </a:cubicBezTo>
                  <a:cubicBezTo>
                    <a:pt x="498" y="251"/>
                    <a:pt x="498" y="251"/>
                    <a:pt x="498" y="251"/>
                  </a:cubicBezTo>
                  <a:cubicBezTo>
                    <a:pt x="479" y="225"/>
                    <a:pt x="479" y="225"/>
                    <a:pt x="479" y="225"/>
                  </a:cubicBezTo>
                  <a:cubicBezTo>
                    <a:pt x="470" y="225"/>
                    <a:pt x="470" y="225"/>
                    <a:pt x="470" y="225"/>
                  </a:cubicBezTo>
                  <a:cubicBezTo>
                    <a:pt x="493" y="256"/>
                    <a:pt x="493" y="256"/>
                    <a:pt x="493" y="256"/>
                  </a:cubicBezTo>
                  <a:cubicBezTo>
                    <a:pt x="468" y="289"/>
                    <a:pt x="468" y="289"/>
                    <a:pt x="468" y="289"/>
                  </a:cubicBezTo>
                  <a:cubicBezTo>
                    <a:pt x="478" y="289"/>
                    <a:pt x="478" y="289"/>
                    <a:pt x="478" y="289"/>
                  </a:cubicBezTo>
                  <a:cubicBezTo>
                    <a:pt x="498" y="262"/>
                    <a:pt x="498" y="262"/>
                    <a:pt x="498" y="262"/>
                  </a:cubicBezTo>
                  <a:cubicBezTo>
                    <a:pt x="519" y="289"/>
                    <a:pt x="519" y="289"/>
                    <a:pt x="519" y="289"/>
                  </a:cubicBezTo>
                  <a:cubicBezTo>
                    <a:pt x="528" y="289"/>
                    <a:pt x="528" y="289"/>
                    <a:pt x="528" y="289"/>
                  </a:cubicBezTo>
                  <a:cubicBezTo>
                    <a:pt x="503" y="256"/>
                    <a:pt x="503" y="256"/>
                    <a:pt x="503" y="256"/>
                  </a:cubicBezTo>
                  <a:lnTo>
                    <a:pt x="527" y="225"/>
                  </a:lnTo>
                  <a:close/>
                  <a:moveTo>
                    <a:pt x="580" y="275"/>
                  </a:moveTo>
                  <a:cubicBezTo>
                    <a:pt x="543" y="225"/>
                    <a:pt x="543" y="225"/>
                    <a:pt x="543" y="225"/>
                  </a:cubicBezTo>
                  <a:cubicBezTo>
                    <a:pt x="535" y="225"/>
                    <a:pt x="535" y="225"/>
                    <a:pt x="535" y="225"/>
                  </a:cubicBezTo>
                  <a:cubicBezTo>
                    <a:pt x="535" y="289"/>
                    <a:pt x="535" y="289"/>
                    <a:pt x="535" y="289"/>
                  </a:cubicBezTo>
                  <a:cubicBezTo>
                    <a:pt x="543" y="289"/>
                    <a:pt x="543" y="289"/>
                    <a:pt x="543" y="289"/>
                  </a:cubicBezTo>
                  <a:cubicBezTo>
                    <a:pt x="543" y="238"/>
                    <a:pt x="543" y="238"/>
                    <a:pt x="543" y="238"/>
                  </a:cubicBezTo>
                  <a:cubicBezTo>
                    <a:pt x="580" y="289"/>
                    <a:pt x="580" y="289"/>
                    <a:pt x="580" y="289"/>
                  </a:cubicBezTo>
                  <a:cubicBezTo>
                    <a:pt x="588" y="289"/>
                    <a:pt x="588" y="289"/>
                    <a:pt x="588" y="289"/>
                  </a:cubicBezTo>
                  <a:cubicBezTo>
                    <a:pt x="588" y="225"/>
                    <a:pt x="588" y="225"/>
                    <a:pt x="588" y="225"/>
                  </a:cubicBezTo>
                  <a:cubicBezTo>
                    <a:pt x="580" y="225"/>
                    <a:pt x="580" y="225"/>
                    <a:pt x="580" y="225"/>
                  </a:cubicBezTo>
                  <a:lnTo>
                    <a:pt x="580" y="275"/>
                  </a:lnTo>
                  <a:close/>
                  <a:moveTo>
                    <a:pt x="600" y="289"/>
                  </a:moveTo>
                  <a:cubicBezTo>
                    <a:pt x="642" y="289"/>
                    <a:pt x="642" y="289"/>
                    <a:pt x="642" y="289"/>
                  </a:cubicBezTo>
                  <a:cubicBezTo>
                    <a:pt x="642" y="282"/>
                    <a:pt x="642" y="282"/>
                    <a:pt x="642" y="282"/>
                  </a:cubicBezTo>
                  <a:cubicBezTo>
                    <a:pt x="608" y="282"/>
                    <a:pt x="608" y="282"/>
                    <a:pt x="608" y="282"/>
                  </a:cubicBezTo>
                  <a:cubicBezTo>
                    <a:pt x="608" y="260"/>
                    <a:pt x="608" y="260"/>
                    <a:pt x="608" y="260"/>
                  </a:cubicBezTo>
                  <a:cubicBezTo>
                    <a:pt x="641" y="260"/>
                    <a:pt x="641" y="260"/>
                    <a:pt x="641" y="260"/>
                  </a:cubicBezTo>
                  <a:cubicBezTo>
                    <a:pt x="641" y="253"/>
                    <a:pt x="641" y="253"/>
                    <a:pt x="641" y="253"/>
                  </a:cubicBezTo>
                  <a:cubicBezTo>
                    <a:pt x="608" y="253"/>
                    <a:pt x="608" y="253"/>
                    <a:pt x="608" y="253"/>
                  </a:cubicBezTo>
                  <a:cubicBezTo>
                    <a:pt x="608" y="232"/>
                    <a:pt x="608" y="232"/>
                    <a:pt x="608" y="232"/>
                  </a:cubicBezTo>
                  <a:cubicBezTo>
                    <a:pt x="642" y="232"/>
                    <a:pt x="642" y="232"/>
                    <a:pt x="642" y="232"/>
                  </a:cubicBezTo>
                  <a:cubicBezTo>
                    <a:pt x="642" y="225"/>
                    <a:pt x="642" y="225"/>
                    <a:pt x="642" y="225"/>
                  </a:cubicBezTo>
                  <a:cubicBezTo>
                    <a:pt x="600" y="225"/>
                    <a:pt x="600" y="225"/>
                    <a:pt x="600" y="225"/>
                  </a:cubicBezTo>
                  <a:lnTo>
                    <a:pt x="600" y="289"/>
                  </a:lnTo>
                  <a:close/>
                  <a:moveTo>
                    <a:pt x="698" y="244"/>
                  </a:moveTo>
                  <a:cubicBezTo>
                    <a:pt x="698" y="233"/>
                    <a:pt x="690" y="225"/>
                    <a:pt x="678" y="225"/>
                  </a:cubicBezTo>
                  <a:cubicBezTo>
                    <a:pt x="652" y="225"/>
                    <a:pt x="652" y="225"/>
                    <a:pt x="652" y="225"/>
                  </a:cubicBezTo>
                  <a:cubicBezTo>
                    <a:pt x="652" y="289"/>
                    <a:pt x="652" y="289"/>
                    <a:pt x="652" y="289"/>
                  </a:cubicBezTo>
                  <a:cubicBezTo>
                    <a:pt x="660" y="289"/>
                    <a:pt x="660" y="289"/>
                    <a:pt x="660" y="289"/>
                  </a:cubicBezTo>
                  <a:cubicBezTo>
                    <a:pt x="660" y="264"/>
                    <a:pt x="660" y="264"/>
                    <a:pt x="660" y="264"/>
                  </a:cubicBezTo>
                  <a:cubicBezTo>
                    <a:pt x="673" y="264"/>
                    <a:pt x="673" y="264"/>
                    <a:pt x="673" y="264"/>
                  </a:cubicBezTo>
                  <a:cubicBezTo>
                    <a:pt x="689" y="289"/>
                    <a:pt x="689" y="289"/>
                    <a:pt x="689" y="289"/>
                  </a:cubicBezTo>
                  <a:cubicBezTo>
                    <a:pt x="699" y="289"/>
                    <a:pt x="699" y="289"/>
                    <a:pt x="699" y="289"/>
                  </a:cubicBezTo>
                  <a:cubicBezTo>
                    <a:pt x="682" y="263"/>
                    <a:pt x="682" y="263"/>
                    <a:pt x="682" y="263"/>
                  </a:cubicBezTo>
                  <a:cubicBezTo>
                    <a:pt x="690" y="262"/>
                    <a:pt x="698" y="256"/>
                    <a:pt x="698" y="244"/>
                  </a:cubicBezTo>
                  <a:close/>
                  <a:moveTo>
                    <a:pt x="660" y="257"/>
                  </a:moveTo>
                  <a:cubicBezTo>
                    <a:pt x="660" y="232"/>
                    <a:pt x="660" y="232"/>
                    <a:pt x="660" y="232"/>
                  </a:cubicBezTo>
                  <a:cubicBezTo>
                    <a:pt x="677" y="232"/>
                    <a:pt x="677" y="232"/>
                    <a:pt x="677" y="232"/>
                  </a:cubicBezTo>
                  <a:cubicBezTo>
                    <a:pt x="685" y="232"/>
                    <a:pt x="690" y="237"/>
                    <a:pt x="690" y="244"/>
                  </a:cubicBezTo>
                  <a:cubicBezTo>
                    <a:pt x="690" y="252"/>
                    <a:pt x="685" y="257"/>
                    <a:pt x="677" y="257"/>
                  </a:cubicBezTo>
                  <a:lnTo>
                    <a:pt x="660" y="257"/>
                  </a:lnTo>
                  <a:close/>
                  <a:moveTo>
                    <a:pt x="762" y="274"/>
                  </a:moveTo>
                  <a:cubicBezTo>
                    <a:pt x="742" y="225"/>
                    <a:pt x="742" y="225"/>
                    <a:pt x="742" y="225"/>
                  </a:cubicBezTo>
                  <a:cubicBezTo>
                    <a:pt x="731" y="225"/>
                    <a:pt x="731" y="225"/>
                    <a:pt x="731" y="225"/>
                  </a:cubicBezTo>
                  <a:cubicBezTo>
                    <a:pt x="731" y="289"/>
                    <a:pt x="731" y="289"/>
                    <a:pt x="731" y="289"/>
                  </a:cubicBezTo>
                  <a:cubicBezTo>
                    <a:pt x="739" y="289"/>
                    <a:pt x="739" y="289"/>
                    <a:pt x="739" y="289"/>
                  </a:cubicBezTo>
                  <a:cubicBezTo>
                    <a:pt x="739" y="235"/>
                    <a:pt x="739" y="235"/>
                    <a:pt x="739" y="235"/>
                  </a:cubicBezTo>
                  <a:cubicBezTo>
                    <a:pt x="761" y="289"/>
                    <a:pt x="761" y="289"/>
                    <a:pt x="761" y="289"/>
                  </a:cubicBezTo>
                  <a:cubicBezTo>
                    <a:pt x="764" y="289"/>
                    <a:pt x="764" y="289"/>
                    <a:pt x="764" y="289"/>
                  </a:cubicBezTo>
                  <a:cubicBezTo>
                    <a:pt x="786" y="235"/>
                    <a:pt x="786" y="235"/>
                    <a:pt x="786" y="235"/>
                  </a:cubicBezTo>
                  <a:cubicBezTo>
                    <a:pt x="786" y="289"/>
                    <a:pt x="786" y="289"/>
                    <a:pt x="786" y="289"/>
                  </a:cubicBezTo>
                  <a:cubicBezTo>
                    <a:pt x="794" y="289"/>
                    <a:pt x="794" y="289"/>
                    <a:pt x="794" y="289"/>
                  </a:cubicBezTo>
                  <a:cubicBezTo>
                    <a:pt x="794" y="225"/>
                    <a:pt x="794" y="225"/>
                    <a:pt x="794" y="225"/>
                  </a:cubicBezTo>
                  <a:cubicBezTo>
                    <a:pt x="782" y="225"/>
                    <a:pt x="782" y="225"/>
                    <a:pt x="782" y="225"/>
                  </a:cubicBezTo>
                  <a:lnTo>
                    <a:pt x="762" y="274"/>
                  </a:lnTo>
                  <a:close/>
                  <a:moveTo>
                    <a:pt x="806" y="289"/>
                  </a:moveTo>
                  <a:cubicBezTo>
                    <a:pt x="848" y="289"/>
                    <a:pt x="848" y="289"/>
                    <a:pt x="848" y="289"/>
                  </a:cubicBezTo>
                  <a:cubicBezTo>
                    <a:pt x="848" y="282"/>
                    <a:pt x="848" y="282"/>
                    <a:pt x="848" y="282"/>
                  </a:cubicBezTo>
                  <a:cubicBezTo>
                    <a:pt x="814" y="282"/>
                    <a:pt x="814" y="282"/>
                    <a:pt x="814" y="282"/>
                  </a:cubicBezTo>
                  <a:cubicBezTo>
                    <a:pt x="814" y="260"/>
                    <a:pt x="814" y="260"/>
                    <a:pt x="814" y="260"/>
                  </a:cubicBezTo>
                  <a:cubicBezTo>
                    <a:pt x="847" y="260"/>
                    <a:pt x="847" y="260"/>
                    <a:pt x="847" y="260"/>
                  </a:cubicBezTo>
                  <a:cubicBezTo>
                    <a:pt x="847" y="253"/>
                    <a:pt x="847" y="253"/>
                    <a:pt x="847" y="253"/>
                  </a:cubicBezTo>
                  <a:cubicBezTo>
                    <a:pt x="814" y="253"/>
                    <a:pt x="814" y="253"/>
                    <a:pt x="814" y="253"/>
                  </a:cubicBezTo>
                  <a:cubicBezTo>
                    <a:pt x="814" y="232"/>
                    <a:pt x="814" y="232"/>
                    <a:pt x="814" y="232"/>
                  </a:cubicBezTo>
                  <a:cubicBezTo>
                    <a:pt x="848" y="232"/>
                    <a:pt x="848" y="232"/>
                    <a:pt x="848" y="232"/>
                  </a:cubicBezTo>
                  <a:cubicBezTo>
                    <a:pt x="848" y="225"/>
                    <a:pt x="848" y="225"/>
                    <a:pt x="848" y="225"/>
                  </a:cubicBezTo>
                  <a:cubicBezTo>
                    <a:pt x="806" y="225"/>
                    <a:pt x="806" y="225"/>
                    <a:pt x="806" y="225"/>
                  </a:cubicBezTo>
                  <a:lnTo>
                    <a:pt x="806" y="289"/>
                  </a:lnTo>
                  <a:close/>
                  <a:moveTo>
                    <a:pt x="880" y="225"/>
                  </a:moveTo>
                  <a:cubicBezTo>
                    <a:pt x="858" y="225"/>
                    <a:pt x="858" y="225"/>
                    <a:pt x="858" y="225"/>
                  </a:cubicBezTo>
                  <a:cubicBezTo>
                    <a:pt x="858" y="289"/>
                    <a:pt x="858" y="289"/>
                    <a:pt x="858" y="289"/>
                  </a:cubicBezTo>
                  <a:cubicBezTo>
                    <a:pt x="880" y="289"/>
                    <a:pt x="880" y="289"/>
                    <a:pt x="880" y="289"/>
                  </a:cubicBezTo>
                  <a:cubicBezTo>
                    <a:pt x="900" y="289"/>
                    <a:pt x="913" y="275"/>
                    <a:pt x="913" y="257"/>
                  </a:cubicBezTo>
                  <a:cubicBezTo>
                    <a:pt x="913" y="239"/>
                    <a:pt x="900" y="225"/>
                    <a:pt x="880" y="225"/>
                  </a:cubicBezTo>
                  <a:close/>
                  <a:moveTo>
                    <a:pt x="880" y="282"/>
                  </a:moveTo>
                  <a:cubicBezTo>
                    <a:pt x="866" y="282"/>
                    <a:pt x="866" y="282"/>
                    <a:pt x="866" y="282"/>
                  </a:cubicBezTo>
                  <a:cubicBezTo>
                    <a:pt x="866" y="232"/>
                    <a:pt x="866" y="232"/>
                    <a:pt x="866" y="232"/>
                  </a:cubicBezTo>
                  <a:cubicBezTo>
                    <a:pt x="880" y="232"/>
                    <a:pt x="880" y="232"/>
                    <a:pt x="880" y="232"/>
                  </a:cubicBezTo>
                  <a:cubicBezTo>
                    <a:pt x="896" y="232"/>
                    <a:pt x="905" y="243"/>
                    <a:pt x="905" y="257"/>
                  </a:cubicBezTo>
                  <a:cubicBezTo>
                    <a:pt x="905" y="271"/>
                    <a:pt x="896" y="282"/>
                    <a:pt x="880" y="282"/>
                  </a:cubicBezTo>
                  <a:close/>
                  <a:moveTo>
                    <a:pt x="923" y="289"/>
                  </a:moveTo>
                  <a:cubicBezTo>
                    <a:pt x="931" y="289"/>
                    <a:pt x="931" y="289"/>
                    <a:pt x="931" y="289"/>
                  </a:cubicBezTo>
                  <a:cubicBezTo>
                    <a:pt x="931" y="225"/>
                    <a:pt x="931" y="225"/>
                    <a:pt x="931" y="225"/>
                  </a:cubicBezTo>
                  <a:cubicBezTo>
                    <a:pt x="923" y="225"/>
                    <a:pt x="923" y="225"/>
                    <a:pt x="923" y="225"/>
                  </a:cubicBezTo>
                  <a:lnTo>
                    <a:pt x="923" y="289"/>
                  </a:lnTo>
                  <a:close/>
                  <a:moveTo>
                    <a:pt x="974" y="283"/>
                  </a:moveTo>
                  <a:cubicBezTo>
                    <a:pt x="960" y="283"/>
                    <a:pt x="949" y="272"/>
                    <a:pt x="949" y="257"/>
                  </a:cubicBezTo>
                  <a:cubicBezTo>
                    <a:pt x="949" y="242"/>
                    <a:pt x="960" y="231"/>
                    <a:pt x="974" y="231"/>
                  </a:cubicBezTo>
                  <a:cubicBezTo>
                    <a:pt x="981" y="231"/>
                    <a:pt x="988" y="235"/>
                    <a:pt x="992" y="240"/>
                  </a:cubicBezTo>
                  <a:cubicBezTo>
                    <a:pt x="998" y="237"/>
                    <a:pt x="998" y="237"/>
                    <a:pt x="998" y="237"/>
                  </a:cubicBezTo>
                  <a:cubicBezTo>
                    <a:pt x="993" y="229"/>
                    <a:pt x="985" y="224"/>
                    <a:pt x="974" y="224"/>
                  </a:cubicBezTo>
                  <a:cubicBezTo>
                    <a:pt x="956" y="224"/>
                    <a:pt x="941" y="237"/>
                    <a:pt x="941" y="257"/>
                  </a:cubicBezTo>
                  <a:cubicBezTo>
                    <a:pt x="941" y="277"/>
                    <a:pt x="956" y="290"/>
                    <a:pt x="974" y="290"/>
                  </a:cubicBezTo>
                  <a:cubicBezTo>
                    <a:pt x="985" y="290"/>
                    <a:pt x="993" y="285"/>
                    <a:pt x="998" y="277"/>
                  </a:cubicBezTo>
                  <a:cubicBezTo>
                    <a:pt x="992" y="274"/>
                    <a:pt x="992" y="274"/>
                    <a:pt x="992" y="274"/>
                  </a:cubicBezTo>
                  <a:cubicBezTo>
                    <a:pt x="988" y="279"/>
                    <a:pt x="981" y="283"/>
                    <a:pt x="974" y="283"/>
                  </a:cubicBezTo>
                  <a:close/>
                  <a:moveTo>
                    <a:pt x="1025" y="225"/>
                  </a:moveTo>
                  <a:cubicBezTo>
                    <a:pt x="999" y="289"/>
                    <a:pt x="999" y="289"/>
                    <a:pt x="999" y="289"/>
                  </a:cubicBezTo>
                  <a:cubicBezTo>
                    <a:pt x="1008" y="289"/>
                    <a:pt x="1008" y="289"/>
                    <a:pt x="1008" y="289"/>
                  </a:cubicBezTo>
                  <a:cubicBezTo>
                    <a:pt x="1014" y="275"/>
                    <a:pt x="1014" y="275"/>
                    <a:pt x="1014" y="275"/>
                  </a:cubicBezTo>
                  <a:cubicBezTo>
                    <a:pt x="1046" y="275"/>
                    <a:pt x="1046" y="275"/>
                    <a:pt x="1046" y="275"/>
                  </a:cubicBezTo>
                  <a:cubicBezTo>
                    <a:pt x="1052" y="289"/>
                    <a:pt x="1052" y="289"/>
                    <a:pt x="1052" y="289"/>
                  </a:cubicBezTo>
                  <a:cubicBezTo>
                    <a:pt x="1061" y="289"/>
                    <a:pt x="1061" y="289"/>
                    <a:pt x="1061" y="289"/>
                  </a:cubicBezTo>
                  <a:cubicBezTo>
                    <a:pt x="1035" y="225"/>
                    <a:pt x="1035" y="225"/>
                    <a:pt x="1035" y="225"/>
                  </a:cubicBezTo>
                  <a:lnTo>
                    <a:pt x="1025" y="225"/>
                  </a:lnTo>
                  <a:close/>
                  <a:moveTo>
                    <a:pt x="1017" y="268"/>
                  </a:moveTo>
                  <a:cubicBezTo>
                    <a:pt x="1030" y="233"/>
                    <a:pt x="1030" y="233"/>
                    <a:pt x="1030" y="233"/>
                  </a:cubicBezTo>
                  <a:cubicBezTo>
                    <a:pt x="1044" y="268"/>
                    <a:pt x="1044" y="268"/>
                    <a:pt x="1044" y="268"/>
                  </a:cubicBezTo>
                  <a:lnTo>
                    <a:pt x="1017" y="268"/>
                  </a:lnTo>
                  <a:close/>
                  <a:moveTo>
                    <a:pt x="1074" y="225"/>
                  </a:moveTo>
                  <a:cubicBezTo>
                    <a:pt x="1066" y="225"/>
                    <a:pt x="1066" y="225"/>
                    <a:pt x="1066" y="225"/>
                  </a:cubicBezTo>
                  <a:cubicBezTo>
                    <a:pt x="1066" y="289"/>
                    <a:pt x="1066" y="289"/>
                    <a:pt x="1066" y="289"/>
                  </a:cubicBezTo>
                  <a:cubicBezTo>
                    <a:pt x="1103" y="289"/>
                    <a:pt x="1103" y="289"/>
                    <a:pt x="1103" y="289"/>
                  </a:cubicBezTo>
                  <a:cubicBezTo>
                    <a:pt x="1103" y="282"/>
                    <a:pt x="1103" y="282"/>
                    <a:pt x="1103" y="282"/>
                  </a:cubicBezTo>
                  <a:cubicBezTo>
                    <a:pt x="1074" y="282"/>
                    <a:pt x="1074" y="282"/>
                    <a:pt x="1074" y="282"/>
                  </a:cubicBezTo>
                  <a:lnTo>
                    <a:pt x="1074" y="225"/>
                  </a:lnTo>
                  <a:close/>
                  <a:moveTo>
                    <a:pt x="1157" y="283"/>
                  </a:moveTo>
                  <a:cubicBezTo>
                    <a:pt x="1143" y="283"/>
                    <a:pt x="1133" y="272"/>
                    <a:pt x="1133" y="257"/>
                  </a:cubicBezTo>
                  <a:cubicBezTo>
                    <a:pt x="1133" y="242"/>
                    <a:pt x="1143" y="231"/>
                    <a:pt x="1157" y="231"/>
                  </a:cubicBezTo>
                  <a:cubicBezTo>
                    <a:pt x="1165" y="231"/>
                    <a:pt x="1171" y="235"/>
                    <a:pt x="1175" y="240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76" y="229"/>
                    <a:pt x="1169" y="224"/>
                    <a:pt x="1157" y="224"/>
                  </a:cubicBezTo>
                  <a:cubicBezTo>
                    <a:pt x="1139" y="224"/>
                    <a:pt x="1124" y="237"/>
                    <a:pt x="1124" y="257"/>
                  </a:cubicBezTo>
                  <a:cubicBezTo>
                    <a:pt x="1124" y="277"/>
                    <a:pt x="1139" y="290"/>
                    <a:pt x="1157" y="290"/>
                  </a:cubicBezTo>
                  <a:cubicBezTo>
                    <a:pt x="1169" y="290"/>
                    <a:pt x="1176" y="285"/>
                    <a:pt x="1182" y="277"/>
                  </a:cubicBezTo>
                  <a:cubicBezTo>
                    <a:pt x="1175" y="274"/>
                    <a:pt x="1175" y="274"/>
                    <a:pt x="1175" y="274"/>
                  </a:cubicBezTo>
                  <a:cubicBezTo>
                    <a:pt x="1171" y="279"/>
                    <a:pt x="1165" y="283"/>
                    <a:pt x="1157" y="283"/>
                  </a:cubicBezTo>
                  <a:close/>
                  <a:moveTo>
                    <a:pt x="1189" y="289"/>
                  </a:moveTo>
                  <a:cubicBezTo>
                    <a:pt x="1231" y="289"/>
                    <a:pt x="1231" y="289"/>
                    <a:pt x="1231" y="289"/>
                  </a:cubicBezTo>
                  <a:cubicBezTo>
                    <a:pt x="1231" y="282"/>
                    <a:pt x="1231" y="282"/>
                    <a:pt x="1231" y="282"/>
                  </a:cubicBezTo>
                  <a:cubicBezTo>
                    <a:pt x="1197" y="282"/>
                    <a:pt x="1197" y="282"/>
                    <a:pt x="1197" y="282"/>
                  </a:cubicBezTo>
                  <a:cubicBezTo>
                    <a:pt x="1197" y="260"/>
                    <a:pt x="1197" y="260"/>
                    <a:pt x="1197" y="260"/>
                  </a:cubicBezTo>
                  <a:cubicBezTo>
                    <a:pt x="1231" y="260"/>
                    <a:pt x="1231" y="260"/>
                    <a:pt x="1231" y="260"/>
                  </a:cubicBezTo>
                  <a:cubicBezTo>
                    <a:pt x="1231" y="253"/>
                    <a:pt x="1231" y="253"/>
                    <a:pt x="1231" y="253"/>
                  </a:cubicBezTo>
                  <a:cubicBezTo>
                    <a:pt x="1197" y="253"/>
                    <a:pt x="1197" y="253"/>
                    <a:pt x="1197" y="253"/>
                  </a:cubicBezTo>
                  <a:cubicBezTo>
                    <a:pt x="1197" y="232"/>
                    <a:pt x="1197" y="232"/>
                    <a:pt x="1197" y="232"/>
                  </a:cubicBezTo>
                  <a:cubicBezTo>
                    <a:pt x="1231" y="232"/>
                    <a:pt x="1231" y="232"/>
                    <a:pt x="1231" y="232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189" y="225"/>
                    <a:pt x="1189" y="225"/>
                    <a:pt x="1189" y="225"/>
                  </a:cubicBezTo>
                  <a:lnTo>
                    <a:pt x="1189" y="289"/>
                  </a:lnTo>
                  <a:close/>
                  <a:moveTo>
                    <a:pt x="1287" y="275"/>
                  </a:moveTo>
                  <a:cubicBezTo>
                    <a:pt x="1250" y="225"/>
                    <a:pt x="1250" y="225"/>
                    <a:pt x="1250" y="225"/>
                  </a:cubicBezTo>
                  <a:cubicBezTo>
                    <a:pt x="1242" y="225"/>
                    <a:pt x="1242" y="225"/>
                    <a:pt x="1242" y="225"/>
                  </a:cubicBezTo>
                  <a:cubicBezTo>
                    <a:pt x="1242" y="289"/>
                    <a:pt x="1242" y="289"/>
                    <a:pt x="1242" y="289"/>
                  </a:cubicBezTo>
                  <a:cubicBezTo>
                    <a:pt x="1250" y="289"/>
                    <a:pt x="1250" y="289"/>
                    <a:pt x="1250" y="289"/>
                  </a:cubicBezTo>
                  <a:cubicBezTo>
                    <a:pt x="1250" y="238"/>
                    <a:pt x="1250" y="238"/>
                    <a:pt x="1250" y="238"/>
                  </a:cubicBezTo>
                  <a:cubicBezTo>
                    <a:pt x="1287" y="289"/>
                    <a:pt x="1287" y="289"/>
                    <a:pt x="1287" y="289"/>
                  </a:cubicBezTo>
                  <a:cubicBezTo>
                    <a:pt x="1295" y="289"/>
                    <a:pt x="1295" y="289"/>
                    <a:pt x="1295" y="289"/>
                  </a:cubicBezTo>
                  <a:cubicBezTo>
                    <a:pt x="1295" y="225"/>
                    <a:pt x="1295" y="225"/>
                    <a:pt x="1295" y="225"/>
                  </a:cubicBezTo>
                  <a:cubicBezTo>
                    <a:pt x="1287" y="225"/>
                    <a:pt x="1287" y="225"/>
                    <a:pt x="1287" y="225"/>
                  </a:cubicBezTo>
                  <a:lnTo>
                    <a:pt x="1287" y="275"/>
                  </a:lnTo>
                  <a:close/>
                  <a:moveTo>
                    <a:pt x="1303" y="232"/>
                  </a:moveTo>
                  <a:cubicBezTo>
                    <a:pt x="1323" y="232"/>
                    <a:pt x="1323" y="232"/>
                    <a:pt x="1323" y="232"/>
                  </a:cubicBezTo>
                  <a:cubicBezTo>
                    <a:pt x="1323" y="289"/>
                    <a:pt x="1323" y="289"/>
                    <a:pt x="1323" y="289"/>
                  </a:cubicBezTo>
                  <a:cubicBezTo>
                    <a:pt x="1331" y="289"/>
                    <a:pt x="1331" y="289"/>
                    <a:pt x="1331" y="289"/>
                  </a:cubicBezTo>
                  <a:cubicBezTo>
                    <a:pt x="1331" y="232"/>
                    <a:pt x="1331" y="232"/>
                    <a:pt x="1331" y="232"/>
                  </a:cubicBezTo>
                  <a:cubicBezTo>
                    <a:pt x="1351" y="232"/>
                    <a:pt x="1351" y="232"/>
                    <a:pt x="1351" y="232"/>
                  </a:cubicBezTo>
                  <a:cubicBezTo>
                    <a:pt x="1351" y="225"/>
                    <a:pt x="1351" y="225"/>
                    <a:pt x="1351" y="225"/>
                  </a:cubicBezTo>
                  <a:cubicBezTo>
                    <a:pt x="1303" y="225"/>
                    <a:pt x="1303" y="225"/>
                    <a:pt x="1303" y="225"/>
                  </a:cubicBezTo>
                  <a:lnTo>
                    <a:pt x="1303" y="232"/>
                  </a:lnTo>
                  <a:close/>
                  <a:moveTo>
                    <a:pt x="1360" y="289"/>
                  </a:moveTo>
                  <a:cubicBezTo>
                    <a:pt x="1401" y="289"/>
                    <a:pt x="1401" y="289"/>
                    <a:pt x="1401" y="289"/>
                  </a:cubicBezTo>
                  <a:cubicBezTo>
                    <a:pt x="1401" y="282"/>
                    <a:pt x="1401" y="282"/>
                    <a:pt x="1401" y="282"/>
                  </a:cubicBezTo>
                  <a:cubicBezTo>
                    <a:pt x="1367" y="282"/>
                    <a:pt x="1367" y="282"/>
                    <a:pt x="1367" y="282"/>
                  </a:cubicBezTo>
                  <a:cubicBezTo>
                    <a:pt x="1367" y="260"/>
                    <a:pt x="1367" y="260"/>
                    <a:pt x="1367" y="260"/>
                  </a:cubicBezTo>
                  <a:cubicBezTo>
                    <a:pt x="1401" y="260"/>
                    <a:pt x="1401" y="260"/>
                    <a:pt x="1401" y="260"/>
                  </a:cubicBezTo>
                  <a:cubicBezTo>
                    <a:pt x="1401" y="253"/>
                    <a:pt x="1401" y="253"/>
                    <a:pt x="1401" y="253"/>
                  </a:cubicBezTo>
                  <a:cubicBezTo>
                    <a:pt x="1367" y="253"/>
                    <a:pt x="1367" y="253"/>
                    <a:pt x="1367" y="253"/>
                  </a:cubicBezTo>
                  <a:cubicBezTo>
                    <a:pt x="1367" y="232"/>
                    <a:pt x="1367" y="232"/>
                    <a:pt x="1367" y="232"/>
                  </a:cubicBezTo>
                  <a:cubicBezTo>
                    <a:pt x="1401" y="232"/>
                    <a:pt x="1401" y="232"/>
                    <a:pt x="1401" y="232"/>
                  </a:cubicBezTo>
                  <a:cubicBezTo>
                    <a:pt x="1401" y="225"/>
                    <a:pt x="1401" y="225"/>
                    <a:pt x="1401" y="225"/>
                  </a:cubicBezTo>
                  <a:cubicBezTo>
                    <a:pt x="1360" y="225"/>
                    <a:pt x="1360" y="225"/>
                    <a:pt x="1360" y="225"/>
                  </a:cubicBezTo>
                  <a:lnTo>
                    <a:pt x="1360" y="289"/>
                  </a:lnTo>
                  <a:close/>
                  <a:moveTo>
                    <a:pt x="1458" y="244"/>
                  </a:moveTo>
                  <a:cubicBezTo>
                    <a:pt x="1458" y="233"/>
                    <a:pt x="1449" y="225"/>
                    <a:pt x="1437" y="225"/>
                  </a:cubicBezTo>
                  <a:cubicBezTo>
                    <a:pt x="1412" y="225"/>
                    <a:pt x="1412" y="225"/>
                    <a:pt x="1412" y="225"/>
                  </a:cubicBezTo>
                  <a:cubicBezTo>
                    <a:pt x="1412" y="289"/>
                    <a:pt x="1412" y="289"/>
                    <a:pt x="1412" y="289"/>
                  </a:cubicBezTo>
                  <a:cubicBezTo>
                    <a:pt x="1420" y="289"/>
                    <a:pt x="1420" y="289"/>
                    <a:pt x="1420" y="289"/>
                  </a:cubicBezTo>
                  <a:cubicBezTo>
                    <a:pt x="1420" y="264"/>
                    <a:pt x="1420" y="264"/>
                    <a:pt x="1420" y="264"/>
                  </a:cubicBezTo>
                  <a:cubicBezTo>
                    <a:pt x="1433" y="264"/>
                    <a:pt x="1433" y="264"/>
                    <a:pt x="1433" y="264"/>
                  </a:cubicBezTo>
                  <a:cubicBezTo>
                    <a:pt x="1449" y="289"/>
                    <a:pt x="1449" y="289"/>
                    <a:pt x="1449" y="289"/>
                  </a:cubicBezTo>
                  <a:cubicBezTo>
                    <a:pt x="1458" y="289"/>
                    <a:pt x="1458" y="289"/>
                    <a:pt x="1458" y="289"/>
                  </a:cubicBezTo>
                  <a:cubicBezTo>
                    <a:pt x="1441" y="263"/>
                    <a:pt x="1441" y="263"/>
                    <a:pt x="1441" y="263"/>
                  </a:cubicBezTo>
                  <a:cubicBezTo>
                    <a:pt x="1450" y="262"/>
                    <a:pt x="1458" y="256"/>
                    <a:pt x="1458" y="244"/>
                  </a:cubicBezTo>
                  <a:close/>
                  <a:moveTo>
                    <a:pt x="1420" y="257"/>
                  </a:moveTo>
                  <a:cubicBezTo>
                    <a:pt x="1420" y="232"/>
                    <a:pt x="1420" y="232"/>
                    <a:pt x="1420" y="232"/>
                  </a:cubicBezTo>
                  <a:cubicBezTo>
                    <a:pt x="1437" y="232"/>
                    <a:pt x="1437" y="232"/>
                    <a:pt x="1437" y="232"/>
                  </a:cubicBezTo>
                  <a:cubicBezTo>
                    <a:pt x="1444" y="232"/>
                    <a:pt x="1449" y="237"/>
                    <a:pt x="1449" y="244"/>
                  </a:cubicBezTo>
                  <a:cubicBezTo>
                    <a:pt x="1449" y="252"/>
                    <a:pt x="1444" y="257"/>
                    <a:pt x="1437" y="257"/>
                  </a:cubicBezTo>
                  <a:lnTo>
                    <a:pt x="1420" y="257"/>
                  </a:lnTo>
                  <a:close/>
                  <a:moveTo>
                    <a:pt x="59" y="0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58" y="312"/>
                    <a:pt x="58" y="312"/>
                    <a:pt x="58" y="312"/>
                  </a:cubicBezTo>
                  <a:cubicBezTo>
                    <a:pt x="180" y="312"/>
                    <a:pt x="180" y="312"/>
                    <a:pt x="180" y="312"/>
                  </a:cubicBezTo>
                  <a:cubicBezTo>
                    <a:pt x="239" y="253"/>
                    <a:pt x="239" y="253"/>
                    <a:pt x="239" y="25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180" y="0"/>
                    <a:pt x="180" y="0"/>
                    <a:pt x="180" y="0"/>
                  </a:cubicBezTo>
                  <a:lnTo>
                    <a:pt x="59" y="0"/>
                  </a:lnTo>
                  <a:close/>
                  <a:moveTo>
                    <a:pt x="233" y="251"/>
                  </a:moveTo>
                  <a:cubicBezTo>
                    <a:pt x="178" y="307"/>
                    <a:pt x="178" y="307"/>
                    <a:pt x="178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5" y="251"/>
                    <a:pt x="5" y="251"/>
                    <a:pt x="5" y="25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233" y="60"/>
                    <a:pt x="233" y="60"/>
                    <a:pt x="233" y="60"/>
                  </a:cubicBezTo>
                  <a:lnTo>
                    <a:pt x="233" y="251"/>
                  </a:lnTo>
                  <a:close/>
                  <a:moveTo>
                    <a:pt x="89" y="75"/>
                  </a:moveTo>
                  <a:cubicBezTo>
                    <a:pt x="73" y="91"/>
                    <a:pt x="73" y="91"/>
                    <a:pt x="73" y="91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89" y="238"/>
                    <a:pt x="89" y="238"/>
                    <a:pt x="89" y="238"/>
                  </a:cubicBezTo>
                  <a:cubicBezTo>
                    <a:pt x="150" y="238"/>
                    <a:pt x="150" y="238"/>
                    <a:pt x="150" y="238"/>
                  </a:cubicBezTo>
                  <a:cubicBezTo>
                    <a:pt x="165" y="222"/>
                    <a:pt x="165" y="222"/>
                    <a:pt x="165" y="222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49" y="75"/>
                    <a:pt x="149" y="75"/>
                    <a:pt x="149" y="75"/>
                  </a:cubicBezTo>
                  <a:lnTo>
                    <a:pt x="89" y="75"/>
                  </a:lnTo>
                  <a:close/>
                  <a:moveTo>
                    <a:pt x="160" y="220"/>
                  </a:moveTo>
                  <a:cubicBezTo>
                    <a:pt x="147" y="233"/>
                    <a:pt x="147" y="233"/>
                    <a:pt x="147" y="233"/>
                  </a:cubicBezTo>
                  <a:cubicBezTo>
                    <a:pt x="91" y="233"/>
                    <a:pt x="91" y="233"/>
                    <a:pt x="91" y="233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9" y="93"/>
                    <a:pt x="79" y="93"/>
                    <a:pt x="79" y="93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60" y="93"/>
                    <a:pt x="160" y="93"/>
                    <a:pt x="160" y="93"/>
                  </a:cubicBezTo>
                  <a:lnTo>
                    <a:pt x="160" y="220"/>
                  </a:lnTo>
                  <a:close/>
                  <a:moveTo>
                    <a:pt x="318" y="169"/>
                  </a:moveTo>
                  <a:cubicBezTo>
                    <a:pt x="318" y="174"/>
                    <a:pt x="318" y="174"/>
                    <a:pt x="318" y="174"/>
                  </a:cubicBezTo>
                  <a:cubicBezTo>
                    <a:pt x="2178" y="174"/>
                    <a:pt x="2178" y="174"/>
                    <a:pt x="2178" y="174"/>
                  </a:cubicBezTo>
                  <a:cubicBezTo>
                    <a:pt x="2178" y="169"/>
                    <a:pt x="2178" y="169"/>
                    <a:pt x="2178" y="169"/>
                  </a:cubicBezTo>
                  <a:lnTo>
                    <a:pt x="318" y="169"/>
                  </a:lnTo>
                  <a:close/>
                  <a:moveTo>
                    <a:pt x="1628" y="109"/>
                  </a:moveTo>
                  <a:cubicBezTo>
                    <a:pt x="1616" y="107"/>
                    <a:pt x="1616" y="107"/>
                    <a:pt x="1616" y="107"/>
                  </a:cubicBezTo>
                  <a:cubicBezTo>
                    <a:pt x="1616" y="48"/>
                    <a:pt x="1616" y="48"/>
                    <a:pt x="1616" y="48"/>
                  </a:cubicBezTo>
                  <a:cubicBezTo>
                    <a:pt x="1628" y="46"/>
                    <a:pt x="1628" y="46"/>
                    <a:pt x="1628" y="46"/>
                  </a:cubicBezTo>
                  <a:cubicBezTo>
                    <a:pt x="1628" y="39"/>
                    <a:pt x="1628" y="39"/>
                    <a:pt x="1628" y="39"/>
                  </a:cubicBezTo>
                  <a:cubicBezTo>
                    <a:pt x="1587" y="39"/>
                    <a:pt x="1587" y="39"/>
                    <a:pt x="1587" y="39"/>
                  </a:cubicBezTo>
                  <a:cubicBezTo>
                    <a:pt x="1587" y="46"/>
                    <a:pt x="1587" y="46"/>
                    <a:pt x="1587" y="46"/>
                  </a:cubicBezTo>
                  <a:cubicBezTo>
                    <a:pt x="1599" y="48"/>
                    <a:pt x="1599" y="48"/>
                    <a:pt x="1599" y="48"/>
                  </a:cubicBezTo>
                  <a:cubicBezTo>
                    <a:pt x="1599" y="107"/>
                    <a:pt x="1599" y="107"/>
                    <a:pt x="1599" y="107"/>
                  </a:cubicBezTo>
                  <a:cubicBezTo>
                    <a:pt x="1587" y="109"/>
                    <a:pt x="1587" y="109"/>
                    <a:pt x="1587" y="109"/>
                  </a:cubicBezTo>
                  <a:cubicBezTo>
                    <a:pt x="1587" y="116"/>
                    <a:pt x="1587" y="116"/>
                    <a:pt x="1587" y="116"/>
                  </a:cubicBezTo>
                  <a:cubicBezTo>
                    <a:pt x="1628" y="116"/>
                    <a:pt x="1628" y="116"/>
                    <a:pt x="1628" y="116"/>
                  </a:cubicBezTo>
                  <a:lnTo>
                    <a:pt x="1628" y="109"/>
                  </a:lnTo>
                  <a:close/>
                  <a:moveTo>
                    <a:pt x="1526" y="109"/>
                  </a:moveTo>
                  <a:cubicBezTo>
                    <a:pt x="1515" y="107"/>
                    <a:pt x="1515" y="107"/>
                    <a:pt x="1515" y="107"/>
                  </a:cubicBezTo>
                  <a:cubicBezTo>
                    <a:pt x="1515" y="61"/>
                    <a:pt x="1515" y="61"/>
                    <a:pt x="1515" y="61"/>
                  </a:cubicBezTo>
                  <a:cubicBezTo>
                    <a:pt x="1553" y="116"/>
                    <a:pt x="1553" y="116"/>
                    <a:pt x="1553" y="116"/>
                  </a:cubicBezTo>
                  <a:cubicBezTo>
                    <a:pt x="1567" y="116"/>
                    <a:pt x="1567" y="116"/>
                    <a:pt x="1567" y="116"/>
                  </a:cubicBezTo>
                  <a:cubicBezTo>
                    <a:pt x="1567" y="48"/>
                    <a:pt x="1567" y="48"/>
                    <a:pt x="1567" y="48"/>
                  </a:cubicBezTo>
                  <a:cubicBezTo>
                    <a:pt x="1578" y="46"/>
                    <a:pt x="1578" y="46"/>
                    <a:pt x="1578" y="46"/>
                  </a:cubicBezTo>
                  <a:cubicBezTo>
                    <a:pt x="1578" y="39"/>
                    <a:pt x="1578" y="39"/>
                    <a:pt x="1578" y="39"/>
                  </a:cubicBezTo>
                  <a:cubicBezTo>
                    <a:pt x="1544" y="39"/>
                    <a:pt x="1544" y="39"/>
                    <a:pt x="1544" y="39"/>
                  </a:cubicBezTo>
                  <a:cubicBezTo>
                    <a:pt x="1544" y="46"/>
                    <a:pt x="1544" y="46"/>
                    <a:pt x="1544" y="46"/>
                  </a:cubicBezTo>
                  <a:cubicBezTo>
                    <a:pt x="1556" y="48"/>
                    <a:pt x="1556" y="48"/>
                    <a:pt x="1556" y="48"/>
                  </a:cubicBezTo>
                  <a:cubicBezTo>
                    <a:pt x="1556" y="91"/>
                    <a:pt x="1556" y="91"/>
                    <a:pt x="1556" y="91"/>
                  </a:cubicBezTo>
                  <a:cubicBezTo>
                    <a:pt x="1518" y="39"/>
                    <a:pt x="1518" y="39"/>
                    <a:pt x="1518" y="39"/>
                  </a:cubicBezTo>
                  <a:cubicBezTo>
                    <a:pt x="1492" y="39"/>
                    <a:pt x="1492" y="39"/>
                    <a:pt x="1492" y="39"/>
                  </a:cubicBezTo>
                  <a:cubicBezTo>
                    <a:pt x="1492" y="46"/>
                    <a:pt x="1492" y="46"/>
                    <a:pt x="1492" y="46"/>
                  </a:cubicBezTo>
                  <a:cubicBezTo>
                    <a:pt x="1503" y="48"/>
                    <a:pt x="1503" y="48"/>
                    <a:pt x="1503" y="48"/>
                  </a:cubicBezTo>
                  <a:cubicBezTo>
                    <a:pt x="1503" y="107"/>
                    <a:pt x="1503" y="107"/>
                    <a:pt x="1503" y="107"/>
                  </a:cubicBezTo>
                  <a:cubicBezTo>
                    <a:pt x="1492" y="109"/>
                    <a:pt x="1492" y="109"/>
                    <a:pt x="1492" y="109"/>
                  </a:cubicBezTo>
                  <a:cubicBezTo>
                    <a:pt x="1492" y="116"/>
                    <a:pt x="1492" y="116"/>
                    <a:pt x="1492" y="116"/>
                  </a:cubicBezTo>
                  <a:cubicBezTo>
                    <a:pt x="1526" y="116"/>
                    <a:pt x="1526" y="116"/>
                    <a:pt x="1526" y="116"/>
                  </a:cubicBezTo>
                  <a:lnTo>
                    <a:pt x="1526" y="109"/>
                  </a:lnTo>
                  <a:close/>
                  <a:moveTo>
                    <a:pt x="1400" y="76"/>
                  </a:moveTo>
                  <a:cubicBezTo>
                    <a:pt x="1400" y="86"/>
                    <a:pt x="1399" y="99"/>
                    <a:pt x="1407" y="107"/>
                  </a:cubicBezTo>
                  <a:cubicBezTo>
                    <a:pt x="1414" y="114"/>
                    <a:pt x="1424" y="117"/>
                    <a:pt x="1438" y="117"/>
                  </a:cubicBezTo>
                  <a:cubicBezTo>
                    <a:pt x="1451" y="117"/>
                    <a:pt x="1461" y="115"/>
                    <a:pt x="1466" y="109"/>
                  </a:cubicBezTo>
                  <a:cubicBezTo>
                    <a:pt x="1474" y="101"/>
                    <a:pt x="1475" y="94"/>
                    <a:pt x="1475" y="77"/>
                  </a:cubicBezTo>
                  <a:cubicBezTo>
                    <a:pt x="1475" y="27"/>
                    <a:pt x="1475" y="27"/>
                    <a:pt x="1475" y="27"/>
                  </a:cubicBezTo>
                  <a:cubicBezTo>
                    <a:pt x="1487" y="26"/>
                    <a:pt x="1487" y="26"/>
                    <a:pt x="1487" y="26"/>
                  </a:cubicBezTo>
                  <a:cubicBezTo>
                    <a:pt x="1487" y="18"/>
                    <a:pt x="1487" y="18"/>
                    <a:pt x="1487" y="18"/>
                  </a:cubicBezTo>
                  <a:cubicBezTo>
                    <a:pt x="1452" y="18"/>
                    <a:pt x="1452" y="18"/>
                    <a:pt x="1452" y="18"/>
                  </a:cubicBezTo>
                  <a:cubicBezTo>
                    <a:pt x="1452" y="26"/>
                    <a:pt x="1452" y="26"/>
                    <a:pt x="1452" y="26"/>
                  </a:cubicBezTo>
                  <a:cubicBezTo>
                    <a:pt x="1463" y="27"/>
                    <a:pt x="1463" y="27"/>
                    <a:pt x="1463" y="27"/>
                  </a:cubicBezTo>
                  <a:cubicBezTo>
                    <a:pt x="1463" y="84"/>
                    <a:pt x="1463" y="84"/>
                    <a:pt x="1463" y="84"/>
                  </a:cubicBezTo>
                  <a:cubicBezTo>
                    <a:pt x="1463" y="92"/>
                    <a:pt x="1461" y="97"/>
                    <a:pt x="1458" y="101"/>
                  </a:cubicBezTo>
                  <a:cubicBezTo>
                    <a:pt x="1454" y="105"/>
                    <a:pt x="1448" y="107"/>
                    <a:pt x="1441" y="107"/>
                  </a:cubicBezTo>
                  <a:cubicBezTo>
                    <a:pt x="1427" y="107"/>
                    <a:pt x="1418" y="100"/>
                    <a:pt x="1418" y="84"/>
                  </a:cubicBezTo>
                  <a:cubicBezTo>
                    <a:pt x="1418" y="27"/>
                    <a:pt x="1418" y="27"/>
                    <a:pt x="1418" y="27"/>
                  </a:cubicBezTo>
                  <a:cubicBezTo>
                    <a:pt x="1430" y="26"/>
                    <a:pt x="1430" y="26"/>
                    <a:pt x="1430" y="26"/>
                  </a:cubicBezTo>
                  <a:cubicBezTo>
                    <a:pt x="1430" y="18"/>
                    <a:pt x="1430" y="18"/>
                    <a:pt x="1430" y="18"/>
                  </a:cubicBezTo>
                  <a:cubicBezTo>
                    <a:pt x="1388" y="18"/>
                    <a:pt x="1388" y="18"/>
                    <a:pt x="1388" y="18"/>
                  </a:cubicBezTo>
                  <a:cubicBezTo>
                    <a:pt x="1388" y="26"/>
                    <a:pt x="1388" y="26"/>
                    <a:pt x="1388" y="26"/>
                  </a:cubicBezTo>
                  <a:cubicBezTo>
                    <a:pt x="1400" y="27"/>
                    <a:pt x="1400" y="27"/>
                    <a:pt x="1400" y="27"/>
                  </a:cubicBezTo>
                  <a:lnTo>
                    <a:pt x="1400" y="76"/>
                  </a:lnTo>
                  <a:close/>
                  <a:moveTo>
                    <a:pt x="1671" y="116"/>
                  </a:moveTo>
                  <a:cubicBezTo>
                    <a:pt x="1687" y="116"/>
                    <a:pt x="1687" y="116"/>
                    <a:pt x="1687" y="116"/>
                  </a:cubicBezTo>
                  <a:cubicBezTo>
                    <a:pt x="1713" y="48"/>
                    <a:pt x="1713" y="48"/>
                    <a:pt x="1713" y="48"/>
                  </a:cubicBezTo>
                  <a:cubicBezTo>
                    <a:pt x="1724" y="46"/>
                    <a:pt x="1724" y="46"/>
                    <a:pt x="1724" y="46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690" y="39"/>
                    <a:pt x="1690" y="39"/>
                    <a:pt x="1690" y="39"/>
                  </a:cubicBezTo>
                  <a:cubicBezTo>
                    <a:pt x="1690" y="46"/>
                    <a:pt x="1690" y="46"/>
                    <a:pt x="1690" y="46"/>
                  </a:cubicBezTo>
                  <a:cubicBezTo>
                    <a:pt x="1701" y="48"/>
                    <a:pt x="1701" y="48"/>
                    <a:pt x="1701" y="48"/>
                  </a:cubicBezTo>
                  <a:cubicBezTo>
                    <a:pt x="1682" y="100"/>
                    <a:pt x="1682" y="100"/>
                    <a:pt x="1682" y="100"/>
                  </a:cubicBezTo>
                  <a:cubicBezTo>
                    <a:pt x="1663" y="48"/>
                    <a:pt x="1663" y="48"/>
                    <a:pt x="1663" y="48"/>
                  </a:cubicBezTo>
                  <a:cubicBezTo>
                    <a:pt x="1674" y="46"/>
                    <a:pt x="1674" y="46"/>
                    <a:pt x="1674" y="46"/>
                  </a:cubicBezTo>
                  <a:cubicBezTo>
                    <a:pt x="1674" y="39"/>
                    <a:pt x="1674" y="39"/>
                    <a:pt x="1674" y="39"/>
                  </a:cubicBezTo>
                  <a:cubicBezTo>
                    <a:pt x="1634" y="39"/>
                    <a:pt x="1634" y="39"/>
                    <a:pt x="1634" y="39"/>
                  </a:cubicBezTo>
                  <a:cubicBezTo>
                    <a:pt x="1634" y="46"/>
                    <a:pt x="1634" y="46"/>
                    <a:pt x="1634" y="46"/>
                  </a:cubicBezTo>
                  <a:cubicBezTo>
                    <a:pt x="1645" y="48"/>
                    <a:pt x="1645" y="48"/>
                    <a:pt x="1645" y="48"/>
                  </a:cubicBezTo>
                  <a:lnTo>
                    <a:pt x="1671" y="116"/>
                  </a:lnTo>
                  <a:close/>
                  <a:moveTo>
                    <a:pt x="2003" y="109"/>
                  </a:moveTo>
                  <a:cubicBezTo>
                    <a:pt x="1992" y="107"/>
                    <a:pt x="1992" y="107"/>
                    <a:pt x="1992" y="107"/>
                  </a:cubicBezTo>
                  <a:cubicBezTo>
                    <a:pt x="1992" y="48"/>
                    <a:pt x="1992" y="48"/>
                    <a:pt x="1992" y="48"/>
                  </a:cubicBezTo>
                  <a:cubicBezTo>
                    <a:pt x="2003" y="46"/>
                    <a:pt x="2003" y="46"/>
                    <a:pt x="2003" y="46"/>
                  </a:cubicBezTo>
                  <a:cubicBezTo>
                    <a:pt x="2003" y="39"/>
                    <a:pt x="2003" y="39"/>
                    <a:pt x="2003" y="39"/>
                  </a:cubicBezTo>
                  <a:cubicBezTo>
                    <a:pt x="1963" y="39"/>
                    <a:pt x="1963" y="39"/>
                    <a:pt x="1963" y="39"/>
                  </a:cubicBezTo>
                  <a:cubicBezTo>
                    <a:pt x="1963" y="46"/>
                    <a:pt x="1963" y="46"/>
                    <a:pt x="1963" y="46"/>
                  </a:cubicBezTo>
                  <a:cubicBezTo>
                    <a:pt x="1974" y="48"/>
                    <a:pt x="1974" y="48"/>
                    <a:pt x="1974" y="48"/>
                  </a:cubicBezTo>
                  <a:cubicBezTo>
                    <a:pt x="1974" y="107"/>
                    <a:pt x="1974" y="107"/>
                    <a:pt x="1974" y="107"/>
                  </a:cubicBezTo>
                  <a:cubicBezTo>
                    <a:pt x="1963" y="109"/>
                    <a:pt x="1963" y="109"/>
                    <a:pt x="1963" y="109"/>
                  </a:cubicBezTo>
                  <a:cubicBezTo>
                    <a:pt x="1963" y="116"/>
                    <a:pt x="1963" y="116"/>
                    <a:pt x="1963" y="116"/>
                  </a:cubicBezTo>
                  <a:cubicBezTo>
                    <a:pt x="2003" y="116"/>
                    <a:pt x="2003" y="116"/>
                    <a:pt x="2003" y="116"/>
                  </a:cubicBezTo>
                  <a:lnTo>
                    <a:pt x="2003" y="109"/>
                  </a:lnTo>
                  <a:close/>
                  <a:moveTo>
                    <a:pt x="2021" y="49"/>
                  </a:moveTo>
                  <a:cubicBezTo>
                    <a:pt x="2037" y="49"/>
                    <a:pt x="2037" y="49"/>
                    <a:pt x="2037" y="49"/>
                  </a:cubicBezTo>
                  <a:cubicBezTo>
                    <a:pt x="2037" y="107"/>
                    <a:pt x="2037" y="107"/>
                    <a:pt x="2037" y="107"/>
                  </a:cubicBezTo>
                  <a:cubicBezTo>
                    <a:pt x="2026" y="109"/>
                    <a:pt x="2026" y="109"/>
                    <a:pt x="2026" y="109"/>
                  </a:cubicBezTo>
                  <a:cubicBezTo>
                    <a:pt x="2026" y="116"/>
                    <a:pt x="2026" y="116"/>
                    <a:pt x="2026" y="116"/>
                  </a:cubicBezTo>
                  <a:cubicBezTo>
                    <a:pt x="2066" y="116"/>
                    <a:pt x="2066" y="116"/>
                    <a:pt x="2066" y="116"/>
                  </a:cubicBezTo>
                  <a:cubicBezTo>
                    <a:pt x="2066" y="109"/>
                    <a:pt x="2066" y="109"/>
                    <a:pt x="2066" y="109"/>
                  </a:cubicBezTo>
                  <a:cubicBezTo>
                    <a:pt x="2055" y="107"/>
                    <a:pt x="2055" y="107"/>
                    <a:pt x="2055" y="107"/>
                  </a:cubicBezTo>
                  <a:cubicBezTo>
                    <a:pt x="2055" y="49"/>
                    <a:pt x="2055" y="49"/>
                    <a:pt x="2055" y="49"/>
                  </a:cubicBezTo>
                  <a:cubicBezTo>
                    <a:pt x="2072" y="49"/>
                    <a:pt x="2072" y="49"/>
                    <a:pt x="2072" y="49"/>
                  </a:cubicBezTo>
                  <a:cubicBezTo>
                    <a:pt x="2074" y="60"/>
                    <a:pt x="2074" y="60"/>
                    <a:pt x="2074" y="60"/>
                  </a:cubicBezTo>
                  <a:cubicBezTo>
                    <a:pt x="2081" y="60"/>
                    <a:pt x="2081" y="60"/>
                    <a:pt x="2081" y="60"/>
                  </a:cubicBezTo>
                  <a:cubicBezTo>
                    <a:pt x="2081" y="39"/>
                    <a:pt x="2081" y="39"/>
                    <a:pt x="2081" y="39"/>
                  </a:cubicBezTo>
                  <a:cubicBezTo>
                    <a:pt x="2011" y="39"/>
                    <a:pt x="2011" y="39"/>
                    <a:pt x="2011" y="39"/>
                  </a:cubicBezTo>
                  <a:cubicBezTo>
                    <a:pt x="2011" y="60"/>
                    <a:pt x="2011" y="60"/>
                    <a:pt x="2011" y="60"/>
                  </a:cubicBezTo>
                  <a:cubicBezTo>
                    <a:pt x="2019" y="60"/>
                    <a:pt x="2019" y="60"/>
                    <a:pt x="2019" y="60"/>
                  </a:cubicBezTo>
                  <a:lnTo>
                    <a:pt x="2021" y="49"/>
                  </a:lnTo>
                  <a:close/>
                  <a:moveTo>
                    <a:pt x="2122" y="82"/>
                  </a:moveTo>
                  <a:cubicBezTo>
                    <a:pt x="2122" y="107"/>
                    <a:pt x="2122" y="107"/>
                    <a:pt x="2122" y="107"/>
                  </a:cubicBezTo>
                  <a:cubicBezTo>
                    <a:pt x="2110" y="109"/>
                    <a:pt x="2110" y="109"/>
                    <a:pt x="2110" y="109"/>
                  </a:cubicBezTo>
                  <a:cubicBezTo>
                    <a:pt x="2110" y="116"/>
                    <a:pt x="2110" y="116"/>
                    <a:pt x="2110" y="116"/>
                  </a:cubicBezTo>
                  <a:cubicBezTo>
                    <a:pt x="2150" y="116"/>
                    <a:pt x="2150" y="116"/>
                    <a:pt x="2150" y="116"/>
                  </a:cubicBezTo>
                  <a:cubicBezTo>
                    <a:pt x="2150" y="109"/>
                    <a:pt x="2150" y="109"/>
                    <a:pt x="2150" y="109"/>
                  </a:cubicBezTo>
                  <a:cubicBezTo>
                    <a:pt x="2139" y="107"/>
                    <a:pt x="2139" y="107"/>
                    <a:pt x="2139" y="107"/>
                  </a:cubicBezTo>
                  <a:cubicBezTo>
                    <a:pt x="2139" y="82"/>
                    <a:pt x="2139" y="82"/>
                    <a:pt x="2139" y="82"/>
                  </a:cubicBezTo>
                  <a:cubicBezTo>
                    <a:pt x="2161" y="48"/>
                    <a:pt x="2161" y="48"/>
                    <a:pt x="2161" y="48"/>
                  </a:cubicBezTo>
                  <a:cubicBezTo>
                    <a:pt x="2172" y="46"/>
                    <a:pt x="2172" y="46"/>
                    <a:pt x="2172" y="46"/>
                  </a:cubicBezTo>
                  <a:cubicBezTo>
                    <a:pt x="2172" y="39"/>
                    <a:pt x="2172" y="39"/>
                    <a:pt x="2172" y="39"/>
                  </a:cubicBezTo>
                  <a:cubicBezTo>
                    <a:pt x="2138" y="39"/>
                    <a:pt x="2138" y="39"/>
                    <a:pt x="2138" y="39"/>
                  </a:cubicBezTo>
                  <a:cubicBezTo>
                    <a:pt x="2138" y="46"/>
                    <a:pt x="2138" y="46"/>
                    <a:pt x="2138" y="46"/>
                  </a:cubicBezTo>
                  <a:cubicBezTo>
                    <a:pt x="2149" y="48"/>
                    <a:pt x="2149" y="48"/>
                    <a:pt x="2149" y="48"/>
                  </a:cubicBezTo>
                  <a:cubicBezTo>
                    <a:pt x="2133" y="73"/>
                    <a:pt x="2133" y="73"/>
                    <a:pt x="2133" y="73"/>
                  </a:cubicBezTo>
                  <a:cubicBezTo>
                    <a:pt x="2118" y="48"/>
                    <a:pt x="2118" y="48"/>
                    <a:pt x="2118" y="48"/>
                  </a:cubicBezTo>
                  <a:cubicBezTo>
                    <a:pt x="2129" y="46"/>
                    <a:pt x="2129" y="46"/>
                    <a:pt x="2129" y="46"/>
                  </a:cubicBezTo>
                  <a:cubicBezTo>
                    <a:pt x="2129" y="39"/>
                    <a:pt x="2129" y="39"/>
                    <a:pt x="2129" y="39"/>
                  </a:cubicBezTo>
                  <a:cubicBezTo>
                    <a:pt x="2088" y="39"/>
                    <a:pt x="2088" y="39"/>
                    <a:pt x="2088" y="39"/>
                  </a:cubicBezTo>
                  <a:cubicBezTo>
                    <a:pt x="2088" y="46"/>
                    <a:pt x="2088" y="46"/>
                    <a:pt x="2088" y="46"/>
                  </a:cubicBezTo>
                  <a:cubicBezTo>
                    <a:pt x="2099" y="48"/>
                    <a:pt x="2099" y="48"/>
                    <a:pt x="2099" y="48"/>
                  </a:cubicBezTo>
                  <a:lnTo>
                    <a:pt x="2122" y="82"/>
                  </a:lnTo>
                  <a:close/>
                  <a:moveTo>
                    <a:pt x="1953" y="94"/>
                  </a:moveTo>
                  <a:cubicBezTo>
                    <a:pt x="1953" y="63"/>
                    <a:pt x="1913" y="75"/>
                    <a:pt x="1913" y="58"/>
                  </a:cubicBezTo>
                  <a:cubicBezTo>
                    <a:pt x="1913" y="50"/>
                    <a:pt x="1919" y="48"/>
                    <a:pt x="1926" y="48"/>
                  </a:cubicBezTo>
                  <a:cubicBezTo>
                    <a:pt x="1933" y="48"/>
                    <a:pt x="1939" y="49"/>
                    <a:pt x="1939" y="49"/>
                  </a:cubicBezTo>
                  <a:cubicBezTo>
                    <a:pt x="1941" y="61"/>
                    <a:pt x="1941" y="61"/>
                    <a:pt x="1941" y="61"/>
                  </a:cubicBezTo>
                  <a:cubicBezTo>
                    <a:pt x="1949" y="61"/>
                    <a:pt x="1949" y="61"/>
                    <a:pt x="1949" y="61"/>
                  </a:cubicBezTo>
                  <a:cubicBezTo>
                    <a:pt x="1949" y="42"/>
                    <a:pt x="1949" y="42"/>
                    <a:pt x="1949" y="42"/>
                  </a:cubicBezTo>
                  <a:cubicBezTo>
                    <a:pt x="1941" y="40"/>
                    <a:pt x="1933" y="38"/>
                    <a:pt x="1924" y="38"/>
                  </a:cubicBezTo>
                  <a:cubicBezTo>
                    <a:pt x="1905" y="38"/>
                    <a:pt x="1896" y="46"/>
                    <a:pt x="1896" y="60"/>
                  </a:cubicBezTo>
                  <a:cubicBezTo>
                    <a:pt x="1896" y="79"/>
                    <a:pt x="1914" y="81"/>
                    <a:pt x="1928" y="86"/>
                  </a:cubicBezTo>
                  <a:cubicBezTo>
                    <a:pt x="1933" y="87"/>
                    <a:pt x="1936" y="89"/>
                    <a:pt x="1936" y="95"/>
                  </a:cubicBezTo>
                  <a:cubicBezTo>
                    <a:pt x="1936" y="104"/>
                    <a:pt x="1929" y="107"/>
                    <a:pt x="1920" y="107"/>
                  </a:cubicBezTo>
                  <a:cubicBezTo>
                    <a:pt x="1911" y="107"/>
                    <a:pt x="1905" y="105"/>
                    <a:pt x="1905" y="105"/>
                  </a:cubicBezTo>
                  <a:cubicBezTo>
                    <a:pt x="1903" y="92"/>
                    <a:pt x="1903" y="92"/>
                    <a:pt x="1903" y="92"/>
                  </a:cubicBezTo>
                  <a:cubicBezTo>
                    <a:pt x="1896" y="92"/>
                    <a:pt x="1896" y="92"/>
                    <a:pt x="1896" y="92"/>
                  </a:cubicBezTo>
                  <a:cubicBezTo>
                    <a:pt x="1896" y="112"/>
                    <a:pt x="1896" y="112"/>
                    <a:pt x="1896" y="112"/>
                  </a:cubicBezTo>
                  <a:cubicBezTo>
                    <a:pt x="1896" y="112"/>
                    <a:pt x="1908" y="117"/>
                    <a:pt x="1922" y="117"/>
                  </a:cubicBezTo>
                  <a:cubicBezTo>
                    <a:pt x="1942" y="117"/>
                    <a:pt x="1953" y="109"/>
                    <a:pt x="1953" y="94"/>
                  </a:cubicBezTo>
                  <a:close/>
                  <a:moveTo>
                    <a:pt x="1847" y="109"/>
                  </a:moveTo>
                  <a:cubicBezTo>
                    <a:pt x="1836" y="107"/>
                    <a:pt x="1836" y="107"/>
                    <a:pt x="1836" y="107"/>
                  </a:cubicBezTo>
                  <a:cubicBezTo>
                    <a:pt x="1836" y="81"/>
                    <a:pt x="1836" y="81"/>
                    <a:pt x="1836" y="81"/>
                  </a:cubicBezTo>
                  <a:cubicBezTo>
                    <a:pt x="1838" y="81"/>
                    <a:pt x="1838" y="81"/>
                    <a:pt x="1838" y="81"/>
                  </a:cubicBezTo>
                  <a:cubicBezTo>
                    <a:pt x="1848" y="81"/>
                    <a:pt x="1851" y="86"/>
                    <a:pt x="1855" y="98"/>
                  </a:cubicBezTo>
                  <a:cubicBezTo>
                    <a:pt x="1863" y="116"/>
                    <a:pt x="1863" y="116"/>
                    <a:pt x="1863" y="116"/>
                  </a:cubicBezTo>
                  <a:cubicBezTo>
                    <a:pt x="1887" y="116"/>
                    <a:pt x="1887" y="116"/>
                    <a:pt x="1887" y="116"/>
                  </a:cubicBezTo>
                  <a:cubicBezTo>
                    <a:pt x="1887" y="109"/>
                    <a:pt x="1887" y="109"/>
                    <a:pt x="1887" y="109"/>
                  </a:cubicBezTo>
                  <a:cubicBezTo>
                    <a:pt x="1876" y="107"/>
                    <a:pt x="1876" y="107"/>
                    <a:pt x="1876" y="107"/>
                  </a:cubicBezTo>
                  <a:cubicBezTo>
                    <a:pt x="1873" y="99"/>
                    <a:pt x="1868" y="84"/>
                    <a:pt x="1861" y="79"/>
                  </a:cubicBezTo>
                  <a:cubicBezTo>
                    <a:pt x="1869" y="76"/>
                    <a:pt x="1875" y="68"/>
                    <a:pt x="1875" y="59"/>
                  </a:cubicBezTo>
                  <a:cubicBezTo>
                    <a:pt x="1875" y="54"/>
                    <a:pt x="1873" y="49"/>
                    <a:pt x="1869" y="45"/>
                  </a:cubicBezTo>
                  <a:cubicBezTo>
                    <a:pt x="1863" y="40"/>
                    <a:pt x="1854" y="39"/>
                    <a:pt x="1846" y="39"/>
                  </a:cubicBezTo>
                  <a:cubicBezTo>
                    <a:pt x="1807" y="39"/>
                    <a:pt x="1807" y="39"/>
                    <a:pt x="1807" y="39"/>
                  </a:cubicBezTo>
                  <a:cubicBezTo>
                    <a:pt x="1807" y="46"/>
                    <a:pt x="1807" y="46"/>
                    <a:pt x="1807" y="46"/>
                  </a:cubicBezTo>
                  <a:cubicBezTo>
                    <a:pt x="1819" y="48"/>
                    <a:pt x="1819" y="48"/>
                    <a:pt x="1819" y="48"/>
                  </a:cubicBezTo>
                  <a:cubicBezTo>
                    <a:pt x="1819" y="107"/>
                    <a:pt x="1819" y="107"/>
                    <a:pt x="1819" y="107"/>
                  </a:cubicBezTo>
                  <a:cubicBezTo>
                    <a:pt x="1807" y="109"/>
                    <a:pt x="1807" y="109"/>
                    <a:pt x="1807" y="109"/>
                  </a:cubicBezTo>
                  <a:cubicBezTo>
                    <a:pt x="1807" y="116"/>
                    <a:pt x="1807" y="116"/>
                    <a:pt x="1807" y="116"/>
                  </a:cubicBezTo>
                  <a:cubicBezTo>
                    <a:pt x="1847" y="116"/>
                    <a:pt x="1847" y="116"/>
                    <a:pt x="1847" y="116"/>
                  </a:cubicBezTo>
                  <a:lnTo>
                    <a:pt x="1847" y="109"/>
                  </a:lnTo>
                  <a:close/>
                  <a:moveTo>
                    <a:pt x="1836" y="48"/>
                  </a:moveTo>
                  <a:cubicBezTo>
                    <a:pt x="1841" y="48"/>
                    <a:pt x="1841" y="48"/>
                    <a:pt x="1841" y="48"/>
                  </a:cubicBezTo>
                  <a:cubicBezTo>
                    <a:pt x="1845" y="48"/>
                    <a:pt x="1852" y="48"/>
                    <a:pt x="1854" y="51"/>
                  </a:cubicBezTo>
                  <a:cubicBezTo>
                    <a:pt x="1857" y="53"/>
                    <a:pt x="1858" y="57"/>
                    <a:pt x="1858" y="60"/>
                  </a:cubicBezTo>
                  <a:cubicBezTo>
                    <a:pt x="1858" y="63"/>
                    <a:pt x="1857" y="66"/>
                    <a:pt x="1855" y="69"/>
                  </a:cubicBezTo>
                  <a:cubicBezTo>
                    <a:pt x="1851" y="73"/>
                    <a:pt x="1844" y="73"/>
                    <a:pt x="1839" y="73"/>
                  </a:cubicBezTo>
                  <a:cubicBezTo>
                    <a:pt x="1836" y="73"/>
                    <a:pt x="1836" y="73"/>
                    <a:pt x="1836" y="73"/>
                  </a:cubicBezTo>
                  <a:lnTo>
                    <a:pt x="1836" y="48"/>
                  </a:lnTo>
                  <a:close/>
                  <a:moveTo>
                    <a:pt x="1796" y="95"/>
                  </a:moveTo>
                  <a:cubicBezTo>
                    <a:pt x="1788" y="95"/>
                    <a:pt x="1788" y="95"/>
                    <a:pt x="1788" y="95"/>
                  </a:cubicBezTo>
                  <a:cubicBezTo>
                    <a:pt x="1787" y="106"/>
                    <a:pt x="1787" y="106"/>
                    <a:pt x="1787" y="106"/>
                  </a:cubicBezTo>
                  <a:cubicBezTo>
                    <a:pt x="1759" y="106"/>
                    <a:pt x="1759" y="106"/>
                    <a:pt x="1759" y="106"/>
                  </a:cubicBezTo>
                  <a:cubicBezTo>
                    <a:pt x="1759" y="80"/>
                    <a:pt x="1759" y="80"/>
                    <a:pt x="1759" y="80"/>
                  </a:cubicBezTo>
                  <a:cubicBezTo>
                    <a:pt x="1776" y="80"/>
                    <a:pt x="1776" y="80"/>
                    <a:pt x="1776" y="80"/>
                  </a:cubicBezTo>
                  <a:cubicBezTo>
                    <a:pt x="1778" y="90"/>
                    <a:pt x="1778" y="90"/>
                    <a:pt x="1778" y="90"/>
                  </a:cubicBezTo>
                  <a:cubicBezTo>
                    <a:pt x="1784" y="90"/>
                    <a:pt x="1784" y="90"/>
                    <a:pt x="1784" y="90"/>
                  </a:cubicBezTo>
                  <a:cubicBezTo>
                    <a:pt x="1784" y="61"/>
                    <a:pt x="1784" y="61"/>
                    <a:pt x="1784" y="61"/>
                  </a:cubicBezTo>
                  <a:cubicBezTo>
                    <a:pt x="1778" y="61"/>
                    <a:pt x="1778" y="61"/>
                    <a:pt x="1778" y="61"/>
                  </a:cubicBezTo>
                  <a:cubicBezTo>
                    <a:pt x="1776" y="71"/>
                    <a:pt x="1776" y="71"/>
                    <a:pt x="1776" y="71"/>
                  </a:cubicBezTo>
                  <a:cubicBezTo>
                    <a:pt x="1759" y="71"/>
                    <a:pt x="1759" y="71"/>
                    <a:pt x="1759" y="71"/>
                  </a:cubicBezTo>
                  <a:cubicBezTo>
                    <a:pt x="1759" y="49"/>
                    <a:pt x="1759" y="49"/>
                    <a:pt x="1759" y="49"/>
                  </a:cubicBezTo>
                  <a:cubicBezTo>
                    <a:pt x="1787" y="49"/>
                    <a:pt x="1787" y="49"/>
                    <a:pt x="1787" y="49"/>
                  </a:cubicBezTo>
                  <a:cubicBezTo>
                    <a:pt x="1788" y="59"/>
                    <a:pt x="1788" y="59"/>
                    <a:pt x="1788" y="59"/>
                  </a:cubicBezTo>
                  <a:cubicBezTo>
                    <a:pt x="1796" y="59"/>
                    <a:pt x="1796" y="59"/>
                    <a:pt x="1796" y="59"/>
                  </a:cubicBezTo>
                  <a:cubicBezTo>
                    <a:pt x="1796" y="39"/>
                    <a:pt x="1796" y="39"/>
                    <a:pt x="1796" y="39"/>
                  </a:cubicBezTo>
                  <a:cubicBezTo>
                    <a:pt x="1730" y="39"/>
                    <a:pt x="1730" y="39"/>
                    <a:pt x="1730" y="39"/>
                  </a:cubicBezTo>
                  <a:cubicBezTo>
                    <a:pt x="1730" y="46"/>
                    <a:pt x="1730" y="46"/>
                    <a:pt x="1730" y="46"/>
                  </a:cubicBezTo>
                  <a:cubicBezTo>
                    <a:pt x="1741" y="48"/>
                    <a:pt x="1741" y="48"/>
                    <a:pt x="1741" y="48"/>
                  </a:cubicBezTo>
                  <a:cubicBezTo>
                    <a:pt x="1741" y="107"/>
                    <a:pt x="1741" y="107"/>
                    <a:pt x="1741" y="107"/>
                  </a:cubicBezTo>
                  <a:cubicBezTo>
                    <a:pt x="1730" y="109"/>
                    <a:pt x="1730" y="109"/>
                    <a:pt x="1730" y="109"/>
                  </a:cubicBezTo>
                  <a:cubicBezTo>
                    <a:pt x="1730" y="116"/>
                    <a:pt x="1730" y="116"/>
                    <a:pt x="1730" y="116"/>
                  </a:cubicBezTo>
                  <a:cubicBezTo>
                    <a:pt x="1796" y="116"/>
                    <a:pt x="1796" y="116"/>
                    <a:pt x="1796" y="116"/>
                  </a:cubicBezTo>
                  <a:lnTo>
                    <a:pt x="1796" y="95"/>
                  </a:lnTo>
                  <a:close/>
                  <a:moveTo>
                    <a:pt x="1342" y="95"/>
                  </a:moveTo>
                  <a:cubicBezTo>
                    <a:pt x="1335" y="95"/>
                    <a:pt x="1335" y="95"/>
                    <a:pt x="1335" y="95"/>
                  </a:cubicBezTo>
                  <a:cubicBezTo>
                    <a:pt x="1333" y="106"/>
                    <a:pt x="1333" y="106"/>
                    <a:pt x="1333" y="106"/>
                  </a:cubicBezTo>
                  <a:cubicBezTo>
                    <a:pt x="1305" y="106"/>
                    <a:pt x="1305" y="106"/>
                    <a:pt x="1305" y="106"/>
                  </a:cubicBezTo>
                  <a:cubicBezTo>
                    <a:pt x="1305" y="80"/>
                    <a:pt x="1305" y="80"/>
                    <a:pt x="1305" y="80"/>
                  </a:cubicBezTo>
                  <a:cubicBezTo>
                    <a:pt x="1323" y="80"/>
                    <a:pt x="1323" y="80"/>
                    <a:pt x="1323" y="80"/>
                  </a:cubicBezTo>
                  <a:cubicBezTo>
                    <a:pt x="1325" y="90"/>
                    <a:pt x="1325" y="90"/>
                    <a:pt x="1325" y="90"/>
                  </a:cubicBezTo>
                  <a:cubicBezTo>
                    <a:pt x="1331" y="90"/>
                    <a:pt x="1331" y="90"/>
                    <a:pt x="1331" y="90"/>
                  </a:cubicBezTo>
                  <a:cubicBezTo>
                    <a:pt x="1331" y="61"/>
                    <a:pt x="1331" y="61"/>
                    <a:pt x="1331" y="61"/>
                  </a:cubicBezTo>
                  <a:cubicBezTo>
                    <a:pt x="1325" y="61"/>
                    <a:pt x="1325" y="61"/>
                    <a:pt x="1325" y="61"/>
                  </a:cubicBezTo>
                  <a:cubicBezTo>
                    <a:pt x="1323" y="71"/>
                    <a:pt x="1323" y="71"/>
                    <a:pt x="1323" y="71"/>
                  </a:cubicBezTo>
                  <a:cubicBezTo>
                    <a:pt x="1305" y="71"/>
                    <a:pt x="1305" y="71"/>
                    <a:pt x="1305" y="71"/>
                  </a:cubicBezTo>
                  <a:cubicBezTo>
                    <a:pt x="1305" y="49"/>
                    <a:pt x="1305" y="49"/>
                    <a:pt x="1305" y="49"/>
                  </a:cubicBezTo>
                  <a:cubicBezTo>
                    <a:pt x="1333" y="49"/>
                    <a:pt x="1333" y="49"/>
                    <a:pt x="1333" y="49"/>
                  </a:cubicBezTo>
                  <a:cubicBezTo>
                    <a:pt x="1335" y="59"/>
                    <a:pt x="1335" y="59"/>
                    <a:pt x="1335" y="59"/>
                  </a:cubicBezTo>
                  <a:cubicBezTo>
                    <a:pt x="1342" y="59"/>
                    <a:pt x="1342" y="59"/>
                    <a:pt x="1342" y="59"/>
                  </a:cubicBezTo>
                  <a:cubicBezTo>
                    <a:pt x="1342" y="39"/>
                    <a:pt x="1342" y="39"/>
                    <a:pt x="1342" y="39"/>
                  </a:cubicBezTo>
                  <a:cubicBezTo>
                    <a:pt x="1277" y="39"/>
                    <a:pt x="1277" y="39"/>
                    <a:pt x="1277" y="39"/>
                  </a:cubicBezTo>
                  <a:cubicBezTo>
                    <a:pt x="1277" y="46"/>
                    <a:pt x="1277" y="46"/>
                    <a:pt x="1277" y="46"/>
                  </a:cubicBezTo>
                  <a:cubicBezTo>
                    <a:pt x="1288" y="48"/>
                    <a:pt x="1288" y="48"/>
                    <a:pt x="1288" y="48"/>
                  </a:cubicBezTo>
                  <a:cubicBezTo>
                    <a:pt x="1288" y="107"/>
                    <a:pt x="1288" y="107"/>
                    <a:pt x="1288" y="107"/>
                  </a:cubicBezTo>
                  <a:cubicBezTo>
                    <a:pt x="1277" y="109"/>
                    <a:pt x="1277" y="109"/>
                    <a:pt x="1277" y="109"/>
                  </a:cubicBezTo>
                  <a:cubicBezTo>
                    <a:pt x="1277" y="116"/>
                    <a:pt x="1277" y="116"/>
                    <a:pt x="1277" y="116"/>
                  </a:cubicBezTo>
                  <a:cubicBezTo>
                    <a:pt x="1342" y="116"/>
                    <a:pt x="1342" y="116"/>
                    <a:pt x="1342" y="116"/>
                  </a:cubicBezTo>
                  <a:lnTo>
                    <a:pt x="1342" y="95"/>
                  </a:lnTo>
                  <a:close/>
                  <a:moveTo>
                    <a:pt x="566" y="95"/>
                  </a:moveTo>
                  <a:cubicBezTo>
                    <a:pt x="559" y="95"/>
                    <a:pt x="559" y="95"/>
                    <a:pt x="559" y="95"/>
                  </a:cubicBezTo>
                  <a:cubicBezTo>
                    <a:pt x="557" y="106"/>
                    <a:pt x="557" y="106"/>
                    <a:pt x="557" y="106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29" y="80"/>
                    <a:pt x="529" y="80"/>
                    <a:pt x="529" y="80"/>
                  </a:cubicBezTo>
                  <a:cubicBezTo>
                    <a:pt x="546" y="80"/>
                    <a:pt x="546" y="80"/>
                    <a:pt x="546" y="80"/>
                  </a:cubicBezTo>
                  <a:cubicBezTo>
                    <a:pt x="548" y="90"/>
                    <a:pt x="548" y="90"/>
                    <a:pt x="548" y="90"/>
                  </a:cubicBezTo>
                  <a:cubicBezTo>
                    <a:pt x="555" y="90"/>
                    <a:pt x="555" y="90"/>
                    <a:pt x="555" y="90"/>
                  </a:cubicBezTo>
                  <a:cubicBezTo>
                    <a:pt x="555" y="61"/>
                    <a:pt x="555" y="61"/>
                    <a:pt x="555" y="61"/>
                  </a:cubicBezTo>
                  <a:cubicBezTo>
                    <a:pt x="548" y="61"/>
                    <a:pt x="548" y="61"/>
                    <a:pt x="548" y="61"/>
                  </a:cubicBezTo>
                  <a:cubicBezTo>
                    <a:pt x="546" y="71"/>
                    <a:pt x="546" y="71"/>
                    <a:pt x="546" y="71"/>
                  </a:cubicBezTo>
                  <a:cubicBezTo>
                    <a:pt x="529" y="71"/>
                    <a:pt x="529" y="71"/>
                    <a:pt x="529" y="71"/>
                  </a:cubicBezTo>
                  <a:cubicBezTo>
                    <a:pt x="529" y="49"/>
                    <a:pt x="529" y="49"/>
                    <a:pt x="529" y="49"/>
                  </a:cubicBezTo>
                  <a:cubicBezTo>
                    <a:pt x="557" y="49"/>
                    <a:pt x="557" y="49"/>
                    <a:pt x="557" y="49"/>
                  </a:cubicBezTo>
                  <a:cubicBezTo>
                    <a:pt x="559" y="59"/>
                    <a:pt x="559" y="59"/>
                    <a:pt x="559" y="59"/>
                  </a:cubicBezTo>
                  <a:cubicBezTo>
                    <a:pt x="566" y="59"/>
                    <a:pt x="566" y="59"/>
                    <a:pt x="566" y="59"/>
                  </a:cubicBezTo>
                  <a:cubicBezTo>
                    <a:pt x="566" y="39"/>
                    <a:pt x="566" y="39"/>
                    <a:pt x="566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00" y="46"/>
                    <a:pt x="500" y="46"/>
                    <a:pt x="500" y="46"/>
                  </a:cubicBezTo>
                  <a:cubicBezTo>
                    <a:pt x="511" y="48"/>
                    <a:pt x="511" y="48"/>
                    <a:pt x="511" y="48"/>
                  </a:cubicBezTo>
                  <a:cubicBezTo>
                    <a:pt x="511" y="107"/>
                    <a:pt x="511" y="107"/>
                    <a:pt x="511" y="107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16"/>
                    <a:pt x="500" y="116"/>
                    <a:pt x="500" y="116"/>
                  </a:cubicBezTo>
                  <a:cubicBezTo>
                    <a:pt x="566" y="116"/>
                    <a:pt x="566" y="116"/>
                    <a:pt x="566" y="116"/>
                  </a:cubicBezTo>
                  <a:lnTo>
                    <a:pt x="566" y="95"/>
                  </a:lnTo>
                  <a:close/>
                  <a:moveTo>
                    <a:pt x="659" y="117"/>
                  </a:moveTo>
                  <a:cubicBezTo>
                    <a:pt x="689" y="117"/>
                    <a:pt x="702" y="100"/>
                    <a:pt x="702" y="67"/>
                  </a:cubicBezTo>
                  <a:cubicBezTo>
                    <a:pt x="702" y="34"/>
                    <a:pt x="689" y="16"/>
                    <a:pt x="659" y="16"/>
                  </a:cubicBezTo>
                  <a:cubicBezTo>
                    <a:pt x="629" y="16"/>
                    <a:pt x="615" y="34"/>
                    <a:pt x="615" y="67"/>
                  </a:cubicBezTo>
                  <a:cubicBezTo>
                    <a:pt x="615" y="99"/>
                    <a:pt x="628" y="117"/>
                    <a:pt x="659" y="117"/>
                  </a:cubicBezTo>
                  <a:close/>
                  <a:moveTo>
                    <a:pt x="659" y="27"/>
                  </a:moveTo>
                  <a:cubicBezTo>
                    <a:pt x="675" y="27"/>
                    <a:pt x="683" y="40"/>
                    <a:pt x="683" y="67"/>
                  </a:cubicBezTo>
                  <a:cubicBezTo>
                    <a:pt x="683" y="94"/>
                    <a:pt x="675" y="107"/>
                    <a:pt x="659" y="107"/>
                  </a:cubicBezTo>
                  <a:cubicBezTo>
                    <a:pt x="642" y="107"/>
                    <a:pt x="634" y="94"/>
                    <a:pt x="634" y="67"/>
                  </a:cubicBezTo>
                  <a:cubicBezTo>
                    <a:pt x="634" y="40"/>
                    <a:pt x="643" y="27"/>
                    <a:pt x="659" y="27"/>
                  </a:cubicBezTo>
                  <a:close/>
                  <a:moveTo>
                    <a:pt x="327" y="28"/>
                  </a:moveTo>
                  <a:cubicBezTo>
                    <a:pt x="349" y="28"/>
                    <a:pt x="349" y="28"/>
                    <a:pt x="349" y="28"/>
                  </a:cubicBezTo>
                  <a:cubicBezTo>
                    <a:pt x="349" y="106"/>
                    <a:pt x="349" y="106"/>
                    <a:pt x="349" y="106"/>
                  </a:cubicBezTo>
                  <a:cubicBezTo>
                    <a:pt x="337" y="108"/>
                    <a:pt x="337" y="108"/>
                    <a:pt x="337" y="108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79" y="116"/>
                    <a:pt x="379" y="116"/>
                    <a:pt x="379" y="116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67" y="106"/>
                    <a:pt x="367" y="106"/>
                    <a:pt x="367" y="106"/>
                  </a:cubicBezTo>
                  <a:cubicBezTo>
                    <a:pt x="367" y="28"/>
                    <a:pt x="367" y="28"/>
                    <a:pt x="367" y="28"/>
                  </a:cubicBezTo>
                  <a:cubicBezTo>
                    <a:pt x="390" y="28"/>
                    <a:pt x="390" y="28"/>
                    <a:pt x="390" y="28"/>
                  </a:cubicBezTo>
                  <a:cubicBezTo>
                    <a:pt x="391" y="40"/>
                    <a:pt x="391" y="40"/>
                    <a:pt x="391" y="40"/>
                  </a:cubicBezTo>
                  <a:cubicBezTo>
                    <a:pt x="399" y="40"/>
                    <a:pt x="399" y="40"/>
                    <a:pt x="399" y="40"/>
                  </a:cubicBezTo>
                  <a:cubicBezTo>
                    <a:pt x="399" y="18"/>
                    <a:pt x="399" y="18"/>
                    <a:pt x="399" y="18"/>
                  </a:cubicBezTo>
                  <a:cubicBezTo>
                    <a:pt x="317" y="18"/>
                    <a:pt x="317" y="18"/>
                    <a:pt x="317" y="18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25" y="40"/>
                    <a:pt x="325" y="40"/>
                    <a:pt x="325" y="40"/>
                  </a:cubicBezTo>
                  <a:lnTo>
                    <a:pt x="327" y="28"/>
                  </a:lnTo>
                  <a:close/>
                  <a:moveTo>
                    <a:pt x="750" y="109"/>
                  </a:moveTo>
                  <a:cubicBezTo>
                    <a:pt x="739" y="107"/>
                    <a:pt x="739" y="107"/>
                    <a:pt x="739" y="107"/>
                  </a:cubicBezTo>
                  <a:cubicBezTo>
                    <a:pt x="739" y="80"/>
                    <a:pt x="739" y="80"/>
                    <a:pt x="739" y="80"/>
                  </a:cubicBezTo>
                  <a:cubicBezTo>
                    <a:pt x="768" y="80"/>
                    <a:pt x="768" y="80"/>
                    <a:pt x="768" y="80"/>
                  </a:cubicBezTo>
                  <a:cubicBezTo>
                    <a:pt x="768" y="107"/>
                    <a:pt x="768" y="107"/>
                    <a:pt x="768" y="107"/>
                  </a:cubicBezTo>
                  <a:cubicBezTo>
                    <a:pt x="757" y="109"/>
                    <a:pt x="757" y="109"/>
                    <a:pt x="757" y="109"/>
                  </a:cubicBezTo>
                  <a:cubicBezTo>
                    <a:pt x="757" y="116"/>
                    <a:pt x="757" y="116"/>
                    <a:pt x="757" y="116"/>
                  </a:cubicBezTo>
                  <a:cubicBezTo>
                    <a:pt x="797" y="116"/>
                    <a:pt x="797" y="116"/>
                    <a:pt x="797" y="116"/>
                  </a:cubicBezTo>
                  <a:cubicBezTo>
                    <a:pt x="797" y="109"/>
                    <a:pt x="797" y="109"/>
                    <a:pt x="797" y="109"/>
                  </a:cubicBezTo>
                  <a:cubicBezTo>
                    <a:pt x="786" y="107"/>
                    <a:pt x="786" y="107"/>
                    <a:pt x="786" y="107"/>
                  </a:cubicBezTo>
                  <a:cubicBezTo>
                    <a:pt x="786" y="48"/>
                    <a:pt x="786" y="48"/>
                    <a:pt x="786" y="48"/>
                  </a:cubicBezTo>
                  <a:cubicBezTo>
                    <a:pt x="797" y="46"/>
                    <a:pt x="797" y="46"/>
                    <a:pt x="797" y="46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57" y="39"/>
                    <a:pt x="757" y="39"/>
                    <a:pt x="757" y="39"/>
                  </a:cubicBezTo>
                  <a:cubicBezTo>
                    <a:pt x="757" y="46"/>
                    <a:pt x="757" y="46"/>
                    <a:pt x="757" y="46"/>
                  </a:cubicBezTo>
                  <a:cubicBezTo>
                    <a:pt x="768" y="48"/>
                    <a:pt x="768" y="48"/>
                    <a:pt x="768" y="48"/>
                  </a:cubicBezTo>
                  <a:cubicBezTo>
                    <a:pt x="768" y="71"/>
                    <a:pt x="768" y="71"/>
                    <a:pt x="768" y="71"/>
                  </a:cubicBezTo>
                  <a:cubicBezTo>
                    <a:pt x="739" y="71"/>
                    <a:pt x="739" y="71"/>
                    <a:pt x="739" y="71"/>
                  </a:cubicBezTo>
                  <a:cubicBezTo>
                    <a:pt x="739" y="48"/>
                    <a:pt x="739" y="48"/>
                    <a:pt x="739" y="48"/>
                  </a:cubicBezTo>
                  <a:cubicBezTo>
                    <a:pt x="750" y="46"/>
                    <a:pt x="750" y="46"/>
                    <a:pt x="750" y="46"/>
                  </a:cubicBezTo>
                  <a:cubicBezTo>
                    <a:pt x="750" y="39"/>
                    <a:pt x="750" y="39"/>
                    <a:pt x="750" y="39"/>
                  </a:cubicBezTo>
                  <a:cubicBezTo>
                    <a:pt x="710" y="39"/>
                    <a:pt x="710" y="39"/>
                    <a:pt x="710" y="39"/>
                  </a:cubicBezTo>
                  <a:cubicBezTo>
                    <a:pt x="710" y="46"/>
                    <a:pt x="710" y="46"/>
                    <a:pt x="710" y="46"/>
                  </a:cubicBezTo>
                  <a:cubicBezTo>
                    <a:pt x="722" y="48"/>
                    <a:pt x="722" y="48"/>
                    <a:pt x="722" y="48"/>
                  </a:cubicBezTo>
                  <a:cubicBezTo>
                    <a:pt x="722" y="107"/>
                    <a:pt x="722" y="107"/>
                    <a:pt x="722" y="107"/>
                  </a:cubicBezTo>
                  <a:cubicBezTo>
                    <a:pt x="710" y="109"/>
                    <a:pt x="710" y="109"/>
                    <a:pt x="710" y="109"/>
                  </a:cubicBezTo>
                  <a:cubicBezTo>
                    <a:pt x="710" y="116"/>
                    <a:pt x="710" y="116"/>
                    <a:pt x="710" y="116"/>
                  </a:cubicBezTo>
                  <a:cubicBezTo>
                    <a:pt x="750" y="116"/>
                    <a:pt x="750" y="116"/>
                    <a:pt x="750" y="116"/>
                  </a:cubicBezTo>
                  <a:lnTo>
                    <a:pt x="750" y="109"/>
                  </a:lnTo>
                  <a:close/>
                  <a:moveTo>
                    <a:pt x="445" y="109"/>
                  </a:moveTo>
                  <a:cubicBezTo>
                    <a:pt x="434" y="107"/>
                    <a:pt x="434" y="107"/>
                    <a:pt x="434" y="107"/>
                  </a:cubicBezTo>
                  <a:cubicBezTo>
                    <a:pt x="434" y="80"/>
                    <a:pt x="434" y="80"/>
                    <a:pt x="434" y="80"/>
                  </a:cubicBezTo>
                  <a:cubicBezTo>
                    <a:pt x="463" y="80"/>
                    <a:pt x="463" y="80"/>
                    <a:pt x="463" y="80"/>
                  </a:cubicBezTo>
                  <a:cubicBezTo>
                    <a:pt x="463" y="107"/>
                    <a:pt x="463" y="107"/>
                    <a:pt x="463" y="107"/>
                  </a:cubicBezTo>
                  <a:cubicBezTo>
                    <a:pt x="452" y="109"/>
                    <a:pt x="452" y="109"/>
                    <a:pt x="452" y="109"/>
                  </a:cubicBezTo>
                  <a:cubicBezTo>
                    <a:pt x="452" y="116"/>
                    <a:pt x="452" y="116"/>
                    <a:pt x="452" y="116"/>
                  </a:cubicBezTo>
                  <a:cubicBezTo>
                    <a:pt x="492" y="116"/>
                    <a:pt x="492" y="116"/>
                    <a:pt x="492" y="116"/>
                  </a:cubicBezTo>
                  <a:cubicBezTo>
                    <a:pt x="492" y="109"/>
                    <a:pt x="492" y="109"/>
                    <a:pt x="492" y="109"/>
                  </a:cubicBezTo>
                  <a:cubicBezTo>
                    <a:pt x="480" y="107"/>
                    <a:pt x="480" y="107"/>
                    <a:pt x="480" y="107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492" y="46"/>
                    <a:pt x="492" y="46"/>
                    <a:pt x="492" y="46"/>
                  </a:cubicBezTo>
                  <a:cubicBezTo>
                    <a:pt x="492" y="39"/>
                    <a:pt x="492" y="39"/>
                    <a:pt x="492" y="39"/>
                  </a:cubicBezTo>
                  <a:cubicBezTo>
                    <a:pt x="452" y="39"/>
                    <a:pt x="452" y="39"/>
                    <a:pt x="452" y="39"/>
                  </a:cubicBezTo>
                  <a:cubicBezTo>
                    <a:pt x="452" y="46"/>
                    <a:pt x="452" y="46"/>
                    <a:pt x="452" y="46"/>
                  </a:cubicBezTo>
                  <a:cubicBezTo>
                    <a:pt x="463" y="48"/>
                    <a:pt x="463" y="48"/>
                    <a:pt x="463" y="48"/>
                  </a:cubicBezTo>
                  <a:cubicBezTo>
                    <a:pt x="463" y="71"/>
                    <a:pt x="463" y="71"/>
                    <a:pt x="463" y="71"/>
                  </a:cubicBezTo>
                  <a:cubicBezTo>
                    <a:pt x="434" y="71"/>
                    <a:pt x="434" y="71"/>
                    <a:pt x="434" y="71"/>
                  </a:cubicBezTo>
                  <a:cubicBezTo>
                    <a:pt x="434" y="48"/>
                    <a:pt x="434" y="48"/>
                    <a:pt x="434" y="48"/>
                  </a:cubicBezTo>
                  <a:cubicBezTo>
                    <a:pt x="445" y="46"/>
                    <a:pt x="445" y="46"/>
                    <a:pt x="445" y="46"/>
                  </a:cubicBezTo>
                  <a:cubicBezTo>
                    <a:pt x="445" y="39"/>
                    <a:pt x="445" y="39"/>
                    <a:pt x="445" y="39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46"/>
                    <a:pt x="405" y="46"/>
                    <a:pt x="405" y="46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107"/>
                    <a:pt x="416" y="107"/>
                    <a:pt x="416" y="107"/>
                  </a:cubicBezTo>
                  <a:cubicBezTo>
                    <a:pt x="405" y="109"/>
                    <a:pt x="405" y="109"/>
                    <a:pt x="405" y="109"/>
                  </a:cubicBezTo>
                  <a:cubicBezTo>
                    <a:pt x="405" y="116"/>
                    <a:pt x="405" y="116"/>
                    <a:pt x="405" y="116"/>
                  </a:cubicBezTo>
                  <a:cubicBezTo>
                    <a:pt x="445" y="116"/>
                    <a:pt x="445" y="116"/>
                    <a:pt x="445" y="116"/>
                  </a:cubicBezTo>
                  <a:lnTo>
                    <a:pt x="445" y="109"/>
                  </a:lnTo>
                  <a:close/>
                  <a:moveTo>
                    <a:pt x="1209" y="49"/>
                  </a:moveTo>
                  <a:cubicBezTo>
                    <a:pt x="1226" y="49"/>
                    <a:pt x="1226" y="49"/>
                    <a:pt x="1226" y="49"/>
                  </a:cubicBezTo>
                  <a:cubicBezTo>
                    <a:pt x="1226" y="107"/>
                    <a:pt x="1226" y="107"/>
                    <a:pt x="1226" y="107"/>
                  </a:cubicBezTo>
                  <a:cubicBezTo>
                    <a:pt x="1215" y="109"/>
                    <a:pt x="1215" y="109"/>
                    <a:pt x="1215" y="109"/>
                  </a:cubicBezTo>
                  <a:cubicBezTo>
                    <a:pt x="1215" y="116"/>
                    <a:pt x="1215" y="116"/>
                    <a:pt x="1215" y="116"/>
                  </a:cubicBezTo>
                  <a:cubicBezTo>
                    <a:pt x="1255" y="116"/>
                    <a:pt x="1255" y="116"/>
                    <a:pt x="1255" y="116"/>
                  </a:cubicBezTo>
                  <a:cubicBezTo>
                    <a:pt x="1255" y="109"/>
                    <a:pt x="1255" y="109"/>
                    <a:pt x="1255" y="109"/>
                  </a:cubicBezTo>
                  <a:cubicBezTo>
                    <a:pt x="1244" y="107"/>
                    <a:pt x="1244" y="107"/>
                    <a:pt x="1244" y="107"/>
                  </a:cubicBezTo>
                  <a:cubicBezTo>
                    <a:pt x="1244" y="49"/>
                    <a:pt x="1244" y="49"/>
                    <a:pt x="1244" y="49"/>
                  </a:cubicBezTo>
                  <a:cubicBezTo>
                    <a:pt x="1261" y="49"/>
                    <a:pt x="1261" y="49"/>
                    <a:pt x="1261" y="49"/>
                  </a:cubicBezTo>
                  <a:cubicBezTo>
                    <a:pt x="1262" y="60"/>
                    <a:pt x="1262" y="60"/>
                    <a:pt x="1262" y="60"/>
                  </a:cubicBezTo>
                  <a:cubicBezTo>
                    <a:pt x="1270" y="60"/>
                    <a:pt x="1270" y="60"/>
                    <a:pt x="1270" y="60"/>
                  </a:cubicBezTo>
                  <a:cubicBezTo>
                    <a:pt x="1270" y="39"/>
                    <a:pt x="1270" y="39"/>
                    <a:pt x="1270" y="39"/>
                  </a:cubicBezTo>
                  <a:cubicBezTo>
                    <a:pt x="1200" y="39"/>
                    <a:pt x="1200" y="39"/>
                    <a:pt x="1200" y="39"/>
                  </a:cubicBezTo>
                  <a:cubicBezTo>
                    <a:pt x="1200" y="60"/>
                    <a:pt x="1200" y="60"/>
                    <a:pt x="1200" y="60"/>
                  </a:cubicBezTo>
                  <a:cubicBezTo>
                    <a:pt x="1208" y="60"/>
                    <a:pt x="1208" y="60"/>
                    <a:pt x="1208" y="60"/>
                  </a:cubicBezTo>
                  <a:lnTo>
                    <a:pt x="1209" y="49"/>
                  </a:lnTo>
                  <a:close/>
                  <a:moveTo>
                    <a:pt x="1058" y="49"/>
                  </a:moveTo>
                  <a:cubicBezTo>
                    <a:pt x="1075" y="49"/>
                    <a:pt x="1075" y="49"/>
                    <a:pt x="1075" y="49"/>
                  </a:cubicBezTo>
                  <a:cubicBezTo>
                    <a:pt x="1075" y="107"/>
                    <a:pt x="1075" y="107"/>
                    <a:pt x="1075" y="107"/>
                  </a:cubicBezTo>
                  <a:cubicBezTo>
                    <a:pt x="1064" y="109"/>
                    <a:pt x="1064" y="109"/>
                    <a:pt x="1064" y="109"/>
                  </a:cubicBezTo>
                  <a:cubicBezTo>
                    <a:pt x="1064" y="116"/>
                    <a:pt x="1064" y="116"/>
                    <a:pt x="1064" y="116"/>
                  </a:cubicBezTo>
                  <a:cubicBezTo>
                    <a:pt x="1104" y="116"/>
                    <a:pt x="1104" y="116"/>
                    <a:pt x="1104" y="116"/>
                  </a:cubicBezTo>
                  <a:cubicBezTo>
                    <a:pt x="1104" y="109"/>
                    <a:pt x="1104" y="109"/>
                    <a:pt x="1104" y="109"/>
                  </a:cubicBezTo>
                  <a:cubicBezTo>
                    <a:pt x="1093" y="107"/>
                    <a:pt x="1093" y="107"/>
                    <a:pt x="1093" y="107"/>
                  </a:cubicBezTo>
                  <a:cubicBezTo>
                    <a:pt x="1093" y="49"/>
                    <a:pt x="1093" y="49"/>
                    <a:pt x="1093" y="49"/>
                  </a:cubicBezTo>
                  <a:cubicBezTo>
                    <a:pt x="1110" y="49"/>
                    <a:pt x="1110" y="49"/>
                    <a:pt x="1110" y="49"/>
                  </a:cubicBezTo>
                  <a:cubicBezTo>
                    <a:pt x="1111" y="60"/>
                    <a:pt x="1111" y="60"/>
                    <a:pt x="1111" y="60"/>
                  </a:cubicBezTo>
                  <a:cubicBezTo>
                    <a:pt x="1119" y="60"/>
                    <a:pt x="1119" y="60"/>
                    <a:pt x="1119" y="60"/>
                  </a:cubicBezTo>
                  <a:cubicBezTo>
                    <a:pt x="1119" y="39"/>
                    <a:pt x="1119" y="39"/>
                    <a:pt x="1119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60"/>
                    <a:pt x="1049" y="60"/>
                    <a:pt x="1049" y="60"/>
                  </a:cubicBezTo>
                  <a:cubicBezTo>
                    <a:pt x="1057" y="60"/>
                    <a:pt x="1057" y="60"/>
                    <a:pt x="1057" y="60"/>
                  </a:cubicBezTo>
                  <a:lnTo>
                    <a:pt x="1058" y="49"/>
                  </a:lnTo>
                  <a:close/>
                  <a:moveTo>
                    <a:pt x="1114" y="116"/>
                  </a:moveTo>
                  <a:cubicBezTo>
                    <a:pt x="1147" y="116"/>
                    <a:pt x="1147" y="116"/>
                    <a:pt x="1147" y="116"/>
                  </a:cubicBezTo>
                  <a:cubicBezTo>
                    <a:pt x="1147" y="109"/>
                    <a:pt x="1147" y="109"/>
                    <a:pt x="1147" y="109"/>
                  </a:cubicBezTo>
                  <a:cubicBezTo>
                    <a:pt x="1136" y="107"/>
                    <a:pt x="1136" y="107"/>
                    <a:pt x="1136" y="107"/>
                  </a:cubicBezTo>
                  <a:cubicBezTo>
                    <a:pt x="1142" y="93"/>
                    <a:pt x="1142" y="93"/>
                    <a:pt x="1142" y="93"/>
                  </a:cubicBezTo>
                  <a:cubicBezTo>
                    <a:pt x="1171" y="93"/>
                    <a:pt x="1171" y="93"/>
                    <a:pt x="1171" y="93"/>
                  </a:cubicBezTo>
                  <a:cubicBezTo>
                    <a:pt x="1176" y="107"/>
                    <a:pt x="1176" y="107"/>
                    <a:pt x="1176" y="107"/>
                  </a:cubicBezTo>
                  <a:cubicBezTo>
                    <a:pt x="1165" y="109"/>
                    <a:pt x="1165" y="109"/>
                    <a:pt x="1165" y="109"/>
                  </a:cubicBezTo>
                  <a:cubicBezTo>
                    <a:pt x="1165" y="116"/>
                    <a:pt x="1165" y="116"/>
                    <a:pt x="1165" y="116"/>
                  </a:cubicBezTo>
                  <a:cubicBezTo>
                    <a:pt x="1205" y="116"/>
                    <a:pt x="1205" y="116"/>
                    <a:pt x="1205" y="116"/>
                  </a:cubicBezTo>
                  <a:cubicBezTo>
                    <a:pt x="1205" y="109"/>
                    <a:pt x="1205" y="109"/>
                    <a:pt x="1205" y="109"/>
                  </a:cubicBezTo>
                  <a:cubicBezTo>
                    <a:pt x="1194" y="107"/>
                    <a:pt x="1194" y="107"/>
                    <a:pt x="1194" y="107"/>
                  </a:cubicBezTo>
                  <a:cubicBezTo>
                    <a:pt x="1168" y="39"/>
                    <a:pt x="1168" y="39"/>
                    <a:pt x="1168" y="39"/>
                  </a:cubicBezTo>
                  <a:cubicBezTo>
                    <a:pt x="1151" y="39"/>
                    <a:pt x="1151" y="39"/>
                    <a:pt x="1151" y="39"/>
                  </a:cubicBezTo>
                  <a:cubicBezTo>
                    <a:pt x="1125" y="107"/>
                    <a:pt x="1125" y="107"/>
                    <a:pt x="1125" y="107"/>
                  </a:cubicBezTo>
                  <a:cubicBezTo>
                    <a:pt x="1114" y="109"/>
                    <a:pt x="1114" y="109"/>
                    <a:pt x="1114" y="109"/>
                  </a:cubicBezTo>
                  <a:lnTo>
                    <a:pt x="1114" y="116"/>
                  </a:lnTo>
                  <a:close/>
                  <a:moveTo>
                    <a:pt x="1156" y="54"/>
                  </a:moveTo>
                  <a:cubicBezTo>
                    <a:pt x="1167" y="84"/>
                    <a:pt x="1167" y="84"/>
                    <a:pt x="1167" y="84"/>
                  </a:cubicBezTo>
                  <a:cubicBezTo>
                    <a:pt x="1145" y="84"/>
                    <a:pt x="1145" y="84"/>
                    <a:pt x="1145" y="84"/>
                  </a:cubicBezTo>
                  <a:lnTo>
                    <a:pt x="1156" y="54"/>
                  </a:lnTo>
                  <a:close/>
                  <a:moveTo>
                    <a:pt x="1042" y="88"/>
                  </a:moveTo>
                  <a:cubicBezTo>
                    <a:pt x="1042" y="49"/>
                    <a:pt x="993" y="65"/>
                    <a:pt x="993" y="41"/>
                  </a:cubicBezTo>
                  <a:cubicBezTo>
                    <a:pt x="993" y="30"/>
                    <a:pt x="1002" y="27"/>
                    <a:pt x="1011" y="27"/>
                  </a:cubicBezTo>
                  <a:cubicBezTo>
                    <a:pt x="1019" y="27"/>
                    <a:pt x="1028" y="29"/>
                    <a:pt x="1028" y="29"/>
                  </a:cubicBezTo>
                  <a:cubicBezTo>
                    <a:pt x="1030" y="41"/>
                    <a:pt x="1030" y="41"/>
                    <a:pt x="1030" y="41"/>
                  </a:cubicBezTo>
                  <a:cubicBezTo>
                    <a:pt x="1038" y="41"/>
                    <a:pt x="1038" y="41"/>
                    <a:pt x="1038" y="41"/>
                  </a:cubicBezTo>
                  <a:cubicBezTo>
                    <a:pt x="1038" y="22"/>
                    <a:pt x="1038" y="22"/>
                    <a:pt x="1038" y="22"/>
                  </a:cubicBezTo>
                  <a:cubicBezTo>
                    <a:pt x="1030" y="19"/>
                    <a:pt x="1019" y="16"/>
                    <a:pt x="1009" y="16"/>
                  </a:cubicBezTo>
                  <a:cubicBezTo>
                    <a:pt x="987" y="16"/>
                    <a:pt x="976" y="27"/>
                    <a:pt x="976" y="44"/>
                  </a:cubicBezTo>
                  <a:cubicBezTo>
                    <a:pt x="976" y="65"/>
                    <a:pt x="992" y="69"/>
                    <a:pt x="1007" y="74"/>
                  </a:cubicBezTo>
                  <a:cubicBezTo>
                    <a:pt x="1017" y="77"/>
                    <a:pt x="1025" y="79"/>
                    <a:pt x="1025" y="90"/>
                  </a:cubicBezTo>
                  <a:cubicBezTo>
                    <a:pt x="1025" y="102"/>
                    <a:pt x="1015" y="106"/>
                    <a:pt x="1003" y="106"/>
                  </a:cubicBezTo>
                  <a:cubicBezTo>
                    <a:pt x="992" y="106"/>
                    <a:pt x="986" y="104"/>
                    <a:pt x="986" y="104"/>
                  </a:cubicBezTo>
                  <a:cubicBezTo>
                    <a:pt x="984" y="91"/>
                    <a:pt x="984" y="91"/>
                    <a:pt x="984" y="91"/>
                  </a:cubicBezTo>
                  <a:cubicBezTo>
                    <a:pt x="976" y="91"/>
                    <a:pt x="976" y="91"/>
                    <a:pt x="976" y="91"/>
                  </a:cubicBezTo>
                  <a:cubicBezTo>
                    <a:pt x="976" y="112"/>
                    <a:pt x="976" y="112"/>
                    <a:pt x="976" y="112"/>
                  </a:cubicBezTo>
                  <a:cubicBezTo>
                    <a:pt x="976" y="112"/>
                    <a:pt x="989" y="117"/>
                    <a:pt x="1006" y="117"/>
                  </a:cubicBezTo>
                  <a:cubicBezTo>
                    <a:pt x="1030" y="117"/>
                    <a:pt x="1042" y="107"/>
                    <a:pt x="1042" y="88"/>
                  </a:cubicBezTo>
                  <a:close/>
                  <a:moveTo>
                    <a:pt x="847" y="109"/>
                  </a:moveTo>
                  <a:cubicBezTo>
                    <a:pt x="835" y="107"/>
                    <a:pt x="835" y="107"/>
                    <a:pt x="835" y="107"/>
                  </a:cubicBezTo>
                  <a:cubicBezTo>
                    <a:pt x="835" y="48"/>
                    <a:pt x="835" y="48"/>
                    <a:pt x="835" y="48"/>
                  </a:cubicBezTo>
                  <a:cubicBezTo>
                    <a:pt x="847" y="46"/>
                    <a:pt x="847" y="46"/>
                    <a:pt x="847" y="46"/>
                  </a:cubicBezTo>
                  <a:cubicBezTo>
                    <a:pt x="847" y="39"/>
                    <a:pt x="847" y="39"/>
                    <a:pt x="847" y="39"/>
                  </a:cubicBezTo>
                  <a:cubicBezTo>
                    <a:pt x="806" y="39"/>
                    <a:pt x="806" y="39"/>
                    <a:pt x="806" y="39"/>
                  </a:cubicBezTo>
                  <a:cubicBezTo>
                    <a:pt x="806" y="46"/>
                    <a:pt x="806" y="46"/>
                    <a:pt x="806" y="46"/>
                  </a:cubicBezTo>
                  <a:cubicBezTo>
                    <a:pt x="818" y="48"/>
                    <a:pt x="818" y="48"/>
                    <a:pt x="818" y="48"/>
                  </a:cubicBezTo>
                  <a:cubicBezTo>
                    <a:pt x="818" y="107"/>
                    <a:pt x="818" y="107"/>
                    <a:pt x="818" y="107"/>
                  </a:cubicBezTo>
                  <a:cubicBezTo>
                    <a:pt x="806" y="109"/>
                    <a:pt x="806" y="109"/>
                    <a:pt x="806" y="109"/>
                  </a:cubicBezTo>
                  <a:cubicBezTo>
                    <a:pt x="806" y="116"/>
                    <a:pt x="806" y="116"/>
                    <a:pt x="806" y="116"/>
                  </a:cubicBezTo>
                  <a:cubicBezTo>
                    <a:pt x="847" y="116"/>
                    <a:pt x="847" y="116"/>
                    <a:pt x="847" y="116"/>
                  </a:cubicBezTo>
                  <a:lnTo>
                    <a:pt x="847" y="109"/>
                  </a:lnTo>
                  <a:close/>
                  <a:moveTo>
                    <a:pt x="890" y="117"/>
                  </a:moveTo>
                  <a:cubicBezTo>
                    <a:pt x="915" y="117"/>
                    <a:pt x="927" y="103"/>
                    <a:pt x="927" y="78"/>
                  </a:cubicBezTo>
                  <a:cubicBezTo>
                    <a:pt x="927" y="52"/>
                    <a:pt x="915" y="38"/>
                    <a:pt x="890" y="38"/>
                  </a:cubicBezTo>
                  <a:cubicBezTo>
                    <a:pt x="864" y="38"/>
                    <a:pt x="853" y="52"/>
                    <a:pt x="853" y="77"/>
                  </a:cubicBezTo>
                  <a:cubicBezTo>
                    <a:pt x="853" y="103"/>
                    <a:pt x="864" y="117"/>
                    <a:pt x="890" y="117"/>
                  </a:cubicBezTo>
                  <a:close/>
                  <a:moveTo>
                    <a:pt x="890" y="48"/>
                  </a:moveTo>
                  <a:cubicBezTo>
                    <a:pt x="902" y="48"/>
                    <a:pt x="908" y="57"/>
                    <a:pt x="908" y="78"/>
                  </a:cubicBezTo>
                  <a:cubicBezTo>
                    <a:pt x="908" y="98"/>
                    <a:pt x="902" y="107"/>
                    <a:pt x="889" y="107"/>
                  </a:cubicBezTo>
                  <a:cubicBezTo>
                    <a:pt x="877" y="107"/>
                    <a:pt x="871" y="98"/>
                    <a:pt x="871" y="77"/>
                  </a:cubicBezTo>
                  <a:cubicBezTo>
                    <a:pt x="871" y="57"/>
                    <a:pt x="877" y="48"/>
                    <a:pt x="890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1002145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rporate Titl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itle 41"/>
          <p:cNvSpPr>
            <a:spLocks noGrp="1"/>
          </p:cNvSpPr>
          <p:nvPr>
            <p:ph type="title"/>
          </p:nvPr>
        </p:nvSpPr>
        <p:spPr>
          <a:xfrm>
            <a:off x="1901372" y="1423891"/>
            <a:ext cx="8447315" cy="920559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3733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3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39713" y="2529106"/>
            <a:ext cx="5170632" cy="428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85000"/>
              </a:lnSpc>
              <a:spcBef>
                <a:spcPct val="0"/>
              </a:spcBef>
              <a:buFont typeface="Wingdings" pitchFamily="2" charset="2"/>
              <a:buNone/>
              <a:defRPr sz="2667"/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4396442" y="5036687"/>
            <a:ext cx="3457207" cy="496575"/>
            <a:chOff x="487363" y="2840038"/>
            <a:chExt cx="8167687" cy="1173162"/>
          </a:xfrm>
        </p:grpSpPr>
        <p:sp>
          <p:nvSpPr>
            <p:cNvPr id="13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487363" y="2843213"/>
              <a:ext cx="8167687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531813" y="2892425"/>
              <a:ext cx="803275" cy="1068387"/>
            </a:xfrm>
            <a:custGeom>
              <a:avLst/>
              <a:gdLst>
                <a:gd name="T0" fmla="*/ 126 w 506"/>
                <a:gd name="T1" fmla="*/ 172 h 673"/>
                <a:gd name="T2" fmla="*/ 175 w 506"/>
                <a:gd name="T3" fmla="*/ 125 h 673"/>
                <a:gd name="T4" fmla="*/ 333 w 506"/>
                <a:gd name="T5" fmla="*/ 125 h 673"/>
                <a:gd name="T6" fmla="*/ 383 w 506"/>
                <a:gd name="T7" fmla="*/ 172 h 673"/>
                <a:gd name="T8" fmla="*/ 383 w 506"/>
                <a:gd name="T9" fmla="*/ 500 h 673"/>
                <a:gd name="T10" fmla="*/ 333 w 506"/>
                <a:gd name="T11" fmla="*/ 548 h 673"/>
                <a:gd name="T12" fmla="*/ 175 w 506"/>
                <a:gd name="T13" fmla="*/ 548 h 673"/>
                <a:gd name="T14" fmla="*/ 126 w 506"/>
                <a:gd name="T15" fmla="*/ 500 h 673"/>
                <a:gd name="T16" fmla="*/ 126 w 506"/>
                <a:gd name="T17" fmla="*/ 172 h 673"/>
                <a:gd name="T18" fmla="*/ 126 w 506"/>
                <a:gd name="T19" fmla="*/ 172 h 673"/>
                <a:gd name="T20" fmla="*/ 506 w 506"/>
                <a:gd name="T21" fmla="*/ 120 h 673"/>
                <a:gd name="T22" fmla="*/ 385 w 506"/>
                <a:gd name="T23" fmla="*/ 0 h 673"/>
                <a:gd name="T24" fmla="*/ 123 w 506"/>
                <a:gd name="T25" fmla="*/ 0 h 673"/>
                <a:gd name="T26" fmla="*/ 0 w 506"/>
                <a:gd name="T27" fmla="*/ 120 h 673"/>
                <a:gd name="T28" fmla="*/ 0 w 506"/>
                <a:gd name="T29" fmla="*/ 552 h 673"/>
                <a:gd name="T30" fmla="*/ 123 w 506"/>
                <a:gd name="T31" fmla="*/ 673 h 673"/>
                <a:gd name="T32" fmla="*/ 385 w 506"/>
                <a:gd name="T33" fmla="*/ 673 h 673"/>
                <a:gd name="T34" fmla="*/ 506 w 506"/>
                <a:gd name="T35" fmla="*/ 552 h 673"/>
                <a:gd name="T36" fmla="*/ 506 w 506"/>
                <a:gd name="T37" fmla="*/ 120 h 673"/>
                <a:gd name="T38" fmla="*/ 506 w 506"/>
                <a:gd name="T39" fmla="*/ 12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6" h="673">
                  <a:moveTo>
                    <a:pt x="126" y="172"/>
                  </a:moveTo>
                  <a:lnTo>
                    <a:pt x="175" y="125"/>
                  </a:lnTo>
                  <a:lnTo>
                    <a:pt x="333" y="125"/>
                  </a:lnTo>
                  <a:lnTo>
                    <a:pt x="383" y="172"/>
                  </a:lnTo>
                  <a:lnTo>
                    <a:pt x="383" y="500"/>
                  </a:lnTo>
                  <a:lnTo>
                    <a:pt x="333" y="548"/>
                  </a:lnTo>
                  <a:lnTo>
                    <a:pt x="175" y="548"/>
                  </a:lnTo>
                  <a:lnTo>
                    <a:pt x="126" y="500"/>
                  </a:lnTo>
                  <a:lnTo>
                    <a:pt x="126" y="172"/>
                  </a:lnTo>
                  <a:lnTo>
                    <a:pt x="126" y="172"/>
                  </a:lnTo>
                  <a:close/>
                  <a:moveTo>
                    <a:pt x="506" y="120"/>
                  </a:moveTo>
                  <a:lnTo>
                    <a:pt x="385" y="0"/>
                  </a:lnTo>
                  <a:lnTo>
                    <a:pt x="123" y="0"/>
                  </a:lnTo>
                  <a:lnTo>
                    <a:pt x="0" y="120"/>
                  </a:lnTo>
                  <a:lnTo>
                    <a:pt x="0" y="552"/>
                  </a:lnTo>
                  <a:lnTo>
                    <a:pt x="123" y="673"/>
                  </a:lnTo>
                  <a:lnTo>
                    <a:pt x="385" y="673"/>
                  </a:lnTo>
                  <a:lnTo>
                    <a:pt x="506" y="552"/>
                  </a:lnTo>
                  <a:lnTo>
                    <a:pt x="506" y="120"/>
                  </a:lnTo>
                  <a:lnTo>
                    <a:pt x="506" y="120"/>
                  </a:lnTo>
                  <a:close/>
                </a:path>
              </a:pathLst>
            </a:custGeom>
            <a:solidFill>
              <a:srgbClr val="BB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487363" y="2840038"/>
              <a:ext cx="8167687" cy="1169989"/>
            </a:xfrm>
            <a:custGeom>
              <a:avLst/>
              <a:gdLst>
                <a:gd name="T0" fmla="*/ 397 w 2178"/>
                <a:gd name="T1" fmla="*/ 289 h 312"/>
                <a:gd name="T2" fmla="*/ 430 w 2178"/>
                <a:gd name="T3" fmla="*/ 253 h 312"/>
                <a:gd name="T4" fmla="*/ 493 w 2178"/>
                <a:gd name="T5" fmla="*/ 256 h 312"/>
                <a:gd name="T6" fmla="*/ 535 w 2178"/>
                <a:gd name="T7" fmla="*/ 289 h 312"/>
                <a:gd name="T8" fmla="*/ 608 w 2178"/>
                <a:gd name="T9" fmla="*/ 282 h 312"/>
                <a:gd name="T10" fmla="*/ 678 w 2178"/>
                <a:gd name="T11" fmla="*/ 225 h 312"/>
                <a:gd name="T12" fmla="*/ 660 w 2178"/>
                <a:gd name="T13" fmla="*/ 232 h 312"/>
                <a:gd name="T14" fmla="*/ 761 w 2178"/>
                <a:gd name="T15" fmla="*/ 289 h 312"/>
                <a:gd name="T16" fmla="*/ 814 w 2178"/>
                <a:gd name="T17" fmla="*/ 282 h 312"/>
                <a:gd name="T18" fmla="*/ 858 w 2178"/>
                <a:gd name="T19" fmla="*/ 225 h 312"/>
                <a:gd name="T20" fmla="*/ 923 w 2178"/>
                <a:gd name="T21" fmla="*/ 289 h 312"/>
                <a:gd name="T22" fmla="*/ 941 w 2178"/>
                <a:gd name="T23" fmla="*/ 257 h 312"/>
                <a:gd name="T24" fmla="*/ 1061 w 2178"/>
                <a:gd name="T25" fmla="*/ 289 h 312"/>
                <a:gd name="T26" fmla="*/ 1103 w 2178"/>
                <a:gd name="T27" fmla="*/ 282 h 312"/>
                <a:gd name="T28" fmla="*/ 1182 w 2178"/>
                <a:gd name="T29" fmla="*/ 277 h 312"/>
                <a:gd name="T30" fmla="*/ 1197 w 2178"/>
                <a:gd name="T31" fmla="*/ 232 h 312"/>
                <a:gd name="T32" fmla="*/ 1287 w 2178"/>
                <a:gd name="T33" fmla="*/ 289 h 312"/>
                <a:gd name="T34" fmla="*/ 1351 w 2178"/>
                <a:gd name="T35" fmla="*/ 225 h 312"/>
                <a:gd name="T36" fmla="*/ 1367 w 2178"/>
                <a:gd name="T37" fmla="*/ 232 h 312"/>
                <a:gd name="T38" fmla="*/ 1433 w 2178"/>
                <a:gd name="T39" fmla="*/ 264 h 312"/>
                <a:gd name="T40" fmla="*/ 59 w 2178"/>
                <a:gd name="T41" fmla="*/ 0 h 312"/>
                <a:gd name="T42" fmla="*/ 61 w 2178"/>
                <a:gd name="T43" fmla="*/ 307 h 312"/>
                <a:gd name="T44" fmla="*/ 150 w 2178"/>
                <a:gd name="T45" fmla="*/ 238 h 312"/>
                <a:gd name="T46" fmla="*/ 147 w 2178"/>
                <a:gd name="T47" fmla="*/ 80 h 312"/>
                <a:gd name="T48" fmla="*/ 1628 w 2178"/>
                <a:gd name="T49" fmla="*/ 46 h 312"/>
                <a:gd name="T50" fmla="*/ 1515 w 2178"/>
                <a:gd name="T51" fmla="*/ 107 h 312"/>
                <a:gd name="T52" fmla="*/ 1518 w 2178"/>
                <a:gd name="T53" fmla="*/ 39 h 312"/>
                <a:gd name="T54" fmla="*/ 1438 w 2178"/>
                <a:gd name="T55" fmla="*/ 117 h 312"/>
                <a:gd name="T56" fmla="*/ 1441 w 2178"/>
                <a:gd name="T57" fmla="*/ 107 h 312"/>
                <a:gd name="T58" fmla="*/ 1713 w 2178"/>
                <a:gd name="T59" fmla="*/ 48 h 312"/>
                <a:gd name="T60" fmla="*/ 1634 w 2178"/>
                <a:gd name="T61" fmla="*/ 46 h 312"/>
                <a:gd name="T62" fmla="*/ 1974 w 2178"/>
                <a:gd name="T63" fmla="*/ 107 h 312"/>
                <a:gd name="T64" fmla="*/ 2066 w 2178"/>
                <a:gd name="T65" fmla="*/ 109 h 312"/>
                <a:gd name="T66" fmla="*/ 2122 w 2178"/>
                <a:gd name="T67" fmla="*/ 82 h 312"/>
                <a:gd name="T68" fmla="*/ 2138 w 2178"/>
                <a:gd name="T69" fmla="*/ 39 h 312"/>
                <a:gd name="T70" fmla="*/ 1953 w 2178"/>
                <a:gd name="T71" fmla="*/ 94 h 312"/>
                <a:gd name="T72" fmla="*/ 1920 w 2178"/>
                <a:gd name="T73" fmla="*/ 107 h 312"/>
                <a:gd name="T74" fmla="*/ 1855 w 2178"/>
                <a:gd name="T75" fmla="*/ 98 h 312"/>
                <a:gd name="T76" fmla="*/ 1819 w 2178"/>
                <a:gd name="T77" fmla="*/ 48 h 312"/>
                <a:gd name="T78" fmla="*/ 1839 w 2178"/>
                <a:gd name="T79" fmla="*/ 73 h 312"/>
                <a:gd name="T80" fmla="*/ 1784 w 2178"/>
                <a:gd name="T81" fmla="*/ 61 h 312"/>
                <a:gd name="T82" fmla="*/ 1741 w 2178"/>
                <a:gd name="T83" fmla="*/ 48 h 312"/>
                <a:gd name="T84" fmla="*/ 1323 w 2178"/>
                <a:gd name="T85" fmla="*/ 80 h 312"/>
                <a:gd name="T86" fmla="*/ 1342 w 2178"/>
                <a:gd name="T87" fmla="*/ 39 h 312"/>
                <a:gd name="T88" fmla="*/ 557 w 2178"/>
                <a:gd name="T89" fmla="*/ 106 h 312"/>
                <a:gd name="T90" fmla="*/ 557 w 2178"/>
                <a:gd name="T91" fmla="*/ 49 h 312"/>
                <a:gd name="T92" fmla="*/ 566 w 2178"/>
                <a:gd name="T93" fmla="*/ 95 h 312"/>
                <a:gd name="T94" fmla="*/ 327 w 2178"/>
                <a:gd name="T95" fmla="*/ 28 h 312"/>
                <a:gd name="T96" fmla="*/ 399 w 2178"/>
                <a:gd name="T97" fmla="*/ 40 h 312"/>
                <a:gd name="T98" fmla="*/ 757 w 2178"/>
                <a:gd name="T99" fmla="*/ 109 h 312"/>
                <a:gd name="T100" fmla="*/ 768 w 2178"/>
                <a:gd name="T101" fmla="*/ 71 h 312"/>
                <a:gd name="T102" fmla="*/ 750 w 2178"/>
                <a:gd name="T103" fmla="*/ 116 h 312"/>
                <a:gd name="T104" fmla="*/ 480 w 2178"/>
                <a:gd name="T105" fmla="*/ 107 h 312"/>
                <a:gd name="T106" fmla="*/ 445 w 2178"/>
                <a:gd name="T107" fmla="*/ 39 h 312"/>
                <a:gd name="T108" fmla="*/ 1226 w 2178"/>
                <a:gd name="T109" fmla="*/ 107 h 312"/>
                <a:gd name="T110" fmla="*/ 1200 w 2178"/>
                <a:gd name="T111" fmla="*/ 39 h 312"/>
                <a:gd name="T112" fmla="*/ 1093 w 2178"/>
                <a:gd name="T113" fmla="*/ 107 h 312"/>
                <a:gd name="T114" fmla="*/ 1147 w 2178"/>
                <a:gd name="T115" fmla="*/ 116 h 312"/>
                <a:gd name="T116" fmla="*/ 1168 w 2178"/>
                <a:gd name="T117" fmla="*/ 39 h 312"/>
                <a:gd name="T118" fmla="*/ 1011 w 2178"/>
                <a:gd name="T119" fmla="*/ 27 h 312"/>
                <a:gd name="T120" fmla="*/ 984 w 2178"/>
                <a:gd name="T121" fmla="*/ 91 h 312"/>
                <a:gd name="T122" fmla="*/ 806 w 2178"/>
                <a:gd name="T123" fmla="*/ 46 h 312"/>
                <a:gd name="T124" fmla="*/ 890 w 2178"/>
                <a:gd name="T125" fmla="*/ 1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8" h="312">
                  <a:moveTo>
                    <a:pt x="393" y="278"/>
                  </a:moveTo>
                  <a:cubicBezTo>
                    <a:pt x="378" y="225"/>
                    <a:pt x="378" y="225"/>
                    <a:pt x="378" y="225"/>
                  </a:cubicBezTo>
                  <a:cubicBezTo>
                    <a:pt x="371" y="225"/>
                    <a:pt x="371" y="225"/>
                    <a:pt x="371" y="225"/>
                  </a:cubicBezTo>
                  <a:cubicBezTo>
                    <a:pt x="357" y="278"/>
                    <a:pt x="357" y="278"/>
                    <a:pt x="357" y="278"/>
                  </a:cubicBezTo>
                  <a:cubicBezTo>
                    <a:pt x="343" y="225"/>
                    <a:pt x="343" y="225"/>
                    <a:pt x="343" y="225"/>
                  </a:cubicBezTo>
                  <a:cubicBezTo>
                    <a:pt x="334" y="225"/>
                    <a:pt x="334" y="225"/>
                    <a:pt x="334" y="225"/>
                  </a:cubicBezTo>
                  <a:cubicBezTo>
                    <a:pt x="352" y="289"/>
                    <a:pt x="352" y="289"/>
                    <a:pt x="352" y="289"/>
                  </a:cubicBezTo>
                  <a:cubicBezTo>
                    <a:pt x="361" y="289"/>
                    <a:pt x="361" y="289"/>
                    <a:pt x="361" y="289"/>
                  </a:cubicBezTo>
                  <a:cubicBezTo>
                    <a:pt x="375" y="237"/>
                    <a:pt x="375" y="237"/>
                    <a:pt x="375" y="237"/>
                  </a:cubicBezTo>
                  <a:cubicBezTo>
                    <a:pt x="389" y="289"/>
                    <a:pt x="389" y="289"/>
                    <a:pt x="389" y="289"/>
                  </a:cubicBezTo>
                  <a:cubicBezTo>
                    <a:pt x="397" y="289"/>
                    <a:pt x="397" y="289"/>
                    <a:pt x="397" y="289"/>
                  </a:cubicBezTo>
                  <a:cubicBezTo>
                    <a:pt x="416" y="225"/>
                    <a:pt x="416" y="225"/>
                    <a:pt x="416" y="225"/>
                  </a:cubicBezTo>
                  <a:cubicBezTo>
                    <a:pt x="407" y="225"/>
                    <a:pt x="407" y="225"/>
                    <a:pt x="407" y="225"/>
                  </a:cubicBezTo>
                  <a:lnTo>
                    <a:pt x="393" y="278"/>
                  </a:lnTo>
                  <a:close/>
                  <a:moveTo>
                    <a:pt x="422" y="289"/>
                  </a:moveTo>
                  <a:cubicBezTo>
                    <a:pt x="464" y="289"/>
                    <a:pt x="464" y="289"/>
                    <a:pt x="464" y="289"/>
                  </a:cubicBezTo>
                  <a:cubicBezTo>
                    <a:pt x="464" y="282"/>
                    <a:pt x="464" y="282"/>
                    <a:pt x="464" y="282"/>
                  </a:cubicBezTo>
                  <a:cubicBezTo>
                    <a:pt x="430" y="282"/>
                    <a:pt x="430" y="282"/>
                    <a:pt x="430" y="282"/>
                  </a:cubicBezTo>
                  <a:cubicBezTo>
                    <a:pt x="430" y="260"/>
                    <a:pt x="430" y="260"/>
                    <a:pt x="430" y="260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63" y="253"/>
                    <a:pt x="463" y="253"/>
                    <a:pt x="463" y="253"/>
                  </a:cubicBezTo>
                  <a:cubicBezTo>
                    <a:pt x="430" y="253"/>
                    <a:pt x="430" y="253"/>
                    <a:pt x="430" y="253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464" y="232"/>
                    <a:pt x="464" y="232"/>
                    <a:pt x="464" y="232"/>
                  </a:cubicBezTo>
                  <a:cubicBezTo>
                    <a:pt x="464" y="225"/>
                    <a:pt x="464" y="225"/>
                    <a:pt x="464" y="225"/>
                  </a:cubicBezTo>
                  <a:cubicBezTo>
                    <a:pt x="422" y="225"/>
                    <a:pt x="422" y="225"/>
                    <a:pt x="422" y="225"/>
                  </a:cubicBezTo>
                  <a:lnTo>
                    <a:pt x="422" y="289"/>
                  </a:lnTo>
                  <a:close/>
                  <a:moveTo>
                    <a:pt x="527" y="225"/>
                  </a:moveTo>
                  <a:cubicBezTo>
                    <a:pt x="517" y="225"/>
                    <a:pt x="517" y="225"/>
                    <a:pt x="517" y="225"/>
                  </a:cubicBezTo>
                  <a:cubicBezTo>
                    <a:pt x="498" y="251"/>
                    <a:pt x="498" y="251"/>
                    <a:pt x="498" y="251"/>
                  </a:cubicBezTo>
                  <a:cubicBezTo>
                    <a:pt x="479" y="225"/>
                    <a:pt x="479" y="225"/>
                    <a:pt x="479" y="225"/>
                  </a:cubicBezTo>
                  <a:cubicBezTo>
                    <a:pt x="470" y="225"/>
                    <a:pt x="470" y="225"/>
                    <a:pt x="470" y="225"/>
                  </a:cubicBezTo>
                  <a:cubicBezTo>
                    <a:pt x="493" y="256"/>
                    <a:pt x="493" y="256"/>
                    <a:pt x="493" y="256"/>
                  </a:cubicBezTo>
                  <a:cubicBezTo>
                    <a:pt x="468" y="289"/>
                    <a:pt x="468" y="289"/>
                    <a:pt x="468" y="289"/>
                  </a:cubicBezTo>
                  <a:cubicBezTo>
                    <a:pt x="478" y="289"/>
                    <a:pt x="478" y="289"/>
                    <a:pt x="478" y="289"/>
                  </a:cubicBezTo>
                  <a:cubicBezTo>
                    <a:pt x="498" y="262"/>
                    <a:pt x="498" y="262"/>
                    <a:pt x="498" y="262"/>
                  </a:cubicBezTo>
                  <a:cubicBezTo>
                    <a:pt x="519" y="289"/>
                    <a:pt x="519" y="289"/>
                    <a:pt x="519" y="289"/>
                  </a:cubicBezTo>
                  <a:cubicBezTo>
                    <a:pt x="528" y="289"/>
                    <a:pt x="528" y="289"/>
                    <a:pt x="528" y="289"/>
                  </a:cubicBezTo>
                  <a:cubicBezTo>
                    <a:pt x="503" y="256"/>
                    <a:pt x="503" y="256"/>
                    <a:pt x="503" y="256"/>
                  </a:cubicBezTo>
                  <a:lnTo>
                    <a:pt x="527" y="225"/>
                  </a:lnTo>
                  <a:close/>
                  <a:moveTo>
                    <a:pt x="580" y="275"/>
                  </a:moveTo>
                  <a:cubicBezTo>
                    <a:pt x="543" y="225"/>
                    <a:pt x="543" y="225"/>
                    <a:pt x="543" y="225"/>
                  </a:cubicBezTo>
                  <a:cubicBezTo>
                    <a:pt x="535" y="225"/>
                    <a:pt x="535" y="225"/>
                    <a:pt x="535" y="225"/>
                  </a:cubicBezTo>
                  <a:cubicBezTo>
                    <a:pt x="535" y="289"/>
                    <a:pt x="535" y="289"/>
                    <a:pt x="535" y="289"/>
                  </a:cubicBezTo>
                  <a:cubicBezTo>
                    <a:pt x="543" y="289"/>
                    <a:pt x="543" y="289"/>
                    <a:pt x="543" y="289"/>
                  </a:cubicBezTo>
                  <a:cubicBezTo>
                    <a:pt x="543" y="238"/>
                    <a:pt x="543" y="238"/>
                    <a:pt x="543" y="238"/>
                  </a:cubicBezTo>
                  <a:cubicBezTo>
                    <a:pt x="580" y="289"/>
                    <a:pt x="580" y="289"/>
                    <a:pt x="580" y="289"/>
                  </a:cubicBezTo>
                  <a:cubicBezTo>
                    <a:pt x="588" y="289"/>
                    <a:pt x="588" y="289"/>
                    <a:pt x="588" y="289"/>
                  </a:cubicBezTo>
                  <a:cubicBezTo>
                    <a:pt x="588" y="225"/>
                    <a:pt x="588" y="225"/>
                    <a:pt x="588" y="225"/>
                  </a:cubicBezTo>
                  <a:cubicBezTo>
                    <a:pt x="580" y="225"/>
                    <a:pt x="580" y="225"/>
                    <a:pt x="580" y="225"/>
                  </a:cubicBezTo>
                  <a:lnTo>
                    <a:pt x="580" y="275"/>
                  </a:lnTo>
                  <a:close/>
                  <a:moveTo>
                    <a:pt x="600" y="289"/>
                  </a:moveTo>
                  <a:cubicBezTo>
                    <a:pt x="642" y="289"/>
                    <a:pt x="642" y="289"/>
                    <a:pt x="642" y="289"/>
                  </a:cubicBezTo>
                  <a:cubicBezTo>
                    <a:pt x="642" y="282"/>
                    <a:pt x="642" y="282"/>
                    <a:pt x="642" y="282"/>
                  </a:cubicBezTo>
                  <a:cubicBezTo>
                    <a:pt x="608" y="282"/>
                    <a:pt x="608" y="282"/>
                    <a:pt x="608" y="282"/>
                  </a:cubicBezTo>
                  <a:cubicBezTo>
                    <a:pt x="608" y="260"/>
                    <a:pt x="608" y="260"/>
                    <a:pt x="608" y="260"/>
                  </a:cubicBezTo>
                  <a:cubicBezTo>
                    <a:pt x="641" y="260"/>
                    <a:pt x="641" y="260"/>
                    <a:pt x="641" y="260"/>
                  </a:cubicBezTo>
                  <a:cubicBezTo>
                    <a:pt x="641" y="253"/>
                    <a:pt x="641" y="253"/>
                    <a:pt x="641" y="253"/>
                  </a:cubicBezTo>
                  <a:cubicBezTo>
                    <a:pt x="608" y="253"/>
                    <a:pt x="608" y="253"/>
                    <a:pt x="608" y="253"/>
                  </a:cubicBezTo>
                  <a:cubicBezTo>
                    <a:pt x="608" y="232"/>
                    <a:pt x="608" y="232"/>
                    <a:pt x="608" y="232"/>
                  </a:cubicBezTo>
                  <a:cubicBezTo>
                    <a:pt x="642" y="232"/>
                    <a:pt x="642" y="232"/>
                    <a:pt x="642" y="232"/>
                  </a:cubicBezTo>
                  <a:cubicBezTo>
                    <a:pt x="642" y="225"/>
                    <a:pt x="642" y="225"/>
                    <a:pt x="642" y="225"/>
                  </a:cubicBezTo>
                  <a:cubicBezTo>
                    <a:pt x="600" y="225"/>
                    <a:pt x="600" y="225"/>
                    <a:pt x="600" y="225"/>
                  </a:cubicBezTo>
                  <a:lnTo>
                    <a:pt x="600" y="289"/>
                  </a:lnTo>
                  <a:close/>
                  <a:moveTo>
                    <a:pt x="698" y="244"/>
                  </a:moveTo>
                  <a:cubicBezTo>
                    <a:pt x="698" y="233"/>
                    <a:pt x="690" y="225"/>
                    <a:pt x="678" y="225"/>
                  </a:cubicBezTo>
                  <a:cubicBezTo>
                    <a:pt x="652" y="225"/>
                    <a:pt x="652" y="225"/>
                    <a:pt x="652" y="225"/>
                  </a:cubicBezTo>
                  <a:cubicBezTo>
                    <a:pt x="652" y="289"/>
                    <a:pt x="652" y="289"/>
                    <a:pt x="652" y="289"/>
                  </a:cubicBezTo>
                  <a:cubicBezTo>
                    <a:pt x="660" y="289"/>
                    <a:pt x="660" y="289"/>
                    <a:pt x="660" y="289"/>
                  </a:cubicBezTo>
                  <a:cubicBezTo>
                    <a:pt x="660" y="264"/>
                    <a:pt x="660" y="264"/>
                    <a:pt x="660" y="264"/>
                  </a:cubicBezTo>
                  <a:cubicBezTo>
                    <a:pt x="673" y="264"/>
                    <a:pt x="673" y="264"/>
                    <a:pt x="673" y="264"/>
                  </a:cubicBezTo>
                  <a:cubicBezTo>
                    <a:pt x="689" y="289"/>
                    <a:pt x="689" y="289"/>
                    <a:pt x="689" y="289"/>
                  </a:cubicBezTo>
                  <a:cubicBezTo>
                    <a:pt x="699" y="289"/>
                    <a:pt x="699" y="289"/>
                    <a:pt x="699" y="289"/>
                  </a:cubicBezTo>
                  <a:cubicBezTo>
                    <a:pt x="682" y="263"/>
                    <a:pt x="682" y="263"/>
                    <a:pt x="682" y="263"/>
                  </a:cubicBezTo>
                  <a:cubicBezTo>
                    <a:pt x="690" y="262"/>
                    <a:pt x="698" y="256"/>
                    <a:pt x="698" y="244"/>
                  </a:cubicBezTo>
                  <a:close/>
                  <a:moveTo>
                    <a:pt x="660" y="257"/>
                  </a:moveTo>
                  <a:cubicBezTo>
                    <a:pt x="660" y="232"/>
                    <a:pt x="660" y="232"/>
                    <a:pt x="660" y="232"/>
                  </a:cubicBezTo>
                  <a:cubicBezTo>
                    <a:pt x="677" y="232"/>
                    <a:pt x="677" y="232"/>
                    <a:pt x="677" y="232"/>
                  </a:cubicBezTo>
                  <a:cubicBezTo>
                    <a:pt x="685" y="232"/>
                    <a:pt x="690" y="237"/>
                    <a:pt x="690" y="244"/>
                  </a:cubicBezTo>
                  <a:cubicBezTo>
                    <a:pt x="690" y="252"/>
                    <a:pt x="685" y="257"/>
                    <a:pt x="677" y="257"/>
                  </a:cubicBezTo>
                  <a:lnTo>
                    <a:pt x="660" y="257"/>
                  </a:lnTo>
                  <a:close/>
                  <a:moveTo>
                    <a:pt x="762" y="274"/>
                  </a:moveTo>
                  <a:cubicBezTo>
                    <a:pt x="742" y="225"/>
                    <a:pt x="742" y="225"/>
                    <a:pt x="742" y="225"/>
                  </a:cubicBezTo>
                  <a:cubicBezTo>
                    <a:pt x="731" y="225"/>
                    <a:pt x="731" y="225"/>
                    <a:pt x="731" y="225"/>
                  </a:cubicBezTo>
                  <a:cubicBezTo>
                    <a:pt x="731" y="289"/>
                    <a:pt x="731" y="289"/>
                    <a:pt x="731" y="289"/>
                  </a:cubicBezTo>
                  <a:cubicBezTo>
                    <a:pt x="739" y="289"/>
                    <a:pt x="739" y="289"/>
                    <a:pt x="739" y="289"/>
                  </a:cubicBezTo>
                  <a:cubicBezTo>
                    <a:pt x="739" y="235"/>
                    <a:pt x="739" y="235"/>
                    <a:pt x="739" y="235"/>
                  </a:cubicBezTo>
                  <a:cubicBezTo>
                    <a:pt x="761" y="289"/>
                    <a:pt x="761" y="289"/>
                    <a:pt x="761" y="289"/>
                  </a:cubicBezTo>
                  <a:cubicBezTo>
                    <a:pt x="764" y="289"/>
                    <a:pt x="764" y="289"/>
                    <a:pt x="764" y="289"/>
                  </a:cubicBezTo>
                  <a:cubicBezTo>
                    <a:pt x="786" y="235"/>
                    <a:pt x="786" y="235"/>
                    <a:pt x="786" y="235"/>
                  </a:cubicBezTo>
                  <a:cubicBezTo>
                    <a:pt x="786" y="289"/>
                    <a:pt x="786" y="289"/>
                    <a:pt x="786" y="289"/>
                  </a:cubicBezTo>
                  <a:cubicBezTo>
                    <a:pt x="794" y="289"/>
                    <a:pt x="794" y="289"/>
                    <a:pt x="794" y="289"/>
                  </a:cubicBezTo>
                  <a:cubicBezTo>
                    <a:pt x="794" y="225"/>
                    <a:pt x="794" y="225"/>
                    <a:pt x="794" y="225"/>
                  </a:cubicBezTo>
                  <a:cubicBezTo>
                    <a:pt x="782" y="225"/>
                    <a:pt x="782" y="225"/>
                    <a:pt x="782" y="225"/>
                  </a:cubicBezTo>
                  <a:lnTo>
                    <a:pt x="762" y="274"/>
                  </a:lnTo>
                  <a:close/>
                  <a:moveTo>
                    <a:pt x="806" y="289"/>
                  </a:moveTo>
                  <a:cubicBezTo>
                    <a:pt x="848" y="289"/>
                    <a:pt x="848" y="289"/>
                    <a:pt x="848" y="289"/>
                  </a:cubicBezTo>
                  <a:cubicBezTo>
                    <a:pt x="848" y="282"/>
                    <a:pt x="848" y="282"/>
                    <a:pt x="848" y="282"/>
                  </a:cubicBezTo>
                  <a:cubicBezTo>
                    <a:pt x="814" y="282"/>
                    <a:pt x="814" y="282"/>
                    <a:pt x="814" y="282"/>
                  </a:cubicBezTo>
                  <a:cubicBezTo>
                    <a:pt x="814" y="260"/>
                    <a:pt x="814" y="260"/>
                    <a:pt x="814" y="260"/>
                  </a:cubicBezTo>
                  <a:cubicBezTo>
                    <a:pt x="847" y="260"/>
                    <a:pt x="847" y="260"/>
                    <a:pt x="847" y="260"/>
                  </a:cubicBezTo>
                  <a:cubicBezTo>
                    <a:pt x="847" y="253"/>
                    <a:pt x="847" y="253"/>
                    <a:pt x="847" y="253"/>
                  </a:cubicBezTo>
                  <a:cubicBezTo>
                    <a:pt x="814" y="253"/>
                    <a:pt x="814" y="253"/>
                    <a:pt x="814" y="253"/>
                  </a:cubicBezTo>
                  <a:cubicBezTo>
                    <a:pt x="814" y="232"/>
                    <a:pt x="814" y="232"/>
                    <a:pt x="814" y="232"/>
                  </a:cubicBezTo>
                  <a:cubicBezTo>
                    <a:pt x="848" y="232"/>
                    <a:pt x="848" y="232"/>
                    <a:pt x="848" y="232"/>
                  </a:cubicBezTo>
                  <a:cubicBezTo>
                    <a:pt x="848" y="225"/>
                    <a:pt x="848" y="225"/>
                    <a:pt x="848" y="225"/>
                  </a:cubicBezTo>
                  <a:cubicBezTo>
                    <a:pt x="806" y="225"/>
                    <a:pt x="806" y="225"/>
                    <a:pt x="806" y="225"/>
                  </a:cubicBezTo>
                  <a:lnTo>
                    <a:pt x="806" y="289"/>
                  </a:lnTo>
                  <a:close/>
                  <a:moveTo>
                    <a:pt x="880" y="225"/>
                  </a:moveTo>
                  <a:cubicBezTo>
                    <a:pt x="858" y="225"/>
                    <a:pt x="858" y="225"/>
                    <a:pt x="858" y="225"/>
                  </a:cubicBezTo>
                  <a:cubicBezTo>
                    <a:pt x="858" y="289"/>
                    <a:pt x="858" y="289"/>
                    <a:pt x="858" y="289"/>
                  </a:cubicBezTo>
                  <a:cubicBezTo>
                    <a:pt x="880" y="289"/>
                    <a:pt x="880" y="289"/>
                    <a:pt x="880" y="289"/>
                  </a:cubicBezTo>
                  <a:cubicBezTo>
                    <a:pt x="900" y="289"/>
                    <a:pt x="913" y="275"/>
                    <a:pt x="913" y="257"/>
                  </a:cubicBezTo>
                  <a:cubicBezTo>
                    <a:pt x="913" y="239"/>
                    <a:pt x="900" y="225"/>
                    <a:pt x="880" y="225"/>
                  </a:cubicBezTo>
                  <a:close/>
                  <a:moveTo>
                    <a:pt x="880" y="282"/>
                  </a:moveTo>
                  <a:cubicBezTo>
                    <a:pt x="866" y="282"/>
                    <a:pt x="866" y="282"/>
                    <a:pt x="866" y="282"/>
                  </a:cubicBezTo>
                  <a:cubicBezTo>
                    <a:pt x="866" y="232"/>
                    <a:pt x="866" y="232"/>
                    <a:pt x="866" y="232"/>
                  </a:cubicBezTo>
                  <a:cubicBezTo>
                    <a:pt x="880" y="232"/>
                    <a:pt x="880" y="232"/>
                    <a:pt x="880" y="232"/>
                  </a:cubicBezTo>
                  <a:cubicBezTo>
                    <a:pt x="896" y="232"/>
                    <a:pt x="905" y="243"/>
                    <a:pt x="905" y="257"/>
                  </a:cubicBezTo>
                  <a:cubicBezTo>
                    <a:pt x="905" y="271"/>
                    <a:pt x="896" y="282"/>
                    <a:pt x="880" y="282"/>
                  </a:cubicBezTo>
                  <a:close/>
                  <a:moveTo>
                    <a:pt x="923" y="289"/>
                  </a:moveTo>
                  <a:cubicBezTo>
                    <a:pt x="931" y="289"/>
                    <a:pt x="931" y="289"/>
                    <a:pt x="931" y="289"/>
                  </a:cubicBezTo>
                  <a:cubicBezTo>
                    <a:pt x="931" y="225"/>
                    <a:pt x="931" y="225"/>
                    <a:pt x="931" y="225"/>
                  </a:cubicBezTo>
                  <a:cubicBezTo>
                    <a:pt x="923" y="225"/>
                    <a:pt x="923" y="225"/>
                    <a:pt x="923" y="225"/>
                  </a:cubicBezTo>
                  <a:lnTo>
                    <a:pt x="923" y="289"/>
                  </a:lnTo>
                  <a:close/>
                  <a:moveTo>
                    <a:pt x="974" y="283"/>
                  </a:moveTo>
                  <a:cubicBezTo>
                    <a:pt x="960" y="283"/>
                    <a:pt x="949" y="272"/>
                    <a:pt x="949" y="257"/>
                  </a:cubicBezTo>
                  <a:cubicBezTo>
                    <a:pt x="949" y="242"/>
                    <a:pt x="960" y="231"/>
                    <a:pt x="974" y="231"/>
                  </a:cubicBezTo>
                  <a:cubicBezTo>
                    <a:pt x="981" y="231"/>
                    <a:pt x="988" y="235"/>
                    <a:pt x="992" y="240"/>
                  </a:cubicBezTo>
                  <a:cubicBezTo>
                    <a:pt x="998" y="237"/>
                    <a:pt x="998" y="237"/>
                    <a:pt x="998" y="237"/>
                  </a:cubicBezTo>
                  <a:cubicBezTo>
                    <a:pt x="993" y="229"/>
                    <a:pt x="985" y="224"/>
                    <a:pt x="974" y="224"/>
                  </a:cubicBezTo>
                  <a:cubicBezTo>
                    <a:pt x="956" y="224"/>
                    <a:pt x="941" y="237"/>
                    <a:pt x="941" y="257"/>
                  </a:cubicBezTo>
                  <a:cubicBezTo>
                    <a:pt x="941" y="277"/>
                    <a:pt x="956" y="290"/>
                    <a:pt x="974" y="290"/>
                  </a:cubicBezTo>
                  <a:cubicBezTo>
                    <a:pt x="985" y="290"/>
                    <a:pt x="993" y="285"/>
                    <a:pt x="998" y="277"/>
                  </a:cubicBezTo>
                  <a:cubicBezTo>
                    <a:pt x="992" y="274"/>
                    <a:pt x="992" y="274"/>
                    <a:pt x="992" y="274"/>
                  </a:cubicBezTo>
                  <a:cubicBezTo>
                    <a:pt x="988" y="279"/>
                    <a:pt x="981" y="283"/>
                    <a:pt x="974" y="283"/>
                  </a:cubicBezTo>
                  <a:close/>
                  <a:moveTo>
                    <a:pt x="1025" y="225"/>
                  </a:moveTo>
                  <a:cubicBezTo>
                    <a:pt x="999" y="289"/>
                    <a:pt x="999" y="289"/>
                    <a:pt x="999" y="289"/>
                  </a:cubicBezTo>
                  <a:cubicBezTo>
                    <a:pt x="1008" y="289"/>
                    <a:pt x="1008" y="289"/>
                    <a:pt x="1008" y="289"/>
                  </a:cubicBezTo>
                  <a:cubicBezTo>
                    <a:pt x="1014" y="275"/>
                    <a:pt x="1014" y="275"/>
                    <a:pt x="1014" y="275"/>
                  </a:cubicBezTo>
                  <a:cubicBezTo>
                    <a:pt x="1046" y="275"/>
                    <a:pt x="1046" y="275"/>
                    <a:pt x="1046" y="275"/>
                  </a:cubicBezTo>
                  <a:cubicBezTo>
                    <a:pt x="1052" y="289"/>
                    <a:pt x="1052" y="289"/>
                    <a:pt x="1052" y="289"/>
                  </a:cubicBezTo>
                  <a:cubicBezTo>
                    <a:pt x="1061" y="289"/>
                    <a:pt x="1061" y="289"/>
                    <a:pt x="1061" y="289"/>
                  </a:cubicBezTo>
                  <a:cubicBezTo>
                    <a:pt x="1035" y="225"/>
                    <a:pt x="1035" y="225"/>
                    <a:pt x="1035" y="225"/>
                  </a:cubicBezTo>
                  <a:lnTo>
                    <a:pt x="1025" y="225"/>
                  </a:lnTo>
                  <a:close/>
                  <a:moveTo>
                    <a:pt x="1017" y="268"/>
                  </a:moveTo>
                  <a:cubicBezTo>
                    <a:pt x="1030" y="233"/>
                    <a:pt x="1030" y="233"/>
                    <a:pt x="1030" y="233"/>
                  </a:cubicBezTo>
                  <a:cubicBezTo>
                    <a:pt x="1044" y="268"/>
                    <a:pt x="1044" y="268"/>
                    <a:pt x="1044" y="268"/>
                  </a:cubicBezTo>
                  <a:lnTo>
                    <a:pt x="1017" y="268"/>
                  </a:lnTo>
                  <a:close/>
                  <a:moveTo>
                    <a:pt x="1074" y="225"/>
                  </a:moveTo>
                  <a:cubicBezTo>
                    <a:pt x="1066" y="225"/>
                    <a:pt x="1066" y="225"/>
                    <a:pt x="1066" y="225"/>
                  </a:cubicBezTo>
                  <a:cubicBezTo>
                    <a:pt x="1066" y="289"/>
                    <a:pt x="1066" y="289"/>
                    <a:pt x="1066" y="289"/>
                  </a:cubicBezTo>
                  <a:cubicBezTo>
                    <a:pt x="1103" y="289"/>
                    <a:pt x="1103" y="289"/>
                    <a:pt x="1103" y="289"/>
                  </a:cubicBezTo>
                  <a:cubicBezTo>
                    <a:pt x="1103" y="282"/>
                    <a:pt x="1103" y="282"/>
                    <a:pt x="1103" y="282"/>
                  </a:cubicBezTo>
                  <a:cubicBezTo>
                    <a:pt x="1074" y="282"/>
                    <a:pt x="1074" y="282"/>
                    <a:pt x="1074" y="282"/>
                  </a:cubicBezTo>
                  <a:lnTo>
                    <a:pt x="1074" y="225"/>
                  </a:lnTo>
                  <a:close/>
                  <a:moveTo>
                    <a:pt x="1157" y="283"/>
                  </a:moveTo>
                  <a:cubicBezTo>
                    <a:pt x="1143" y="283"/>
                    <a:pt x="1133" y="272"/>
                    <a:pt x="1133" y="257"/>
                  </a:cubicBezTo>
                  <a:cubicBezTo>
                    <a:pt x="1133" y="242"/>
                    <a:pt x="1143" y="231"/>
                    <a:pt x="1157" y="231"/>
                  </a:cubicBezTo>
                  <a:cubicBezTo>
                    <a:pt x="1165" y="231"/>
                    <a:pt x="1171" y="235"/>
                    <a:pt x="1175" y="240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76" y="229"/>
                    <a:pt x="1169" y="224"/>
                    <a:pt x="1157" y="224"/>
                  </a:cubicBezTo>
                  <a:cubicBezTo>
                    <a:pt x="1139" y="224"/>
                    <a:pt x="1124" y="237"/>
                    <a:pt x="1124" y="257"/>
                  </a:cubicBezTo>
                  <a:cubicBezTo>
                    <a:pt x="1124" y="277"/>
                    <a:pt x="1139" y="290"/>
                    <a:pt x="1157" y="290"/>
                  </a:cubicBezTo>
                  <a:cubicBezTo>
                    <a:pt x="1169" y="290"/>
                    <a:pt x="1176" y="285"/>
                    <a:pt x="1182" y="277"/>
                  </a:cubicBezTo>
                  <a:cubicBezTo>
                    <a:pt x="1175" y="274"/>
                    <a:pt x="1175" y="274"/>
                    <a:pt x="1175" y="274"/>
                  </a:cubicBezTo>
                  <a:cubicBezTo>
                    <a:pt x="1171" y="279"/>
                    <a:pt x="1165" y="283"/>
                    <a:pt x="1157" y="283"/>
                  </a:cubicBezTo>
                  <a:close/>
                  <a:moveTo>
                    <a:pt x="1189" y="289"/>
                  </a:moveTo>
                  <a:cubicBezTo>
                    <a:pt x="1231" y="289"/>
                    <a:pt x="1231" y="289"/>
                    <a:pt x="1231" y="289"/>
                  </a:cubicBezTo>
                  <a:cubicBezTo>
                    <a:pt x="1231" y="282"/>
                    <a:pt x="1231" y="282"/>
                    <a:pt x="1231" y="282"/>
                  </a:cubicBezTo>
                  <a:cubicBezTo>
                    <a:pt x="1197" y="282"/>
                    <a:pt x="1197" y="282"/>
                    <a:pt x="1197" y="282"/>
                  </a:cubicBezTo>
                  <a:cubicBezTo>
                    <a:pt x="1197" y="260"/>
                    <a:pt x="1197" y="260"/>
                    <a:pt x="1197" y="260"/>
                  </a:cubicBezTo>
                  <a:cubicBezTo>
                    <a:pt x="1231" y="260"/>
                    <a:pt x="1231" y="260"/>
                    <a:pt x="1231" y="260"/>
                  </a:cubicBezTo>
                  <a:cubicBezTo>
                    <a:pt x="1231" y="253"/>
                    <a:pt x="1231" y="253"/>
                    <a:pt x="1231" y="253"/>
                  </a:cubicBezTo>
                  <a:cubicBezTo>
                    <a:pt x="1197" y="253"/>
                    <a:pt x="1197" y="253"/>
                    <a:pt x="1197" y="253"/>
                  </a:cubicBezTo>
                  <a:cubicBezTo>
                    <a:pt x="1197" y="232"/>
                    <a:pt x="1197" y="232"/>
                    <a:pt x="1197" y="232"/>
                  </a:cubicBezTo>
                  <a:cubicBezTo>
                    <a:pt x="1231" y="232"/>
                    <a:pt x="1231" y="232"/>
                    <a:pt x="1231" y="232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189" y="225"/>
                    <a:pt x="1189" y="225"/>
                    <a:pt x="1189" y="225"/>
                  </a:cubicBezTo>
                  <a:lnTo>
                    <a:pt x="1189" y="289"/>
                  </a:lnTo>
                  <a:close/>
                  <a:moveTo>
                    <a:pt x="1287" y="275"/>
                  </a:moveTo>
                  <a:cubicBezTo>
                    <a:pt x="1250" y="225"/>
                    <a:pt x="1250" y="225"/>
                    <a:pt x="1250" y="225"/>
                  </a:cubicBezTo>
                  <a:cubicBezTo>
                    <a:pt x="1242" y="225"/>
                    <a:pt x="1242" y="225"/>
                    <a:pt x="1242" y="225"/>
                  </a:cubicBezTo>
                  <a:cubicBezTo>
                    <a:pt x="1242" y="289"/>
                    <a:pt x="1242" y="289"/>
                    <a:pt x="1242" y="289"/>
                  </a:cubicBezTo>
                  <a:cubicBezTo>
                    <a:pt x="1250" y="289"/>
                    <a:pt x="1250" y="289"/>
                    <a:pt x="1250" y="289"/>
                  </a:cubicBezTo>
                  <a:cubicBezTo>
                    <a:pt x="1250" y="238"/>
                    <a:pt x="1250" y="238"/>
                    <a:pt x="1250" y="238"/>
                  </a:cubicBezTo>
                  <a:cubicBezTo>
                    <a:pt x="1287" y="289"/>
                    <a:pt x="1287" y="289"/>
                    <a:pt x="1287" y="289"/>
                  </a:cubicBezTo>
                  <a:cubicBezTo>
                    <a:pt x="1295" y="289"/>
                    <a:pt x="1295" y="289"/>
                    <a:pt x="1295" y="289"/>
                  </a:cubicBezTo>
                  <a:cubicBezTo>
                    <a:pt x="1295" y="225"/>
                    <a:pt x="1295" y="225"/>
                    <a:pt x="1295" y="225"/>
                  </a:cubicBezTo>
                  <a:cubicBezTo>
                    <a:pt x="1287" y="225"/>
                    <a:pt x="1287" y="225"/>
                    <a:pt x="1287" y="225"/>
                  </a:cubicBezTo>
                  <a:lnTo>
                    <a:pt x="1287" y="275"/>
                  </a:lnTo>
                  <a:close/>
                  <a:moveTo>
                    <a:pt x="1303" y="232"/>
                  </a:moveTo>
                  <a:cubicBezTo>
                    <a:pt x="1323" y="232"/>
                    <a:pt x="1323" y="232"/>
                    <a:pt x="1323" y="232"/>
                  </a:cubicBezTo>
                  <a:cubicBezTo>
                    <a:pt x="1323" y="289"/>
                    <a:pt x="1323" y="289"/>
                    <a:pt x="1323" y="289"/>
                  </a:cubicBezTo>
                  <a:cubicBezTo>
                    <a:pt x="1331" y="289"/>
                    <a:pt x="1331" y="289"/>
                    <a:pt x="1331" y="289"/>
                  </a:cubicBezTo>
                  <a:cubicBezTo>
                    <a:pt x="1331" y="232"/>
                    <a:pt x="1331" y="232"/>
                    <a:pt x="1331" y="232"/>
                  </a:cubicBezTo>
                  <a:cubicBezTo>
                    <a:pt x="1351" y="232"/>
                    <a:pt x="1351" y="232"/>
                    <a:pt x="1351" y="232"/>
                  </a:cubicBezTo>
                  <a:cubicBezTo>
                    <a:pt x="1351" y="225"/>
                    <a:pt x="1351" y="225"/>
                    <a:pt x="1351" y="225"/>
                  </a:cubicBezTo>
                  <a:cubicBezTo>
                    <a:pt x="1303" y="225"/>
                    <a:pt x="1303" y="225"/>
                    <a:pt x="1303" y="225"/>
                  </a:cubicBezTo>
                  <a:lnTo>
                    <a:pt x="1303" y="232"/>
                  </a:lnTo>
                  <a:close/>
                  <a:moveTo>
                    <a:pt x="1360" y="289"/>
                  </a:moveTo>
                  <a:cubicBezTo>
                    <a:pt x="1401" y="289"/>
                    <a:pt x="1401" y="289"/>
                    <a:pt x="1401" y="289"/>
                  </a:cubicBezTo>
                  <a:cubicBezTo>
                    <a:pt x="1401" y="282"/>
                    <a:pt x="1401" y="282"/>
                    <a:pt x="1401" y="282"/>
                  </a:cubicBezTo>
                  <a:cubicBezTo>
                    <a:pt x="1367" y="282"/>
                    <a:pt x="1367" y="282"/>
                    <a:pt x="1367" y="282"/>
                  </a:cubicBezTo>
                  <a:cubicBezTo>
                    <a:pt x="1367" y="260"/>
                    <a:pt x="1367" y="260"/>
                    <a:pt x="1367" y="260"/>
                  </a:cubicBezTo>
                  <a:cubicBezTo>
                    <a:pt x="1401" y="260"/>
                    <a:pt x="1401" y="260"/>
                    <a:pt x="1401" y="260"/>
                  </a:cubicBezTo>
                  <a:cubicBezTo>
                    <a:pt x="1401" y="253"/>
                    <a:pt x="1401" y="253"/>
                    <a:pt x="1401" y="253"/>
                  </a:cubicBezTo>
                  <a:cubicBezTo>
                    <a:pt x="1367" y="253"/>
                    <a:pt x="1367" y="253"/>
                    <a:pt x="1367" y="253"/>
                  </a:cubicBezTo>
                  <a:cubicBezTo>
                    <a:pt x="1367" y="232"/>
                    <a:pt x="1367" y="232"/>
                    <a:pt x="1367" y="232"/>
                  </a:cubicBezTo>
                  <a:cubicBezTo>
                    <a:pt x="1401" y="232"/>
                    <a:pt x="1401" y="232"/>
                    <a:pt x="1401" y="232"/>
                  </a:cubicBezTo>
                  <a:cubicBezTo>
                    <a:pt x="1401" y="225"/>
                    <a:pt x="1401" y="225"/>
                    <a:pt x="1401" y="225"/>
                  </a:cubicBezTo>
                  <a:cubicBezTo>
                    <a:pt x="1360" y="225"/>
                    <a:pt x="1360" y="225"/>
                    <a:pt x="1360" y="225"/>
                  </a:cubicBezTo>
                  <a:lnTo>
                    <a:pt x="1360" y="289"/>
                  </a:lnTo>
                  <a:close/>
                  <a:moveTo>
                    <a:pt x="1458" y="244"/>
                  </a:moveTo>
                  <a:cubicBezTo>
                    <a:pt x="1458" y="233"/>
                    <a:pt x="1449" y="225"/>
                    <a:pt x="1437" y="225"/>
                  </a:cubicBezTo>
                  <a:cubicBezTo>
                    <a:pt x="1412" y="225"/>
                    <a:pt x="1412" y="225"/>
                    <a:pt x="1412" y="225"/>
                  </a:cubicBezTo>
                  <a:cubicBezTo>
                    <a:pt x="1412" y="289"/>
                    <a:pt x="1412" y="289"/>
                    <a:pt x="1412" y="289"/>
                  </a:cubicBezTo>
                  <a:cubicBezTo>
                    <a:pt x="1420" y="289"/>
                    <a:pt x="1420" y="289"/>
                    <a:pt x="1420" y="289"/>
                  </a:cubicBezTo>
                  <a:cubicBezTo>
                    <a:pt x="1420" y="264"/>
                    <a:pt x="1420" y="264"/>
                    <a:pt x="1420" y="264"/>
                  </a:cubicBezTo>
                  <a:cubicBezTo>
                    <a:pt x="1433" y="264"/>
                    <a:pt x="1433" y="264"/>
                    <a:pt x="1433" y="264"/>
                  </a:cubicBezTo>
                  <a:cubicBezTo>
                    <a:pt x="1449" y="289"/>
                    <a:pt x="1449" y="289"/>
                    <a:pt x="1449" y="289"/>
                  </a:cubicBezTo>
                  <a:cubicBezTo>
                    <a:pt x="1458" y="289"/>
                    <a:pt x="1458" y="289"/>
                    <a:pt x="1458" y="289"/>
                  </a:cubicBezTo>
                  <a:cubicBezTo>
                    <a:pt x="1441" y="263"/>
                    <a:pt x="1441" y="263"/>
                    <a:pt x="1441" y="263"/>
                  </a:cubicBezTo>
                  <a:cubicBezTo>
                    <a:pt x="1450" y="262"/>
                    <a:pt x="1458" y="256"/>
                    <a:pt x="1458" y="244"/>
                  </a:cubicBezTo>
                  <a:close/>
                  <a:moveTo>
                    <a:pt x="1420" y="257"/>
                  </a:moveTo>
                  <a:cubicBezTo>
                    <a:pt x="1420" y="232"/>
                    <a:pt x="1420" y="232"/>
                    <a:pt x="1420" y="232"/>
                  </a:cubicBezTo>
                  <a:cubicBezTo>
                    <a:pt x="1437" y="232"/>
                    <a:pt x="1437" y="232"/>
                    <a:pt x="1437" y="232"/>
                  </a:cubicBezTo>
                  <a:cubicBezTo>
                    <a:pt x="1444" y="232"/>
                    <a:pt x="1449" y="237"/>
                    <a:pt x="1449" y="244"/>
                  </a:cubicBezTo>
                  <a:cubicBezTo>
                    <a:pt x="1449" y="252"/>
                    <a:pt x="1444" y="257"/>
                    <a:pt x="1437" y="257"/>
                  </a:cubicBezTo>
                  <a:lnTo>
                    <a:pt x="1420" y="257"/>
                  </a:lnTo>
                  <a:close/>
                  <a:moveTo>
                    <a:pt x="59" y="0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58" y="312"/>
                    <a:pt x="58" y="312"/>
                    <a:pt x="58" y="312"/>
                  </a:cubicBezTo>
                  <a:cubicBezTo>
                    <a:pt x="180" y="312"/>
                    <a:pt x="180" y="312"/>
                    <a:pt x="180" y="312"/>
                  </a:cubicBezTo>
                  <a:cubicBezTo>
                    <a:pt x="239" y="253"/>
                    <a:pt x="239" y="253"/>
                    <a:pt x="239" y="25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180" y="0"/>
                    <a:pt x="180" y="0"/>
                    <a:pt x="180" y="0"/>
                  </a:cubicBezTo>
                  <a:lnTo>
                    <a:pt x="59" y="0"/>
                  </a:lnTo>
                  <a:close/>
                  <a:moveTo>
                    <a:pt x="233" y="251"/>
                  </a:moveTo>
                  <a:cubicBezTo>
                    <a:pt x="178" y="307"/>
                    <a:pt x="178" y="307"/>
                    <a:pt x="178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5" y="251"/>
                    <a:pt x="5" y="251"/>
                    <a:pt x="5" y="25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233" y="60"/>
                    <a:pt x="233" y="60"/>
                    <a:pt x="233" y="60"/>
                  </a:cubicBezTo>
                  <a:lnTo>
                    <a:pt x="233" y="251"/>
                  </a:lnTo>
                  <a:close/>
                  <a:moveTo>
                    <a:pt x="89" y="75"/>
                  </a:moveTo>
                  <a:cubicBezTo>
                    <a:pt x="73" y="91"/>
                    <a:pt x="73" y="91"/>
                    <a:pt x="73" y="91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89" y="238"/>
                    <a:pt x="89" y="238"/>
                    <a:pt x="89" y="238"/>
                  </a:cubicBezTo>
                  <a:cubicBezTo>
                    <a:pt x="150" y="238"/>
                    <a:pt x="150" y="238"/>
                    <a:pt x="150" y="238"/>
                  </a:cubicBezTo>
                  <a:cubicBezTo>
                    <a:pt x="165" y="222"/>
                    <a:pt x="165" y="222"/>
                    <a:pt x="165" y="222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49" y="75"/>
                    <a:pt x="149" y="75"/>
                    <a:pt x="149" y="75"/>
                  </a:cubicBezTo>
                  <a:lnTo>
                    <a:pt x="89" y="75"/>
                  </a:lnTo>
                  <a:close/>
                  <a:moveTo>
                    <a:pt x="160" y="220"/>
                  </a:moveTo>
                  <a:cubicBezTo>
                    <a:pt x="147" y="233"/>
                    <a:pt x="147" y="233"/>
                    <a:pt x="147" y="233"/>
                  </a:cubicBezTo>
                  <a:cubicBezTo>
                    <a:pt x="91" y="233"/>
                    <a:pt x="91" y="233"/>
                    <a:pt x="91" y="233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9" y="93"/>
                    <a:pt x="79" y="93"/>
                    <a:pt x="79" y="93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60" y="93"/>
                    <a:pt x="160" y="93"/>
                    <a:pt x="160" y="93"/>
                  </a:cubicBezTo>
                  <a:lnTo>
                    <a:pt x="160" y="220"/>
                  </a:lnTo>
                  <a:close/>
                  <a:moveTo>
                    <a:pt x="318" y="169"/>
                  </a:moveTo>
                  <a:cubicBezTo>
                    <a:pt x="318" y="174"/>
                    <a:pt x="318" y="174"/>
                    <a:pt x="318" y="174"/>
                  </a:cubicBezTo>
                  <a:cubicBezTo>
                    <a:pt x="2178" y="174"/>
                    <a:pt x="2178" y="174"/>
                    <a:pt x="2178" y="174"/>
                  </a:cubicBezTo>
                  <a:cubicBezTo>
                    <a:pt x="2178" y="169"/>
                    <a:pt x="2178" y="169"/>
                    <a:pt x="2178" y="169"/>
                  </a:cubicBezTo>
                  <a:lnTo>
                    <a:pt x="318" y="169"/>
                  </a:lnTo>
                  <a:close/>
                  <a:moveTo>
                    <a:pt x="1628" y="109"/>
                  </a:moveTo>
                  <a:cubicBezTo>
                    <a:pt x="1616" y="107"/>
                    <a:pt x="1616" y="107"/>
                    <a:pt x="1616" y="107"/>
                  </a:cubicBezTo>
                  <a:cubicBezTo>
                    <a:pt x="1616" y="48"/>
                    <a:pt x="1616" y="48"/>
                    <a:pt x="1616" y="48"/>
                  </a:cubicBezTo>
                  <a:cubicBezTo>
                    <a:pt x="1628" y="46"/>
                    <a:pt x="1628" y="46"/>
                    <a:pt x="1628" y="46"/>
                  </a:cubicBezTo>
                  <a:cubicBezTo>
                    <a:pt x="1628" y="39"/>
                    <a:pt x="1628" y="39"/>
                    <a:pt x="1628" y="39"/>
                  </a:cubicBezTo>
                  <a:cubicBezTo>
                    <a:pt x="1587" y="39"/>
                    <a:pt x="1587" y="39"/>
                    <a:pt x="1587" y="39"/>
                  </a:cubicBezTo>
                  <a:cubicBezTo>
                    <a:pt x="1587" y="46"/>
                    <a:pt x="1587" y="46"/>
                    <a:pt x="1587" y="46"/>
                  </a:cubicBezTo>
                  <a:cubicBezTo>
                    <a:pt x="1599" y="48"/>
                    <a:pt x="1599" y="48"/>
                    <a:pt x="1599" y="48"/>
                  </a:cubicBezTo>
                  <a:cubicBezTo>
                    <a:pt x="1599" y="107"/>
                    <a:pt x="1599" y="107"/>
                    <a:pt x="1599" y="107"/>
                  </a:cubicBezTo>
                  <a:cubicBezTo>
                    <a:pt x="1587" y="109"/>
                    <a:pt x="1587" y="109"/>
                    <a:pt x="1587" y="109"/>
                  </a:cubicBezTo>
                  <a:cubicBezTo>
                    <a:pt x="1587" y="116"/>
                    <a:pt x="1587" y="116"/>
                    <a:pt x="1587" y="116"/>
                  </a:cubicBezTo>
                  <a:cubicBezTo>
                    <a:pt x="1628" y="116"/>
                    <a:pt x="1628" y="116"/>
                    <a:pt x="1628" y="116"/>
                  </a:cubicBezTo>
                  <a:lnTo>
                    <a:pt x="1628" y="109"/>
                  </a:lnTo>
                  <a:close/>
                  <a:moveTo>
                    <a:pt x="1526" y="109"/>
                  </a:moveTo>
                  <a:cubicBezTo>
                    <a:pt x="1515" y="107"/>
                    <a:pt x="1515" y="107"/>
                    <a:pt x="1515" y="107"/>
                  </a:cubicBezTo>
                  <a:cubicBezTo>
                    <a:pt x="1515" y="61"/>
                    <a:pt x="1515" y="61"/>
                    <a:pt x="1515" y="61"/>
                  </a:cubicBezTo>
                  <a:cubicBezTo>
                    <a:pt x="1553" y="116"/>
                    <a:pt x="1553" y="116"/>
                    <a:pt x="1553" y="116"/>
                  </a:cubicBezTo>
                  <a:cubicBezTo>
                    <a:pt x="1567" y="116"/>
                    <a:pt x="1567" y="116"/>
                    <a:pt x="1567" y="116"/>
                  </a:cubicBezTo>
                  <a:cubicBezTo>
                    <a:pt x="1567" y="48"/>
                    <a:pt x="1567" y="48"/>
                    <a:pt x="1567" y="48"/>
                  </a:cubicBezTo>
                  <a:cubicBezTo>
                    <a:pt x="1578" y="46"/>
                    <a:pt x="1578" y="46"/>
                    <a:pt x="1578" y="46"/>
                  </a:cubicBezTo>
                  <a:cubicBezTo>
                    <a:pt x="1578" y="39"/>
                    <a:pt x="1578" y="39"/>
                    <a:pt x="1578" y="39"/>
                  </a:cubicBezTo>
                  <a:cubicBezTo>
                    <a:pt x="1544" y="39"/>
                    <a:pt x="1544" y="39"/>
                    <a:pt x="1544" y="39"/>
                  </a:cubicBezTo>
                  <a:cubicBezTo>
                    <a:pt x="1544" y="46"/>
                    <a:pt x="1544" y="46"/>
                    <a:pt x="1544" y="46"/>
                  </a:cubicBezTo>
                  <a:cubicBezTo>
                    <a:pt x="1556" y="48"/>
                    <a:pt x="1556" y="48"/>
                    <a:pt x="1556" y="48"/>
                  </a:cubicBezTo>
                  <a:cubicBezTo>
                    <a:pt x="1556" y="91"/>
                    <a:pt x="1556" y="91"/>
                    <a:pt x="1556" y="91"/>
                  </a:cubicBezTo>
                  <a:cubicBezTo>
                    <a:pt x="1518" y="39"/>
                    <a:pt x="1518" y="39"/>
                    <a:pt x="1518" y="39"/>
                  </a:cubicBezTo>
                  <a:cubicBezTo>
                    <a:pt x="1492" y="39"/>
                    <a:pt x="1492" y="39"/>
                    <a:pt x="1492" y="39"/>
                  </a:cubicBezTo>
                  <a:cubicBezTo>
                    <a:pt x="1492" y="46"/>
                    <a:pt x="1492" y="46"/>
                    <a:pt x="1492" y="46"/>
                  </a:cubicBezTo>
                  <a:cubicBezTo>
                    <a:pt x="1503" y="48"/>
                    <a:pt x="1503" y="48"/>
                    <a:pt x="1503" y="48"/>
                  </a:cubicBezTo>
                  <a:cubicBezTo>
                    <a:pt x="1503" y="107"/>
                    <a:pt x="1503" y="107"/>
                    <a:pt x="1503" y="107"/>
                  </a:cubicBezTo>
                  <a:cubicBezTo>
                    <a:pt x="1492" y="109"/>
                    <a:pt x="1492" y="109"/>
                    <a:pt x="1492" y="109"/>
                  </a:cubicBezTo>
                  <a:cubicBezTo>
                    <a:pt x="1492" y="116"/>
                    <a:pt x="1492" y="116"/>
                    <a:pt x="1492" y="116"/>
                  </a:cubicBezTo>
                  <a:cubicBezTo>
                    <a:pt x="1526" y="116"/>
                    <a:pt x="1526" y="116"/>
                    <a:pt x="1526" y="116"/>
                  </a:cubicBezTo>
                  <a:lnTo>
                    <a:pt x="1526" y="109"/>
                  </a:lnTo>
                  <a:close/>
                  <a:moveTo>
                    <a:pt x="1400" y="76"/>
                  </a:moveTo>
                  <a:cubicBezTo>
                    <a:pt x="1400" y="86"/>
                    <a:pt x="1399" y="99"/>
                    <a:pt x="1407" y="107"/>
                  </a:cubicBezTo>
                  <a:cubicBezTo>
                    <a:pt x="1414" y="114"/>
                    <a:pt x="1424" y="117"/>
                    <a:pt x="1438" y="117"/>
                  </a:cubicBezTo>
                  <a:cubicBezTo>
                    <a:pt x="1451" y="117"/>
                    <a:pt x="1461" y="115"/>
                    <a:pt x="1466" y="109"/>
                  </a:cubicBezTo>
                  <a:cubicBezTo>
                    <a:pt x="1474" y="101"/>
                    <a:pt x="1475" y="94"/>
                    <a:pt x="1475" y="77"/>
                  </a:cubicBezTo>
                  <a:cubicBezTo>
                    <a:pt x="1475" y="27"/>
                    <a:pt x="1475" y="27"/>
                    <a:pt x="1475" y="27"/>
                  </a:cubicBezTo>
                  <a:cubicBezTo>
                    <a:pt x="1487" y="26"/>
                    <a:pt x="1487" y="26"/>
                    <a:pt x="1487" y="26"/>
                  </a:cubicBezTo>
                  <a:cubicBezTo>
                    <a:pt x="1487" y="18"/>
                    <a:pt x="1487" y="18"/>
                    <a:pt x="1487" y="18"/>
                  </a:cubicBezTo>
                  <a:cubicBezTo>
                    <a:pt x="1452" y="18"/>
                    <a:pt x="1452" y="18"/>
                    <a:pt x="1452" y="18"/>
                  </a:cubicBezTo>
                  <a:cubicBezTo>
                    <a:pt x="1452" y="26"/>
                    <a:pt x="1452" y="26"/>
                    <a:pt x="1452" y="26"/>
                  </a:cubicBezTo>
                  <a:cubicBezTo>
                    <a:pt x="1463" y="27"/>
                    <a:pt x="1463" y="27"/>
                    <a:pt x="1463" y="27"/>
                  </a:cubicBezTo>
                  <a:cubicBezTo>
                    <a:pt x="1463" y="84"/>
                    <a:pt x="1463" y="84"/>
                    <a:pt x="1463" y="84"/>
                  </a:cubicBezTo>
                  <a:cubicBezTo>
                    <a:pt x="1463" y="92"/>
                    <a:pt x="1461" y="97"/>
                    <a:pt x="1458" y="101"/>
                  </a:cubicBezTo>
                  <a:cubicBezTo>
                    <a:pt x="1454" y="105"/>
                    <a:pt x="1448" y="107"/>
                    <a:pt x="1441" y="107"/>
                  </a:cubicBezTo>
                  <a:cubicBezTo>
                    <a:pt x="1427" y="107"/>
                    <a:pt x="1418" y="100"/>
                    <a:pt x="1418" y="84"/>
                  </a:cubicBezTo>
                  <a:cubicBezTo>
                    <a:pt x="1418" y="27"/>
                    <a:pt x="1418" y="27"/>
                    <a:pt x="1418" y="27"/>
                  </a:cubicBezTo>
                  <a:cubicBezTo>
                    <a:pt x="1430" y="26"/>
                    <a:pt x="1430" y="26"/>
                    <a:pt x="1430" y="26"/>
                  </a:cubicBezTo>
                  <a:cubicBezTo>
                    <a:pt x="1430" y="18"/>
                    <a:pt x="1430" y="18"/>
                    <a:pt x="1430" y="18"/>
                  </a:cubicBezTo>
                  <a:cubicBezTo>
                    <a:pt x="1388" y="18"/>
                    <a:pt x="1388" y="18"/>
                    <a:pt x="1388" y="18"/>
                  </a:cubicBezTo>
                  <a:cubicBezTo>
                    <a:pt x="1388" y="26"/>
                    <a:pt x="1388" y="26"/>
                    <a:pt x="1388" y="26"/>
                  </a:cubicBezTo>
                  <a:cubicBezTo>
                    <a:pt x="1400" y="27"/>
                    <a:pt x="1400" y="27"/>
                    <a:pt x="1400" y="27"/>
                  </a:cubicBezTo>
                  <a:lnTo>
                    <a:pt x="1400" y="76"/>
                  </a:lnTo>
                  <a:close/>
                  <a:moveTo>
                    <a:pt x="1671" y="116"/>
                  </a:moveTo>
                  <a:cubicBezTo>
                    <a:pt x="1687" y="116"/>
                    <a:pt x="1687" y="116"/>
                    <a:pt x="1687" y="116"/>
                  </a:cubicBezTo>
                  <a:cubicBezTo>
                    <a:pt x="1713" y="48"/>
                    <a:pt x="1713" y="48"/>
                    <a:pt x="1713" y="48"/>
                  </a:cubicBezTo>
                  <a:cubicBezTo>
                    <a:pt x="1724" y="46"/>
                    <a:pt x="1724" y="46"/>
                    <a:pt x="1724" y="46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690" y="39"/>
                    <a:pt x="1690" y="39"/>
                    <a:pt x="1690" y="39"/>
                  </a:cubicBezTo>
                  <a:cubicBezTo>
                    <a:pt x="1690" y="46"/>
                    <a:pt x="1690" y="46"/>
                    <a:pt x="1690" y="46"/>
                  </a:cubicBezTo>
                  <a:cubicBezTo>
                    <a:pt x="1701" y="48"/>
                    <a:pt x="1701" y="48"/>
                    <a:pt x="1701" y="48"/>
                  </a:cubicBezTo>
                  <a:cubicBezTo>
                    <a:pt x="1682" y="100"/>
                    <a:pt x="1682" y="100"/>
                    <a:pt x="1682" y="100"/>
                  </a:cubicBezTo>
                  <a:cubicBezTo>
                    <a:pt x="1663" y="48"/>
                    <a:pt x="1663" y="48"/>
                    <a:pt x="1663" y="48"/>
                  </a:cubicBezTo>
                  <a:cubicBezTo>
                    <a:pt x="1674" y="46"/>
                    <a:pt x="1674" y="46"/>
                    <a:pt x="1674" y="46"/>
                  </a:cubicBezTo>
                  <a:cubicBezTo>
                    <a:pt x="1674" y="39"/>
                    <a:pt x="1674" y="39"/>
                    <a:pt x="1674" y="39"/>
                  </a:cubicBezTo>
                  <a:cubicBezTo>
                    <a:pt x="1634" y="39"/>
                    <a:pt x="1634" y="39"/>
                    <a:pt x="1634" y="39"/>
                  </a:cubicBezTo>
                  <a:cubicBezTo>
                    <a:pt x="1634" y="46"/>
                    <a:pt x="1634" y="46"/>
                    <a:pt x="1634" y="46"/>
                  </a:cubicBezTo>
                  <a:cubicBezTo>
                    <a:pt x="1645" y="48"/>
                    <a:pt x="1645" y="48"/>
                    <a:pt x="1645" y="48"/>
                  </a:cubicBezTo>
                  <a:lnTo>
                    <a:pt x="1671" y="116"/>
                  </a:lnTo>
                  <a:close/>
                  <a:moveTo>
                    <a:pt x="2003" y="109"/>
                  </a:moveTo>
                  <a:cubicBezTo>
                    <a:pt x="1992" y="107"/>
                    <a:pt x="1992" y="107"/>
                    <a:pt x="1992" y="107"/>
                  </a:cubicBezTo>
                  <a:cubicBezTo>
                    <a:pt x="1992" y="48"/>
                    <a:pt x="1992" y="48"/>
                    <a:pt x="1992" y="48"/>
                  </a:cubicBezTo>
                  <a:cubicBezTo>
                    <a:pt x="2003" y="46"/>
                    <a:pt x="2003" y="46"/>
                    <a:pt x="2003" y="46"/>
                  </a:cubicBezTo>
                  <a:cubicBezTo>
                    <a:pt x="2003" y="39"/>
                    <a:pt x="2003" y="39"/>
                    <a:pt x="2003" y="39"/>
                  </a:cubicBezTo>
                  <a:cubicBezTo>
                    <a:pt x="1963" y="39"/>
                    <a:pt x="1963" y="39"/>
                    <a:pt x="1963" y="39"/>
                  </a:cubicBezTo>
                  <a:cubicBezTo>
                    <a:pt x="1963" y="46"/>
                    <a:pt x="1963" y="46"/>
                    <a:pt x="1963" y="46"/>
                  </a:cubicBezTo>
                  <a:cubicBezTo>
                    <a:pt x="1974" y="48"/>
                    <a:pt x="1974" y="48"/>
                    <a:pt x="1974" y="48"/>
                  </a:cubicBezTo>
                  <a:cubicBezTo>
                    <a:pt x="1974" y="107"/>
                    <a:pt x="1974" y="107"/>
                    <a:pt x="1974" y="107"/>
                  </a:cubicBezTo>
                  <a:cubicBezTo>
                    <a:pt x="1963" y="109"/>
                    <a:pt x="1963" y="109"/>
                    <a:pt x="1963" y="109"/>
                  </a:cubicBezTo>
                  <a:cubicBezTo>
                    <a:pt x="1963" y="116"/>
                    <a:pt x="1963" y="116"/>
                    <a:pt x="1963" y="116"/>
                  </a:cubicBezTo>
                  <a:cubicBezTo>
                    <a:pt x="2003" y="116"/>
                    <a:pt x="2003" y="116"/>
                    <a:pt x="2003" y="116"/>
                  </a:cubicBezTo>
                  <a:lnTo>
                    <a:pt x="2003" y="109"/>
                  </a:lnTo>
                  <a:close/>
                  <a:moveTo>
                    <a:pt x="2021" y="49"/>
                  </a:moveTo>
                  <a:cubicBezTo>
                    <a:pt x="2037" y="49"/>
                    <a:pt x="2037" y="49"/>
                    <a:pt x="2037" y="49"/>
                  </a:cubicBezTo>
                  <a:cubicBezTo>
                    <a:pt x="2037" y="107"/>
                    <a:pt x="2037" y="107"/>
                    <a:pt x="2037" y="107"/>
                  </a:cubicBezTo>
                  <a:cubicBezTo>
                    <a:pt x="2026" y="109"/>
                    <a:pt x="2026" y="109"/>
                    <a:pt x="2026" y="109"/>
                  </a:cubicBezTo>
                  <a:cubicBezTo>
                    <a:pt x="2026" y="116"/>
                    <a:pt x="2026" y="116"/>
                    <a:pt x="2026" y="116"/>
                  </a:cubicBezTo>
                  <a:cubicBezTo>
                    <a:pt x="2066" y="116"/>
                    <a:pt x="2066" y="116"/>
                    <a:pt x="2066" y="116"/>
                  </a:cubicBezTo>
                  <a:cubicBezTo>
                    <a:pt x="2066" y="109"/>
                    <a:pt x="2066" y="109"/>
                    <a:pt x="2066" y="109"/>
                  </a:cubicBezTo>
                  <a:cubicBezTo>
                    <a:pt x="2055" y="107"/>
                    <a:pt x="2055" y="107"/>
                    <a:pt x="2055" y="107"/>
                  </a:cubicBezTo>
                  <a:cubicBezTo>
                    <a:pt x="2055" y="49"/>
                    <a:pt x="2055" y="49"/>
                    <a:pt x="2055" y="49"/>
                  </a:cubicBezTo>
                  <a:cubicBezTo>
                    <a:pt x="2072" y="49"/>
                    <a:pt x="2072" y="49"/>
                    <a:pt x="2072" y="49"/>
                  </a:cubicBezTo>
                  <a:cubicBezTo>
                    <a:pt x="2074" y="60"/>
                    <a:pt x="2074" y="60"/>
                    <a:pt x="2074" y="60"/>
                  </a:cubicBezTo>
                  <a:cubicBezTo>
                    <a:pt x="2081" y="60"/>
                    <a:pt x="2081" y="60"/>
                    <a:pt x="2081" y="60"/>
                  </a:cubicBezTo>
                  <a:cubicBezTo>
                    <a:pt x="2081" y="39"/>
                    <a:pt x="2081" y="39"/>
                    <a:pt x="2081" y="39"/>
                  </a:cubicBezTo>
                  <a:cubicBezTo>
                    <a:pt x="2011" y="39"/>
                    <a:pt x="2011" y="39"/>
                    <a:pt x="2011" y="39"/>
                  </a:cubicBezTo>
                  <a:cubicBezTo>
                    <a:pt x="2011" y="60"/>
                    <a:pt x="2011" y="60"/>
                    <a:pt x="2011" y="60"/>
                  </a:cubicBezTo>
                  <a:cubicBezTo>
                    <a:pt x="2019" y="60"/>
                    <a:pt x="2019" y="60"/>
                    <a:pt x="2019" y="60"/>
                  </a:cubicBezTo>
                  <a:lnTo>
                    <a:pt x="2021" y="49"/>
                  </a:lnTo>
                  <a:close/>
                  <a:moveTo>
                    <a:pt x="2122" y="82"/>
                  </a:moveTo>
                  <a:cubicBezTo>
                    <a:pt x="2122" y="107"/>
                    <a:pt x="2122" y="107"/>
                    <a:pt x="2122" y="107"/>
                  </a:cubicBezTo>
                  <a:cubicBezTo>
                    <a:pt x="2110" y="109"/>
                    <a:pt x="2110" y="109"/>
                    <a:pt x="2110" y="109"/>
                  </a:cubicBezTo>
                  <a:cubicBezTo>
                    <a:pt x="2110" y="116"/>
                    <a:pt x="2110" y="116"/>
                    <a:pt x="2110" y="116"/>
                  </a:cubicBezTo>
                  <a:cubicBezTo>
                    <a:pt x="2150" y="116"/>
                    <a:pt x="2150" y="116"/>
                    <a:pt x="2150" y="116"/>
                  </a:cubicBezTo>
                  <a:cubicBezTo>
                    <a:pt x="2150" y="109"/>
                    <a:pt x="2150" y="109"/>
                    <a:pt x="2150" y="109"/>
                  </a:cubicBezTo>
                  <a:cubicBezTo>
                    <a:pt x="2139" y="107"/>
                    <a:pt x="2139" y="107"/>
                    <a:pt x="2139" y="107"/>
                  </a:cubicBezTo>
                  <a:cubicBezTo>
                    <a:pt x="2139" y="82"/>
                    <a:pt x="2139" y="82"/>
                    <a:pt x="2139" y="82"/>
                  </a:cubicBezTo>
                  <a:cubicBezTo>
                    <a:pt x="2161" y="48"/>
                    <a:pt x="2161" y="48"/>
                    <a:pt x="2161" y="48"/>
                  </a:cubicBezTo>
                  <a:cubicBezTo>
                    <a:pt x="2172" y="46"/>
                    <a:pt x="2172" y="46"/>
                    <a:pt x="2172" y="46"/>
                  </a:cubicBezTo>
                  <a:cubicBezTo>
                    <a:pt x="2172" y="39"/>
                    <a:pt x="2172" y="39"/>
                    <a:pt x="2172" y="39"/>
                  </a:cubicBezTo>
                  <a:cubicBezTo>
                    <a:pt x="2138" y="39"/>
                    <a:pt x="2138" y="39"/>
                    <a:pt x="2138" y="39"/>
                  </a:cubicBezTo>
                  <a:cubicBezTo>
                    <a:pt x="2138" y="46"/>
                    <a:pt x="2138" y="46"/>
                    <a:pt x="2138" y="46"/>
                  </a:cubicBezTo>
                  <a:cubicBezTo>
                    <a:pt x="2149" y="48"/>
                    <a:pt x="2149" y="48"/>
                    <a:pt x="2149" y="48"/>
                  </a:cubicBezTo>
                  <a:cubicBezTo>
                    <a:pt x="2133" y="73"/>
                    <a:pt x="2133" y="73"/>
                    <a:pt x="2133" y="73"/>
                  </a:cubicBezTo>
                  <a:cubicBezTo>
                    <a:pt x="2118" y="48"/>
                    <a:pt x="2118" y="48"/>
                    <a:pt x="2118" y="48"/>
                  </a:cubicBezTo>
                  <a:cubicBezTo>
                    <a:pt x="2129" y="46"/>
                    <a:pt x="2129" y="46"/>
                    <a:pt x="2129" y="46"/>
                  </a:cubicBezTo>
                  <a:cubicBezTo>
                    <a:pt x="2129" y="39"/>
                    <a:pt x="2129" y="39"/>
                    <a:pt x="2129" y="39"/>
                  </a:cubicBezTo>
                  <a:cubicBezTo>
                    <a:pt x="2088" y="39"/>
                    <a:pt x="2088" y="39"/>
                    <a:pt x="2088" y="39"/>
                  </a:cubicBezTo>
                  <a:cubicBezTo>
                    <a:pt x="2088" y="46"/>
                    <a:pt x="2088" y="46"/>
                    <a:pt x="2088" y="46"/>
                  </a:cubicBezTo>
                  <a:cubicBezTo>
                    <a:pt x="2099" y="48"/>
                    <a:pt x="2099" y="48"/>
                    <a:pt x="2099" y="48"/>
                  </a:cubicBezTo>
                  <a:lnTo>
                    <a:pt x="2122" y="82"/>
                  </a:lnTo>
                  <a:close/>
                  <a:moveTo>
                    <a:pt x="1953" y="94"/>
                  </a:moveTo>
                  <a:cubicBezTo>
                    <a:pt x="1953" y="63"/>
                    <a:pt x="1913" y="75"/>
                    <a:pt x="1913" y="58"/>
                  </a:cubicBezTo>
                  <a:cubicBezTo>
                    <a:pt x="1913" y="50"/>
                    <a:pt x="1919" y="48"/>
                    <a:pt x="1926" y="48"/>
                  </a:cubicBezTo>
                  <a:cubicBezTo>
                    <a:pt x="1933" y="48"/>
                    <a:pt x="1939" y="49"/>
                    <a:pt x="1939" y="49"/>
                  </a:cubicBezTo>
                  <a:cubicBezTo>
                    <a:pt x="1941" y="61"/>
                    <a:pt x="1941" y="61"/>
                    <a:pt x="1941" y="61"/>
                  </a:cubicBezTo>
                  <a:cubicBezTo>
                    <a:pt x="1949" y="61"/>
                    <a:pt x="1949" y="61"/>
                    <a:pt x="1949" y="61"/>
                  </a:cubicBezTo>
                  <a:cubicBezTo>
                    <a:pt x="1949" y="42"/>
                    <a:pt x="1949" y="42"/>
                    <a:pt x="1949" y="42"/>
                  </a:cubicBezTo>
                  <a:cubicBezTo>
                    <a:pt x="1941" y="40"/>
                    <a:pt x="1933" y="38"/>
                    <a:pt x="1924" y="38"/>
                  </a:cubicBezTo>
                  <a:cubicBezTo>
                    <a:pt x="1905" y="38"/>
                    <a:pt x="1896" y="46"/>
                    <a:pt x="1896" y="60"/>
                  </a:cubicBezTo>
                  <a:cubicBezTo>
                    <a:pt x="1896" y="79"/>
                    <a:pt x="1914" y="81"/>
                    <a:pt x="1928" y="86"/>
                  </a:cubicBezTo>
                  <a:cubicBezTo>
                    <a:pt x="1933" y="87"/>
                    <a:pt x="1936" y="89"/>
                    <a:pt x="1936" y="95"/>
                  </a:cubicBezTo>
                  <a:cubicBezTo>
                    <a:pt x="1936" y="104"/>
                    <a:pt x="1929" y="107"/>
                    <a:pt x="1920" y="107"/>
                  </a:cubicBezTo>
                  <a:cubicBezTo>
                    <a:pt x="1911" y="107"/>
                    <a:pt x="1905" y="105"/>
                    <a:pt x="1905" y="105"/>
                  </a:cubicBezTo>
                  <a:cubicBezTo>
                    <a:pt x="1903" y="92"/>
                    <a:pt x="1903" y="92"/>
                    <a:pt x="1903" y="92"/>
                  </a:cubicBezTo>
                  <a:cubicBezTo>
                    <a:pt x="1896" y="92"/>
                    <a:pt x="1896" y="92"/>
                    <a:pt x="1896" y="92"/>
                  </a:cubicBezTo>
                  <a:cubicBezTo>
                    <a:pt x="1896" y="112"/>
                    <a:pt x="1896" y="112"/>
                    <a:pt x="1896" y="112"/>
                  </a:cubicBezTo>
                  <a:cubicBezTo>
                    <a:pt x="1896" y="112"/>
                    <a:pt x="1908" y="117"/>
                    <a:pt x="1922" y="117"/>
                  </a:cubicBezTo>
                  <a:cubicBezTo>
                    <a:pt x="1942" y="117"/>
                    <a:pt x="1953" y="109"/>
                    <a:pt x="1953" y="94"/>
                  </a:cubicBezTo>
                  <a:close/>
                  <a:moveTo>
                    <a:pt x="1847" y="109"/>
                  </a:moveTo>
                  <a:cubicBezTo>
                    <a:pt x="1836" y="107"/>
                    <a:pt x="1836" y="107"/>
                    <a:pt x="1836" y="107"/>
                  </a:cubicBezTo>
                  <a:cubicBezTo>
                    <a:pt x="1836" y="81"/>
                    <a:pt x="1836" y="81"/>
                    <a:pt x="1836" y="81"/>
                  </a:cubicBezTo>
                  <a:cubicBezTo>
                    <a:pt x="1838" y="81"/>
                    <a:pt x="1838" y="81"/>
                    <a:pt x="1838" y="81"/>
                  </a:cubicBezTo>
                  <a:cubicBezTo>
                    <a:pt x="1848" y="81"/>
                    <a:pt x="1851" y="86"/>
                    <a:pt x="1855" y="98"/>
                  </a:cubicBezTo>
                  <a:cubicBezTo>
                    <a:pt x="1863" y="116"/>
                    <a:pt x="1863" y="116"/>
                    <a:pt x="1863" y="116"/>
                  </a:cubicBezTo>
                  <a:cubicBezTo>
                    <a:pt x="1887" y="116"/>
                    <a:pt x="1887" y="116"/>
                    <a:pt x="1887" y="116"/>
                  </a:cubicBezTo>
                  <a:cubicBezTo>
                    <a:pt x="1887" y="109"/>
                    <a:pt x="1887" y="109"/>
                    <a:pt x="1887" y="109"/>
                  </a:cubicBezTo>
                  <a:cubicBezTo>
                    <a:pt x="1876" y="107"/>
                    <a:pt x="1876" y="107"/>
                    <a:pt x="1876" y="107"/>
                  </a:cubicBezTo>
                  <a:cubicBezTo>
                    <a:pt x="1873" y="99"/>
                    <a:pt x="1868" y="84"/>
                    <a:pt x="1861" y="79"/>
                  </a:cubicBezTo>
                  <a:cubicBezTo>
                    <a:pt x="1869" y="76"/>
                    <a:pt x="1875" y="68"/>
                    <a:pt x="1875" y="59"/>
                  </a:cubicBezTo>
                  <a:cubicBezTo>
                    <a:pt x="1875" y="54"/>
                    <a:pt x="1873" y="49"/>
                    <a:pt x="1869" y="45"/>
                  </a:cubicBezTo>
                  <a:cubicBezTo>
                    <a:pt x="1863" y="40"/>
                    <a:pt x="1854" y="39"/>
                    <a:pt x="1846" y="39"/>
                  </a:cubicBezTo>
                  <a:cubicBezTo>
                    <a:pt x="1807" y="39"/>
                    <a:pt x="1807" y="39"/>
                    <a:pt x="1807" y="39"/>
                  </a:cubicBezTo>
                  <a:cubicBezTo>
                    <a:pt x="1807" y="46"/>
                    <a:pt x="1807" y="46"/>
                    <a:pt x="1807" y="46"/>
                  </a:cubicBezTo>
                  <a:cubicBezTo>
                    <a:pt x="1819" y="48"/>
                    <a:pt x="1819" y="48"/>
                    <a:pt x="1819" y="48"/>
                  </a:cubicBezTo>
                  <a:cubicBezTo>
                    <a:pt x="1819" y="107"/>
                    <a:pt x="1819" y="107"/>
                    <a:pt x="1819" y="107"/>
                  </a:cubicBezTo>
                  <a:cubicBezTo>
                    <a:pt x="1807" y="109"/>
                    <a:pt x="1807" y="109"/>
                    <a:pt x="1807" y="109"/>
                  </a:cubicBezTo>
                  <a:cubicBezTo>
                    <a:pt x="1807" y="116"/>
                    <a:pt x="1807" y="116"/>
                    <a:pt x="1807" y="116"/>
                  </a:cubicBezTo>
                  <a:cubicBezTo>
                    <a:pt x="1847" y="116"/>
                    <a:pt x="1847" y="116"/>
                    <a:pt x="1847" y="116"/>
                  </a:cubicBezTo>
                  <a:lnTo>
                    <a:pt x="1847" y="109"/>
                  </a:lnTo>
                  <a:close/>
                  <a:moveTo>
                    <a:pt x="1836" y="48"/>
                  </a:moveTo>
                  <a:cubicBezTo>
                    <a:pt x="1841" y="48"/>
                    <a:pt x="1841" y="48"/>
                    <a:pt x="1841" y="48"/>
                  </a:cubicBezTo>
                  <a:cubicBezTo>
                    <a:pt x="1845" y="48"/>
                    <a:pt x="1852" y="48"/>
                    <a:pt x="1854" y="51"/>
                  </a:cubicBezTo>
                  <a:cubicBezTo>
                    <a:pt x="1857" y="53"/>
                    <a:pt x="1858" y="57"/>
                    <a:pt x="1858" y="60"/>
                  </a:cubicBezTo>
                  <a:cubicBezTo>
                    <a:pt x="1858" y="63"/>
                    <a:pt x="1857" y="66"/>
                    <a:pt x="1855" y="69"/>
                  </a:cubicBezTo>
                  <a:cubicBezTo>
                    <a:pt x="1851" y="73"/>
                    <a:pt x="1844" y="73"/>
                    <a:pt x="1839" y="73"/>
                  </a:cubicBezTo>
                  <a:cubicBezTo>
                    <a:pt x="1836" y="73"/>
                    <a:pt x="1836" y="73"/>
                    <a:pt x="1836" y="73"/>
                  </a:cubicBezTo>
                  <a:lnTo>
                    <a:pt x="1836" y="48"/>
                  </a:lnTo>
                  <a:close/>
                  <a:moveTo>
                    <a:pt x="1796" y="95"/>
                  </a:moveTo>
                  <a:cubicBezTo>
                    <a:pt x="1788" y="95"/>
                    <a:pt x="1788" y="95"/>
                    <a:pt x="1788" y="95"/>
                  </a:cubicBezTo>
                  <a:cubicBezTo>
                    <a:pt x="1787" y="106"/>
                    <a:pt x="1787" y="106"/>
                    <a:pt x="1787" y="106"/>
                  </a:cubicBezTo>
                  <a:cubicBezTo>
                    <a:pt x="1759" y="106"/>
                    <a:pt x="1759" y="106"/>
                    <a:pt x="1759" y="106"/>
                  </a:cubicBezTo>
                  <a:cubicBezTo>
                    <a:pt x="1759" y="80"/>
                    <a:pt x="1759" y="80"/>
                    <a:pt x="1759" y="80"/>
                  </a:cubicBezTo>
                  <a:cubicBezTo>
                    <a:pt x="1776" y="80"/>
                    <a:pt x="1776" y="80"/>
                    <a:pt x="1776" y="80"/>
                  </a:cubicBezTo>
                  <a:cubicBezTo>
                    <a:pt x="1778" y="90"/>
                    <a:pt x="1778" y="90"/>
                    <a:pt x="1778" y="90"/>
                  </a:cubicBezTo>
                  <a:cubicBezTo>
                    <a:pt x="1784" y="90"/>
                    <a:pt x="1784" y="90"/>
                    <a:pt x="1784" y="90"/>
                  </a:cubicBezTo>
                  <a:cubicBezTo>
                    <a:pt x="1784" y="61"/>
                    <a:pt x="1784" y="61"/>
                    <a:pt x="1784" y="61"/>
                  </a:cubicBezTo>
                  <a:cubicBezTo>
                    <a:pt x="1778" y="61"/>
                    <a:pt x="1778" y="61"/>
                    <a:pt x="1778" y="61"/>
                  </a:cubicBezTo>
                  <a:cubicBezTo>
                    <a:pt x="1776" y="71"/>
                    <a:pt x="1776" y="71"/>
                    <a:pt x="1776" y="71"/>
                  </a:cubicBezTo>
                  <a:cubicBezTo>
                    <a:pt x="1759" y="71"/>
                    <a:pt x="1759" y="71"/>
                    <a:pt x="1759" y="71"/>
                  </a:cubicBezTo>
                  <a:cubicBezTo>
                    <a:pt x="1759" y="49"/>
                    <a:pt x="1759" y="49"/>
                    <a:pt x="1759" y="49"/>
                  </a:cubicBezTo>
                  <a:cubicBezTo>
                    <a:pt x="1787" y="49"/>
                    <a:pt x="1787" y="49"/>
                    <a:pt x="1787" y="49"/>
                  </a:cubicBezTo>
                  <a:cubicBezTo>
                    <a:pt x="1788" y="59"/>
                    <a:pt x="1788" y="59"/>
                    <a:pt x="1788" y="59"/>
                  </a:cubicBezTo>
                  <a:cubicBezTo>
                    <a:pt x="1796" y="59"/>
                    <a:pt x="1796" y="59"/>
                    <a:pt x="1796" y="59"/>
                  </a:cubicBezTo>
                  <a:cubicBezTo>
                    <a:pt x="1796" y="39"/>
                    <a:pt x="1796" y="39"/>
                    <a:pt x="1796" y="39"/>
                  </a:cubicBezTo>
                  <a:cubicBezTo>
                    <a:pt x="1730" y="39"/>
                    <a:pt x="1730" y="39"/>
                    <a:pt x="1730" y="39"/>
                  </a:cubicBezTo>
                  <a:cubicBezTo>
                    <a:pt x="1730" y="46"/>
                    <a:pt x="1730" y="46"/>
                    <a:pt x="1730" y="46"/>
                  </a:cubicBezTo>
                  <a:cubicBezTo>
                    <a:pt x="1741" y="48"/>
                    <a:pt x="1741" y="48"/>
                    <a:pt x="1741" y="48"/>
                  </a:cubicBezTo>
                  <a:cubicBezTo>
                    <a:pt x="1741" y="107"/>
                    <a:pt x="1741" y="107"/>
                    <a:pt x="1741" y="107"/>
                  </a:cubicBezTo>
                  <a:cubicBezTo>
                    <a:pt x="1730" y="109"/>
                    <a:pt x="1730" y="109"/>
                    <a:pt x="1730" y="109"/>
                  </a:cubicBezTo>
                  <a:cubicBezTo>
                    <a:pt x="1730" y="116"/>
                    <a:pt x="1730" y="116"/>
                    <a:pt x="1730" y="116"/>
                  </a:cubicBezTo>
                  <a:cubicBezTo>
                    <a:pt x="1796" y="116"/>
                    <a:pt x="1796" y="116"/>
                    <a:pt x="1796" y="116"/>
                  </a:cubicBezTo>
                  <a:lnTo>
                    <a:pt x="1796" y="95"/>
                  </a:lnTo>
                  <a:close/>
                  <a:moveTo>
                    <a:pt x="1342" y="95"/>
                  </a:moveTo>
                  <a:cubicBezTo>
                    <a:pt x="1335" y="95"/>
                    <a:pt x="1335" y="95"/>
                    <a:pt x="1335" y="95"/>
                  </a:cubicBezTo>
                  <a:cubicBezTo>
                    <a:pt x="1333" y="106"/>
                    <a:pt x="1333" y="106"/>
                    <a:pt x="1333" y="106"/>
                  </a:cubicBezTo>
                  <a:cubicBezTo>
                    <a:pt x="1305" y="106"/>
                    <a:pt x="1305" y="106"/>
                    <a:pt x="1305" y="106"/>
                  </a:cubicBezTo>
                  <a:cubicBezTo>
                    <a:pt x="1305" y="80"/>
                    <a:pt x="1305" y="80"/>
                    <a:pt x="1305" y="80"/>
                  </a:cubicBezTo>
                  <a:cubicBezTo>
                    <a:pt x="1323" y="80"/>
                    <a:pt x="1323" y="80"/>
                    <a:pt x="1323" y="80"/>
                  </a:cubicBezTo>
                  <a:cubicBezTo>
                    <a:pt x="1325" y="90"/>
                    <a:pt x="1325" y="90"/>
                    <a:pt x="1325" y="90"/>
                  </a:cubicBezTo>
                  <a:cubicBezTo>
                    <a:pt x="1331" y="90"/>
                    <a:pt x="1331" y="90"/>
                    <a:pt x="1331" y="90"/>
                  </a:cubicBezTo>
                  <a:cubicBezTo>
                    <a:pt x="1331" y="61"/>
                    <a:pt x="1331" y="61"/>
                    <a:pt x="1331" y="61"/>
                  </a:cubicBezTo>
                  <a:cubicBezTo>
                    <a:pt x="1325" y="61"/>
                    <a:pt x="1325" y="61"/>
                    <a:pt x="1325" y="61"/>
                  </a:cubicBezTo>
                  <a:cubicBezTo>
                    <a:pt x="1323" y="71"/>
                    <a:pt x="1323" y="71"/>
                    <a:pt x="1323" y="71"/>
                  </a:cubicBezTo>
                  <a:cubicBezTo>
                    <a:pt x="1305" y="71"/>
                    <a:pt x="1305" y="71"/>
                    <a:pt x="1305" y="71"/>
                  </a:cubicBezTo>
                  <a:cubicBezTo>
                    <a:pt x="1305" y="49"/>
                    <a:pt x="1305" y="49"/>
                    <a:pt x="1305" y="49"/>
                  </a:cubicBezTo>
                  <a:cubicBezTo>
                    <a:pt x="1333" y="49"/>
                    <a:pt x="1333" y="49"/>
                    <a:pt x="1333" y="49"/>
                  </a:cubicBezTo>
                  <a:cubicBezTo>
                    <a:pt x="1335" y="59"/>
                    <a:pt x="1335" y="59"/>
                    <a:pt x="1335" y="59"/>
                  </a:cubicBezTo>
                  <a:cubicBezTo>
                    <a:pt x="1342" y="59"/>
                    <a:pt x="1342" y="59"/>
                    <a:pt x="1342" y="59"/>
                  </a:cubicBezTo>
                  <a:cubicBezTo>
                    <a:pt x="1342" y="39"/>
                    <a:pt x="1342" y="39"/>
                    <a:pt x="1342" y="39"/>
                  </a:cubicBezTo>
                  <a:cubicBezTo>
                    <a:pt x="1277" y="39"/>
                    <a:pt x="1277" y="39"/>
                    <a:pt x="1277" y="39"/>
                  </a:cubicBezTo>
                  <a:cubicBezTo>
                    <a:pt x="1277" y="46"/>
                    <a:pt x="1277" y="46"/>
                    <a:pt x="1277" y="46"/>
                  </a:cubicBezTo>
                  <a:cubicBezTo>
                    <a:pt x="1288" y="48"/>
                    <a:pt x="1288" y="48"/>
                    <a:pt x="1288" y="48"/>
                  </a:cubicBezTo>
                  <a:cubicBezTo>
                    <a:pt x="1288" y="107"/>
                    <a:pt x="1288" y="107"/>
                    <a:pt x="1288" y="107"/>
                  </a:cubicBezTo>
                  <a:cubicBezTo>
                    <a:pt x="1277" y="109"/>
                    <a:pt x="1277" y="109"/>
                    <a:pt x="1277" y="109"/>
                  </a:cubicBezTo>
                  <a:cubicBezTo>
                    <a:pt x="1277" y="116"/>
                    <a:pt x="1277" y="116"/>
                    <a:pt x="1277" y="116"/>
                  </a:cubicBezTo>
                  <a:cubicBezTo>
                    <a:pt x="1342" y="116"/>
                    <a:pt x="1342" y="116"/>
                    <a:pt x="1342" y="116"/>
                  </a:cubicBezTo>
                  <a:lnTo>
                    <a:pt x="1342" y="95"/>
                  </a:lnTo>
                  <a:close/>
                  <a:moveTo>
                    <a:pt x="566" y="95"/>
                  </a:moveTo>
                  <a:cubicBezTo>
                    <a:pt x="559" y="95"/>
                    <a:pt x="559" y="95"/>
                    <a:pt x="559" y="95"/>
                  </a:cubicBezTo>
                  <a:cubicBezTo>
                    <a:pt x="557" y="106"/>
                    <a:pt x="557" y="106"/>
                    <a:pt x="557" y="106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29" y="80"/>
                    <a:pt x="529" y="80"/>
                    <a:pt x="529" y="80"/>
                  </a:cubicBezTo>
                  <a:cubicBezTo>
                    <a:pt x="546" y="80"/>
                    <a:pt x="546" y="80"/>
                    <a:pt x="546" y="80"/>
                  </a:cubicBezTo>
                  <a:cubicBezTo>
                    <a:pt x="548" y="90"/>
                    <a:pt x="548" y="90"/>
                    <a:pt x="548" y="90"/>
                  </a:cubicBezTo>
                  <a:cubicBezTo>
                    <a:pt x="555" y="90"/>
                    <a:pt x="555" y="90"/>
                    <a:pt x="555" y="90"/>
                  </a:cubicBezTo>
                  <a:cubicBezTo>
                    <a:pt x="555" y="61"/>
                    <a:pt x="555" y="61"/>
                    <a:pt x="555" y="61"/>
                  </a:cubicBezTo>
                  <a:cubicBezTo>
                    <a:pt x="548" y="61"/>
                    <a:pt x="548" y="61"/>
                    <a:pt x="548" y="61"/>
                  </a:cubicBezTo>
                  <a:cubicBezTo>
                    <a:pt x="546" y="71"/>
                    <a:pt x="546" y="71"/>
                    <a:pt x="546" y="71"/>
                  </a:cubicBezTo>
                  <a:cubicBezTo>
                    <a:pt x="529" y="71"/>
                    <a:pt x="529" y="71"/>
                    <a:pt x="529" y="71"/>
                  </a:cubicBezTo>
                  <a:cubicBezTo>
                    <a:pt x="529" y="49"/>
                    <a:pt x="529" y="49"/>
                    <a:pt x="529" y="49"/>
                  </a:cubicBezTo>
                  <a:cubicBezTo>
                    <a:pt x="557" y="49"/>
                    <a:pt x="557" y="49"/>
                    <a:pt x="557" y="49"/>
                  </a:cubicBezTo>
                  <a:cubicBezTo>
                    <a:pt x="559" y="59"/>
                    <a:pt x="559" y="59"/>
                    <a:pt x="559" y="59"/>
                  </a:cubicBezTo>
                  <a:cubicBezTo>
                    <a:pt x="566" y="59"/>
                    <a:pt x="566" y="59"/>
                    <a:pt x="566" y="59"/>
                  </a:cubicBezTo>
                  <a:cubicBezTo>
                    <a:pt x="566" y="39"/>
                    <a:pt x="566" y="39"/>
                    <a:pt x="566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00" y="46"/>
                    <a:pt x="500" y="46"/>
                    <a:pt x="500" y="46"/>
                  </a:cubicBezTo>
                  <a:cubicBezTo>
                    <a:pt x="511" y="48"/>
                    <a:pt x="511" y="48"/>
                    <a:pt x="511" y="48"/>
                  </a:cubicBezTo>
                  <a:cubicBezTo>
                    <a:pt x="511" y="107"/>
                    <a:pt x="511" y="107"/>
                    <a:pt x="511" y="107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16"/>
                    <a:pt x="500" y="116"/>
                    <a:pt x="500" y="116"/>
                  </a:cubicBezTo>
                  <a:cubicBezTo>
                    <a:pt x="566" y="116"/>
                    <a:pt x="566" y="116"/>
                    <a:pt x="566" y="116"/>
                  </a:cubicBezTo>
                  <a:lnTo>
                    <a:pt x="566" y="95"/>
                  </a:lnTo>
                  <a:close/>
                  <a:moveTo>
                    <a:pt x="659" y="117"/>
                  </a:moveTo>
                  <a:cubicBezTo>
                    <a:pt x="689" y="117"/>
                    <a:pt x="702" y="100"/>
                    <a:pt x="702" y="67"/>
                  </a:cubicBezTo>
                  <a:cubicBezTo>
                    <a:pt x="702" y="34"/>
                    <a:pt x="689" y="16"/>
                    <a:pt x="659" y="16"/>
                  </a:cubicBezTo>
                  <a:cubicBezTo>
                    <a:pt x="629" y="16"/>
                    <a:pt x="615" y="34"/>
                    <a:pt x="615" y="67"/>
                  </a:cubicBezTo>
                  <a:cubicBezTo>
                    <a:pt x="615" y="99"/>
                    <a:pt x="628" y="117"/>
                    <a:pt x="659" y="117"/>
                  </a:cubicBezTo>
                  <a:close/>
                  <a:moveTo>
                    <a:pt x="659" y="27"/>
                  </a:moveTo>
                  <a:cubicBezTo>
                    <a:pt x="675" y="27"/>
                    <a:pt x="683" y="40"/>
                    <a:pt x="683" y="67"/>
                  </a:cubicBezTo>
                  <a:cubicBezTo>
                    <a:pt x="683" y="94"/>
                    <a:pt x="675" y="107"/>
                    <a:pt x="659" y="107"/>
                  </a:cubicBezTo>
                  <a:cubicBezTo>
                    <a:pt x="642" y="107"/>
                    <a:pt x="634" y="94"/>
                    <a:pt x="634" y="67"/>
                  </a:cubicBezTo>
                  <a:cubicBezTo>
                    <a:pt x="634" y="40"/>
                    <a:pt x="643" y="27"/>
                    <a:pt x="659" y="27"/>
                  </a:cubicBezTo>
                  <a:close/>
                  <a:moveTo>
                    <a:pt x="327" y="28"/>
                  </a:moveTo>
                  <a:cubicBezTo>
                    <a:pt x="349" y="28"/>
                    <a:pt x="349" y="28"/>
                    <a:pt x="349" y="28"/>
                  </a:cubicBezTo>
                  <a:cubicBezTo>
                    <a:pt x="349" y="106"/>
                    <a:pt x="349" y="106"/>
                    <a:pt x="349" y="106"/>
                  </a:cubicBezTo>
                  <a:cubicBezTo>
                    <a:pt x="337" y="108"/>
                    <a:pt x="337" y="108"/>
                    <a:pt x="337" y="108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79" y="116"/>
                    <a:pt x="379" y="116"/>
                    <a:pt x="379" y="116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67" y="106"/>
                    <a:pt x="367" y="106"/>
                    <a:pt x="367" y="106"/>
                  </a:cubicBezTo>
                  <a:cubicBezTo>
                    <a:pt x="367" y="28"/>
                    <a:pt x="367" y="28"/>
                    <a:pt x="367" y="28"/>
                  </a:cubicBezTo>
                  <a:cubicBezTo>
                    <a:pt x="390" y="28"/>
                    <a:pt x="390" y="28"/>
                    <a:pt x="390" y="28"/>
                  </a:cubicBezTo>
                  <a:cubicBezTo>
                    <a:pt x="391" y="40"/>
                    <a:pt x="391" y="40"/>
                    <a:pt x="391" y="40"/>
                  </a:cubicBezTo>
                  <a:cubicBezTo>
                    <a:pt x="399" y="40"/>
                    <a:pt x="399" y="40"/>
                    <a:pt x="399" y="40"/>
                  </a:cubicBezTo>
                  <a:cubicBezTo>
                    <a:pt x="399" y="18"/>
                    <a:pt x="399" y="18"/>
                    <a:pt x="399" y="18"/>
                  </a:cubicBezTo>
                  <a:cubicBezTo>
                    <a:pt x="317" y="18"/>
                    <a:pt x="317" y="18"/>
                    <a:pt x="317" y="18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25" y="40"/>
                    <a:pt x="325" y="40"/>
                    <a:pt x="325" y="40"/>
                  </a:cubicBezTo>
                  <a:lnTo>
                    <a:pt x="327" y="28"/>
                  </a:lnTo>
                  <a:close/>
                  <a:moveTo>
                    <a:pt x="750" y="109"/>
                  </a:moveTo>
                  <a:cubicBezTo>
                    <a:pt x="739" y="107"/>
                    <a:pt x="739" y="107"/>
                    <a:pt x="739" y="107"/>
                  </a:cubicBezTo>
                  <a:cubicBezTo>
                    <a:pt x="739" y="80"/>
                    <a:pt x="739" y="80"/>
                    <a:pt x="739" y="80"/>
                  </a:cubicBezTo>
                  <a:cubicBezTo>
                    <a:pt x="768" y="80"/>
                    <a:pt x="768" y="80"/>
                    <a:pt x="768" y="80"/>
                  </a:cubicBezTo>
                  <a:cubicBezTo>
                    <a:pt x="768" y="107"/>
                    <a:pt x="768" y="107"/>
                    <a:pt x="768" y="107"/>
                  </a:cubicBezTo>
                  <a:cubicBezTo>
                    <a:pt x="757" y="109"/>
                    <a:pt x="757" y="109"/>
                    <a:pt x="757" y="109"/>
                  </a:cubicBezTo>
                  <a:cubicBezTo>
                    <a:pt x="757" y="116"/>
                    <a:pt x="757" y="116"/>
                    <a:pt x="757" y="116"/>
                  </a:cubicBezTo>
                  <a:cubicBezTo>
                    <a:pt x="797" y="116"/>
                    <a:pt x="797" y="116"/>
                    <a:pt x="797" y="116"/>
                  </a:cubicBezTo>
                  <a:cubicBezTo>
                    <a:pt x="797" y="109"/>
                    <a:pt x="797" y="109"/>
                    <a:pt x="797" y="109"/>
                  </a:cubicBezTo>
                  <a:cubicBezTo>
                    <a:pt x="786" y="107"/>
                    <a:pt x="786" y="107"/>
                    <a:pt x="786" y="107"/>
                  </a:cubicBezTo>
                  <a:cubicBezTo>
                    <a:pt x="786" y="48"/>
                    <a:pt x="786" y="48"/>
                    <a:pt x="786" y="48"/>
                  </a:cubicBezTo>
                  <a:cubicBezTo>
                    <a:pt x="797" y="46"/>
                    <a:pt x="797" y="46"/>
                    <a:pt x="797" y="46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57" y="39"/>
                    <a:pt x="757" y="39"/>
                    <a:pt x="757" y="39"/>
                  </a:cubicBezTo>
                  <a:cubicBezTo>
                    <a:pt x="757" y="46"/>
                    <a:pt x="757" y="46"/>
                    <a:pt x="757" y="46"/>
                  </a:cubicBezTo>
                  <a:cubicBezTo>
                    <a:pt x="768" y="48"/>
                    <a:pt x="768" y="48"/>
                    <a:pt x="768" y="48"/>
                  </a:cubicBezTo>
                  <a:cubicBezTo>
                    <a:pt x="768" y="71"/>
                    <a:pt x="768" y="71"/>
                    <a:pt x="768" y="71"/>
                  </a:cubicBezTo>
                  <a:cubicBezTo>
                    <a:pt x="739" y="71"/>
                    <a:pt x="739" y="71"/>
                    <a:pt x="739" y="71"/>
                  </a:cubicBezTo>
                  <a:cubicBezTo>
                    <a:pt x="739" y="48"/>
                    <a:pt x="739" y="48"/>
                    <a:pt x="739" y="48"/>
                  </a:cubicBezTo>
                  <a:cubicBezTo>
                    <a:pt x="750" y="46"/>
                    <a:pt x="750" y="46"/>
                    <a:pt x="750" y="46"/>
                  </a:cubicBezTo>
                  <a:cubicBezTo>
                    <a:pt x="750" y="39"/>
                    <a:pt x="750" y="39"/>
                    <a:pt x="750" y="39"/>
                  </a:cubicBezTo>
                  <a:cubicBezTo>
                    <a:pt x="710" y="39"/>
                    <a:pt x="710" y="39"/>
                    <a:pt x="710" y="39"/>
                  </a:cubicBezTo>
                  <a:cubicBezTo>
                    <a:pt x="710" y="46"/>
                    <a:pt x="710" y="46"/>
                    <a:pt x="710" y="46"/>
                  </a:cubicBezTo>
                  <a:cubicBezTo>
                    <a:pt x="722" y="48"/>
                    <a:pt x="722" y="48"/>
                    <a:pt x="722" y="48"/>
                  </a:cubicBezTo>
                  <a:cubicBezTo>
                    <a:pt x="722" y="107"/>
                    <a:pt x="722" y="107"/>
                    <a:pt x="722" y="107"/>
                  </a:cubicBezTo>
                  <a:cubicBezTo>
                    <a:pt x="710" y="109"/>
                    <a:pt x="710" y="109"/>
                    <a:pt x="710" y="109"/>
                  </a:cubicBezTo>
                  <a:cubicBezTo>
                    <a:pt x="710" y="116"/>
                    <a:pt x="710" y="116"/>
                    <a:pt x="710" y="116"/>
                  </a:cubicBezTo>
                  <a:cubicBezTo>
                    <a:pt x="750" y="116"/>
                    <a:pt x="750" y="116"/>
                    <a:pt x="750" y="116"/>
                  </a:cubicBezTo>
                  <a:lnTo>
                    <a:pt x="750" y="109"/>
                  </a:lnTo>
                  <a:close/>
                  <a:moveTo>
                    <a:pt x="445" y="109"/>
                  </a:moveTo>
                  <a:cubicBezTo>
                    <a:pt x="434" y="107"/>
                    <a:pt x="434" y="107"/>
                    <a:pt x="434" y="107"/>
                  </a:cubicBezTo>
                  <a:cubicBezTo>
                    <a:pt x="434" y="80"/>
                    <a:pt x="434" y="80"/>
                    <a:pt x="434" y="80"/>
                  </a:cubicBezTo>
                  <a:cubicBezTo>
                    <a:pt x="463" y="80"/>
                    <a:pt x="463" y="80"/>
                    <a:pt x="463" y="80"/>
                  </a:cubicBezTo>
                  <a:cubicBezTo>
                    <a:pt x="463" y="107"/>
                    <a:pt x="463" y="107"/>
                    <a:pt x="463" y="107"/>
                  </a:cubicBezTo>
                  <a:cubicBezTo>
                    <a:pt x="452" y="109"/>
                    <a:pt x="452" y="109"/>
                    <a:pt x="452" y="109"/>
                  </a:cubicBezTo>
                  <a:cubicBezTo>
                    <a:pt x="452" y="116"/>
                    <a:pt x="452" y="116"/>
                    <a:pt x="452" y="116"/>
                  </a:cubicBezTo>
                  <a:cubicBezTo>
                    <a:pt x="492" y="116"/>
                    <a:pt x="492" y="116"/>
                    <a:pt x="492" y="116"/>
                  </a:cubicBezTo>
                  <a:cubicBezTo>
                    <a:pt x="492" y="109"/>
                    <a:pt x="492" y="109"/>
                    <a:pt x="492" y="109"/>
                  </a:cubicBezTo>
                  <a:cubicBezTo>
                    <a:pt x="480" y="107"/>
                    <a:pt x="480" y="107"/>
                    <a:pt x="480" y="107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492" y="46"/>
                    <a:pt x="492" y="46"/>
                    <a:pt x="492" y="46"/>
                  </a:cubicBezTo>
                  <a:cubicBezTo>
                    <a:pt x="492" y="39"/>
                    <a:pt x="492" y="39"/>
                    <a:pt x="492" y="39"/>
                  </a:cubicBezTo>
                  <a:cubicBezTo>
                    <a:pt x="452" y="39"/>
                    <a:pt x="452" y="39"/>
                    <a:pt x="452" y="39"/>
                  </a:cubicBezTo>
                  <a:cubicBezTo>
                    <a:pt x="452" y="46"/>
                    <a:pt x="452" y="46"/>
                    <a:pt x="452" y="46"/>
                  </a:cubicBezTo>
                  <a:cubicBezTo>
                    <a:pt x="463" y="48"/>
                    <a:pt x="463" y="48"/>
                    <a:pt x="463" y="48"/>
                  </a:cubicBezTo>
                  <a:cubicBezTo>
                    <a:pt x="463" y="71"/>
                    <a:pt x="463" y="71"/>
                    <a:pt x="463" y="71"/>
                  </a:cubicBezTo>
                  <a:cubicBezTo>
                    <a:pt x="434" y="71"/>
                    <a:pt x="434" y="71"/>
                    <a:pt x="434" y="71"/>
                  </a:cubicBezTo>
                  <a:cubicBezTo>
                    <a:pt x="434" y="48"/>
                    <a:pt x="434" y="48"/>
                    <a:pt x="434" y="48"/>
                  </a:cubicBezTo>
                  <a:cubicBezTo>
                    <a:pt x="445" y="46"/>
                    <a:pt x="445" y="46"/>
                    <a:pt x="445" y="46"/>
                  </a:cubicBezTo>
                  <a:cubicBezTo>
                    <a:pt x="445" y="39"/>
                    <a:pt x="445" y="39"/>
                    <a:pt x="445" y="39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46"/>
                    <a:pt x="405" y="46"/>
                    <a:pt x="405" y="46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107"/>
                    <a:pt x="416" y="107"/>
                    <a:pt x="416" y="107"/>
                  </a:cubicBezTo>
                  <a:cubicBezTo>
                    <a:pt x="405" y="109"/>
                    <a:pt x="405" y="109"/>
                    <a:pt x="405" y="109"/>
                  </a:cubicBezTo>
                  <a:cubicBezTo>
                    <a:pt x="405" y="116"/>
                    <a:pt x="405" y="116"/>
                    <a:pt x="405" y="116"/>
                  </a:cubicBezTo>
                  <a:cubicBezTo>
                    <a:pt x="445" y="116"/>
                    <a:pt x="445" y="116"/>
                    <a:pt x="445" y="116"/>
                  </a:cubicBezTo>
                  <a:lnTo>
                    <a:pt x="445" y="109"/>
                  </a:lnTo>
                  <a:close/>
                  <a:moveTo>
                    <a:pt x="1209" y="49"/>
                  </a:moveTo>
                  <a:cubicBezTo>
                    <a:pt x="1226" y="49"/>
                    <a:pt x="1226" y="49"/>
                    <a:pt x="1226" y="49"/>
                  </a:cubicBezTo>
                  <a:cubicBezTo>
                    <a:pt x="1226" y="107"/>
                    <a:pt x="1226" y="107"/>
                    <a:pt x="1226" y="107"/>
                  </a:cubicBezTo>
                  <a:cubicBezTo>
                    <a:pt x="1215" y="109"/>
                    <a:pt x="1215" y="109"/>
                    <a:pt x="1215" y="109"/>
                  </a:cubicBezTo>
                  <a:cubicBezTo>
                    <a:pt x="1215" y="116"/>
                    <a:pt x="1215" y="116"/>
                    <a:pt x="1215" y="116"/>
                  </a:cubicBezTo>
                  <a:cubicBezTo>
                    <a:pt x="1255" y="116"/>
                    <a:pt x="1255" y="116"/>
                    <a:pt x="1255" y="116"/>
                  </a:cubicBezTo>
                  <a:cubicBezTo>
                    <a:pt x="1255" y="109"/>
                    <a:pt x="1255" y="109"/>
                    <a:pt x="1255" y="109"/>
                  </a:cubicBezTo>
                  <a:cubicBezTo>
                    <a:pt x="1244" y="107"/>
                    <a:pt x="1244" y="107"/>
                    <a:pt x="1244" y="107"/>
                  </a:cubicBezTo>
                  <a:cubicBezTo>
                    <a:pt x="1244" y="49"/>
                    <a:pt x="1244" y="49"/>
                    <a:pt x="1244" y="49"/>
                  </a:cubicBezTo>
                  <a:cubicBezTo>
                    <a:pt x="1261" y="49"/>
                    <a:pt x="1261" y="49"/>
                    <a:pt x="1261" y="49"/>
                  </a:cubicBezTo>
                  <a:cubicBezTo>
                    <a:pt x="1262" y="60"/>
                    <a:pt x="1262" y="60"/>
                    <a:pt x="1262" y="60"/>
                  </a:cubicBezTo>
                  <a:cubicBezTo>
                    <a:pt x="1270" y="60"/>
                    <a:pt x="1270" y="60"/>
                    <a:pt x="1270" y="60"/>
                  </a:cubicBezTo>
                  <a:cubicBezTo>
                    <a:pt x="1270" y="39"/>
                    <a:pt x="1270" y="39"/>
                    <a:pt x="1270" y="39"/>
                  </a:cubicBezTo>
                  <a:cubicBezTo>
                    <a:pt x="1200" y="39"/>
                    <a:pt x="1200" y="39"/>
                    <a:pt x="1200" y="39"/>
                  </a:cubicBezTo>
                  <a:cubicBezTo>
                    <a:pt x="1200" y="60"/>
                    <a:pt x="1200" y="60"/>
                    <a:pt x="1200" y="60"/>
                  </a:cubicBezTo>
                  <a:cubicBezTo>
                    <a:pt x="1208" y="60"/>
                    <a:pt x="1208" y="60"/>
                    <a:pt x="1208" y="60"/>
                  </a:cubicBezTo>
                  <a:lnTo>
                    <a:pt x="1209" y="49"/>
                  </a:lnTo>
                  <a:close/>
                  <a:moveTo>
                    <a:pt x="1058" y="49"/>
                  </a:moveTo>
                  <a:cubicBezTo>
                    <a:pt x="1075" y="49"/>
                    <a:pt x="1075" y="49"/>
                    <a:pt x="1075" y="49"/>
                  </a:cubicBezTo>
                  <a:cubicBezTo>
                    <a:pt x="1075" y="107"/>
                    <a:pt x="1075" y="107"/>
                    <a:pt x="1075" y="107"/>
                  </a:cubicBezTo>
                  <a:cubicBezTo>
                    <a:pt x="1064" y="109"/>
                    <a:pt x="1064" y="109"/>
                    <a:pt x="1064" y="109"/>
                  </a:cubicBezTo>
                  <a:cubicBezTo>
                    <a:pt x="1064" y="116"/>
                    <a:pt x="1064" y="116"/>
                    <a:pt x="1064" y="116"/>
                  </a:cubicBezTo>
                  <a:cubicBezTo>
                    <a:pt x="1104" y="116"/>
                    <a:pt x="1104" y="116"/>
                    <a:pt x="1104" y="116"/>
                  </a:cubicBezTo>
                  <a:cubicBezTo>
                    <a:pt x="1104" y="109"/>
                    <a:pt x="1104" y="109"/>
                    <a:pt x="1104" y="109"/>
                  </a:cubicBezTo>
                  <a:cubicBezTo>
                    <a:pt x="1093" y="107"/>
                    <a:pt x="1093" y="107"/>
                    <a:pt x="1093" y="107"/>
                  </a:cubicBezTo>
                  <a:cubicBezTo>
                    <a:pt x="1093" y="49"/>
                    <a:pt x="1093" y="49"/>
                    <a:pt x="1093" y="49"/>
                  </a:cubicBezTo>
                  <a:cubicBezTo>
                    <a:pt x="1110" y="49"/>
                    <a:pt x="1110" y="49"/>
                    <a:pt x="1110" y="49"/>
                  </a:cubicBezTo>
                  <a:cubicBezTo>
                    <a:pt x="1111" y="60"/>
                    <a:pt x="1111" y="60"/>
                    <a:pt x="1111" y="60"/>
                  </a:cubicBezTo>
                  <a:cubicBezTo>
                    <a:pt x="1119" y="60"/>
                    <a:pt x="1119" y="60"/>
                    <a:pt x="1119" y="60"/>
                  </a:cubicBezTo>
                  <a:cubicBezTo>
                    <a:pt x="1119" y="39"/>
                    <a:pt x="1119" y="39"/>
                    <a:pt x="1119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60"/>
                    <a:pt x="1049" y="60"/>
                    <a:pt x="1049" y="60"/>
                  </a:cubicBezTo>
                  <a:cubicBezTo>
                    <a:pt x="1057" y="60"/>
                    <a:pt x="1057" y="60"/>
                    <a:pt x="1057" y="60"/>
                  </a:cubicBezTo>
                  <a:lnTo>
                    <a:pt x="1058" y="49"/>
                  </a:lnTo>
                  <a:close/>
                  <a:moveTo>
                    <a:pt x="1114" y="116"/>
                  </a:moveTo>
                  <a:cubicBezTo>
                    <a:pt x="1147" y="116"/>
                    <a:pt x="1147" y="116"/>
                    <a:pt x="1147" y="116"/>
                  </a:cubicBezTo>
                  <a:cubicBezTo>
                    <a:pt x="1147" y="109"/>
                    <a:pt x="1147" y="109"/>
                    <a:pt x="1147" y="109"/>
                  </a:cubicBezTo>
                  <a:cubicBezTo>
                    <a:pt x="1136" y="107"/>
                    <a:pt x="1136" y="107"/>
                    <a:pt x="1136" y="107"/>
                  </a:cubicBezTo>
                  <a:cubicBezTo>
                    <a:pt x="1142" y="93"/>
                    <a:pt x="1142" y="93"/>
                    <a:pt x="1142" y="93"/>
                  </a:cubicBezTo>
                  <a:cubicBezTo>
                    <a:pt x="1171" y="93"/>
                    <a:pt x="1171" y="93"/>
                    <a:pt x="1171" y="93"/>
                  </a:cubicBezTo>
                  <a:cubicBezTo>
                    <a:pt x="1176" y="107"/>
                    <a:pt x="1176" y="107"/>
                    <a:pt x="1176" y="107"/>
                  </a:cubicBezTo>
                  <a:cubicBezTo>
                    <a:pt x="1165" y="109"/>
                    <a:pt x="1165" y="109"/>
                    <a:pt x="1165" y="109"/>
                  </a:cubicBezTo>
                  <a:cubicBezTo>
                    <a:pt x="1165" y="116"/>
                    <a:pt x="1165" y="116"/>
                    <a:pt x="1165" y="116"/>
                  </a:cubicBezTo>
                  <a:cubicBezTo>
                    <a:pt x="1205" y="116"/>
                    <a:pt x="1205" y="116"/>
                    <a:pt x="1205" y="116"/>
                  </a:cubicBezTo>
                  <a:cubicBezTo>
                    <a:pt x="1205" y="109"/>
                    <a:pt x="1205" y="109"/>
                    <a:pt x="1205" y="109"/>
                  </a:cubicBezTo>
                  <a:cubicBezTo>
                    <a:pt x="1194" y="107"/>
                    <a:pt x="1194" y="107"/>
                    <a:pt x="1194" y="107"/>
                  </a:cubicBezTo>
                  <a:cubicBezTo>
                    <a:pt x="1168" y="39"/>
                    <a:pt x="1168" y="39"/>
                    <a:pt x="1168" y="39"/>
                  </a:cubicBezTo>
                  <a:cubicBezTo>
                    <a:pt x="1151" y="39"/>
                    <a:pt x="1151" y="39"/>
                    <a:pt x="1151" y="39"/>
                  </a:cubicBezTo>
                  <a:cubicBezTo>
                    <a:pt x="1125" y="107"/>
                    <a:pt x="1125" y="107"/>
                    <a:pt x="1125" y="107"/>
                  </a:cubicBezTo>
                  <a:cubicBezTo>
                    <a:pt x="1114" y="109"/>
                    <a:pt x="1114" y="109"/>
                    <a:pt x="1114" y="109"/>
                  </a:cubicBezTo>
                  <a:lnTo>
                    <a:pt x="1114" y="116"/>
                  </a:lnTo>
                  <a:close/>
                  <a:moveTo>
                    <a:pt x="1156" y="54"/>
                  </a:moveTo>
                  <a:cubicBezTo>
                    <a:pt x="1167" y="84"/>
                    <a:pt x="1167" y="84"/>
                    <a:pt x="1167" y="84"/>
                  </a:cubicBezTo>
                  <a:cubicBezTo>
                    <a:pt x="1145" y="84"/>
                    <a:pt x="1145" y="84"/>
                    <a:pt x="1145" y="84"/>
                  </a:cubicBezTo>
                  <a:lnTo>
                    <a:pt x="1156" y="54"/>
                  </a:lnTo>
                  <a:close/>
                  <a:moveTo>
                    <a:pt x="1042" y="88"/>
                  </a:moveTo>
                  <a:cubicBezTo>
                    <a:pt x="1042" y="49"/>
                    <a:pt x="993" y="65"/>
                    <a:pt x="993" y="41"/>
                  </a:cubicBezTo>
                  <a:cubicBezTo>
                    <a:pt x="993" y="30"/>
                    <a:pt x="1002" y="27"/>
                    <a:pt x="1011" y="27"/>
                  </a:cubicBezTo>
                  <a:cubicBezTo>
                    <a:pt x="1019" y="27"/>
                    <a:pt x="1028" y="29"/>
                    <a:pt x="1028" y="29"/>
                  </a:cubicBezTo>
                  <a:cubicBezTo>
                    <a:pt x="1030" y="41"/>
                    <a:pt x="1030" y="41"/>
                    <a:pt x="1030" y="41"/>
                  </a:cubicBezTo>
                  <a:cubicBezTo>
                    <a:pt x="1038" y="41"/>
                    <a:pt x="1038" y="41"/>
                    <a:pt x="1038" y="41"/>
                  </a:cubicBezTo>
                  <a:cubicBezTo>
                    <a:pt x="1038" y="22"/>
                    <a:pt x="1038" y="22"/>
                    <a:pt x="1038" y="22"/>
                  </a:cubicBezTo>
                  <a:cubicBezTo>
                    <a:pt x="1030" y="19"/>
                    <a:pt x="1019" y="16"/>
                    <a:pt x="1009" y="16"/>
                  </a:cubicBezTo>
                  <a:cubicBezTo>
                    <a:pt x="987" y="16"/>
                    <a:pt x="976" y="27"/>
                    <a:pt x="976" y="44"/>
                  </a:cubicBezTo>
                  <a:cubicBezTo>
                    <a:pt x="976" y="65"/>
                    <a:pt x="992" y="69"/>
                    <a:pt x="1007" y="74"/>
                  </a:cubicBezTo>
                  <a:cubicBezTo>
                    <a:pt x="1017" y="77"/>
                    <a:pt x="1025" y="79"/>
                    <a:pt x="1025" y="90"/>
                  </a:cubicBezTo>
                  <a:cubicBezTo>
                    <a:pt x="1025" y="102"/>
                    <a:pt x="1015" y="106"/>
                    <a:pt x="1003" y="106"/>
                  </a:cubicBezTo>
                  <a:cubicBezTo>
                    <a:pt x="992" y="106"/>
                    <a:pt x="986" y="104"/>
                    <a:pt x="986" y="104"/>
                  </a:cubicBezTo>
                  <a:cubicBezTo>
                    <a:pt x="984" y="91"/>
                    <a:pt x="984" y="91"/>
                    <a:pt x="984" y="91"/>
                  </a:cubicBezTo>
                  <a:cubicBezTo>
                    <a:pt x="976" y="91"/>
                    <a:pt x="976" y="91"/>
                    <a:pt x="976" y="91"/>
                  </a:cubicBezTo>
                  <a:cubicBezTo>
                    <a:pt x="976" y="112"/>
                    <a:pt x="976" y="112"/>
                    <a:pt x="976" y="112"/>
                  </a:cubicBezTo>
                  <a:cubicBezTo>
                    <a:pt x="976" y="112"/>
                    <a:pt x="989" y="117"/>
                    <a:pt x="1006" y="117"/>
                  </a:cubicBezTo>
                  <a:cubicBezTo>
                    <a:pt x="1030" y="117"/>
                    <a:pt x="1042" y="107"/>
                    <a:pt x="1042" y="88"/>
                  </a:cubicBezTo>
                  <a:close/>
                  <a:moveTo>
                    <a:pt x="847" y="109"/>
                  </a:moveTo>
                  <a:cubicBezTo>
                    <a:pt x="835" y="107"/>
                    <a:pt x="835" y="107"/>
                    <a:pt x="835" y="107"/>
                  </a:cubicBezTo>
                  <a:cubicBezTo>
                    <a:pt x="835" y="48"/>
                    <a:pt x="835" y="48"/>
                    <a:pt x="835" y="48"/>
                  </a:cubicBezTo>
                  <a:cubicBezTo>
                    <a:pt x="847" y="46"/>
                    <a:pt x="847" y="46"/>
                    <a:pt x="847" y="46"/>
                  </a:cubicBezTo>
                  <a:cubicBezTo>
                    <a:pt x="847" y="39"/>
                    <a:pt x="847" y="39"/>
                    <a:pt x="847" y="39"/>
                  </a:cubicBezTo>
                  <a:cubicBezTo>
                    <a:pt x="806" y="39"/>
                    <a:pt x="806" y="39"/>
                    <a:pt x="806" y="39"/>
                  </a:cubicBezTo>
                  <a:cubicBezTo>
                    <a:pt x="806" y="46"/>
                    <a:pt x="806" y="46"/>
                    <a:pt x="806" y="46"/>
                  </a:cubicBezTo>
                  <a:cubicBezTo>
                    <a:pt x="818" y="48"/>
                    <a:pt x="818" y="48"/>
                    <a:pt x="818" y="48"/>
                  </a:cubicBezTo>
                  <a:cubicBezTo>
                    <a:pt x="818" y="107"/>
                    <a:pt x="818" y="107"/>
                    <a:pt x="818" y="107"/>
                  </a:cubicBezTo>
                  <a:cubicBezTo>
                    <a:pt x="806" y="109"/>
                    <a:pt x="806" y="109"/>
                    <a:pt x="806" y="109"/>
                  </a:cubicBezTo>
                  <a:cubicBezTo>
                    <a:pt x="806" y="116"/>
                    <a:pt x="806" y="116"/>
                    <a:pt x="806" y="116"/>
                  </a:cubicBezTo>
                  <a:cubicBezTo>
                    <a:pt x="847" y="116"/>
                    <a:pt x="847" y="116"/>
                    <a:pt x="847" y="116"/>
                  </a:cubicBezTo>
                  <a:lnTo>
                    <a:pt x="847" y="109"/>
                  </a:lnTo>
                  <a:close/>
                  <a:moveTo>
                    <a:pt x="890" y="117"/>
                  </a:moveTo>
                  <a:cubicBezTo>
                    <a:pt x="915" y="117"/>
                    <a:pt x="927" y="103"/>
                    <a:pt x="927" y="78"/>
                  </a:cubicBezTo>
                  <a:cubicBezTo>
                    <a:pt x="927" y="52"/>
                    <a:pt x="915" y="38"/>
                    <a:pt x="890" y="38"/>
                  </a:cubicBezTo>
                  <a:cubicBezTo>
                    <a:pt x="864" y="38"/>
                    <a:pt x="853" y="52"/>
                    <a:pt x="853" y="77"/>
                  </a:cubicBezTo>
                  <a:cubicBezTo>
                    <a:pt x="853" y="103"/>
                    <a:pt x="864" y="117"/>
                    <a:pt x="890" y="117"/>
                  </a:cubicBezTo>
                  <a:close/>
                  <a:moveTo>
                    <a:pt x="890" y="48"/>
                  </a:moveTo>
                  <a:cubicBezTo>
                    <a:pt x="902" y="48"/>
                    <a:pt x="908" y="57"/>
                    <a:pt x="908" y="78"/>
                  </a:cubicBezTo>
                  <a:cubicBezTo>
                    <a:pt x="908" y="98"/>
                    <a:pt x="902" y="107"/>
                    <a:pt x="889" y="107"/>
                  </a:cubicBezTo>
                  <a:cubicBezTo>
                    <a:pt x="877" y="107"/>
                    <a:pt x="871" y="98"/>
                    <a:pt x="871" y="77"/>
                  </a:cubicBezTo>
                  <a:cubicBezTo>
                    <a:pt x="871" y="57"/>
                    <a:pt x="877" y="48"/>
                    <a:pt x="890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1843935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AINT LUKE'S</a:t>
            </a:r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0CD9D8-C214-BB41-A22D-FFC3695D39FF}" type="datetime1">
              <a:rPr lang="en-US" smtClean="0"/>
              <a:t>11/19/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rporate 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43"/>
          <p:cNvSpPr>
            <a:spLocks noGrp="1"/>
          </p:cNvSpPr>
          <p:nvPr>
            <p:ph type="title"/>
          </p:nvPr>
        </p:nvSpPr>
        <p:spPr>
          <a:xfrm>
            <a:off x="743656" y="919445"/>
            <a:ext cx="7210072" cy="661721"/>
          </a:xfrm>
          <a:prstGeom prst="rect">
            <a:avLst/>
          </a:prstGeom>
          <a:noFill/>
        </p:spPr>
        <p:txBody>
          <a:bodyPr bIns="91440" rtlCol="0" anchor="b">
            <a:noAutofit/>
          </a:bodyPr>
          <a:lstStyle>
            <a:lvl1pPr algn="l"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43687" y="1824307"/>
            <a:ext cx="7193844" cy="4330700"/>
          </a:xfrm>
          <a:prstGeom prst="rect">
            <a:avLst/>
          </a:prstGeom>
        </p:spPr>
        <p:txBody>
          <a:bodyPr anchor="t">
            <a:noAutofit/>
          </a:bodyPr>
          <a:lstStyle>
            <a:lvl1pPr marL="285744" indent="-285744">
              <a:spcBef>
                <a:spcPts val="1800"/>
              </a:spcBef>
              <a:buFont typeface="Arial" panose="020B0604020202020204" pitchFamily="34" charset="0"/>
              <a:buChar char="•"/>
              <a:defRPr sz="2200" b="1">
                <a:solidFill>
                  <a:schemeClr val="accent1"/>
                </a:solidFill>
              </a:defRPr>
            </a:lvl1pPr>
            <a:lvl2pPr marL="685783" indent="-228594">
              <a:spcBef>
                <a:spcPts val="600"/>
              </a:spcBef>
              <a:buFont typeface="Arial" panose="020B0604020202020204" pitchFamily="34" charset="0"/>
              <a:buChar char="‒"/>
              <a:defRPr sz="2000"/>
            </a:lvl2pPr>
            <a:lvl3pPr marL="1142971" indent="-228594">
              <a:spcBef>
                <a:spcPts val="600"/>
              </a:spcBef>
              <a:buFont typeface="Arial" panose="020B0604020202020204" pitchFamily="34" charset="0"/>
              <a:buChar char="•"/>
              <a:defRPr sz="2200"/>
            </a:lvl3pPr>
            <a:lvl4pPr marL="1600160" indent="-228594">
              <a:buFont typeface="Arial" panose="020B0604020202020204" pitchFamily="34" charset="0"/>
              <a:buChar char="•"/>
              <a:defRPr sz="1800"/>
            </a:lvl4pPr>
            <a:lvl5pPr marL="2057349" indent="-228594"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44"/>
          <p:cNvSpPr>
            <a:spLocks noGrp="1"/>
          </p:cNvSpPr>
          <p:nvPr>
            <p:ph type="sldNum" sz="quarter" idx="12"/>
          </p:nvPr>
        </p:nvSpPr>
        <p:spPr>
          <a:xfrm>
            <a:off x="46567" y="6562689"/>
            <a:ext cx="643467" cy="23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F44216FD-6AB8-4CAA-AE87-D3440EC6B7F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93370"/>
          <a:stretch/>
        </p:blipFill>
        <p:spPr>
          <a:xfrm>
            <a:off x="0" y="15"/>
            <a:ext cx="12192000" cy="454615"/>
          </a:xfrm>
          <a:prstGeom prst="rect">
            <a:avLst/>
          </a:prstGeom>
        </p:spPr>
      </p:pic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9512023" y="6224390"/>
            <a:ext cx="2489604" cy="357593"/>
            <a:chOff x="487363" y="2840038"/>
            <a:chExt cx="8167687" cy="1173162"/>
          </a:xfrm>
        </p:grpSpPr>
        <p:sp>
          <p:nvSpPr>
            <p:cNvPr id="13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487363" y="2843213"/>
              <a:ext cx="8167687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6"/>
            <p:cNvSpPr>
              <a:spLocks noEditPoints="1"/>
            </p:cNvSpPr>
            <p:nvPr userDrawn="1"/>
          </p:nvSpPr>
          <p:spPr bwMode="auto">
            <a:xfrm>
              <a:off x="531813" y="2892425"/>
              <a:ext cx="803275" cy="1068387"/>
            </a:xfrm>
            <a:custGeom>
              <a:avLst/>
              <a:gdLst>
                <a:gd name="T0" fmla="*/ 126 w 506"/>
                <a:gd name="T1" fmla="*/ 172 h 673"/>
                <a:gd name="T2" fmla="*/ 175 w 506"/>
                <a:gd name="T3" fmla="*/ 125 h 673"/>
                <a:gd name="T4" fmla="*/ 333 w 506"/>
                <a:gd name="T5" fmla="*/ 125 h 673"/>
                <a:gd name="T6" fmla="*/ 383 w 506"/>
                <a:gd name="T7" fmla="*/ 172 h 673"/>
                <a:gd name="T8" fmla="*/ 383 w 506"/>
                <a:gd name="T9" fmla="*/ 500 h 673"/>
                <a:gd name="T10" fmla="*/ 333 w 506"/>
                <a:gd name="T11" fmla="*/ 548 h 673"/>
                <a:gd name="T12" fmla="*/ 175 w 506"/>
                <a:gd name="T13" fmla="*/ 548 h 673"/>
                <a:gd name="T14" fmla="*/ 126 w 506"/>
                <a:gd name="T15" fmla="*/ 500 h 673"/>
                <a:gd name="T16" fmla="*/ 126 w 506"/>
                <a:gd name="T17" fmla="*/ 172 h 673"/>
                <a:gd name="T18" fmla="*/ 126 w 506"/>
                <a:gd name="T19" fmla="*/ 172 h 673"/>
                <a:gd name="T20" fmla="*/ 506 w 506"/>
                <a:gd name="T21" fmla="*/ 120 h 673"/>
                <a:gd name="T22" fmla="*/ 385 w 506"/>
                <a:gd name="T23" fmla="*/ 0 h 673"/>
                <a:gd name="T24" fmla="*/ 123 w 506"/>
                <a:gd name="T25" fmla="*/ 0 h 673"/>
                <a:gd name="T26" fmla="*/ 0 w 506"/>
                <a:gd name="T27" fmla="*/ 120 h 673"/>
                <a:gd name="T28" fmla="*/ 0 w 506"/>
                <a:gd name="T29" fmla="*/ 552 h 673"/>
                <a:gd name="T30" fmla="*/ 123 w 506"/>
                <a:gd name="T31" fmla="*/ 673 h 673"/>
                <a:gd name="T32" fmla="*/ 385 w 506"/>
                <a:gd name="T33" fmla="*/ 673 h 673"/>
                <a:gd name="T34" fmla="*/ 506 w 506"/>
                <a:gd name="T35" fmla="*/ 552 h 673"/>
                <a:gd name="T36" fmla="*/ 506 w 506"/>
                <a:gd name="T37" fmla="*/ 120 h 673"/>
                <a:gd name="T38" fmla="*/ 506 w 506"/>
                <a:gd name="T39" fmla="*/ 12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6" h="673">
                  <a:moveTo>
                    <a:pt x="126" y="172"/>
                  </a:moveTo>
                  <a:lnTo>
                    <a:pt x="175" y="125"/>
                  </a:lnTo>
                  <a:lnTo>
                    <a:pt x="333" y="125"/>
                  </a:lnTo>
                  <a:lnTo>
                    <a:pt x="383" y="172"/>
                  </a:lnTo>
                  <a:lnTo>
                    <a:pt x="383" y="500"/>
                  </a:lnTo>
                  <a:lnTo>
                    <a:pt x="333" y="548"/>
                  </a:lnTo>
                  <a:lnTo>
                    <a:pt x="175" y="548"/>
                  </a:lnTo>
                  <a:lnTo>
                    <a:pt x="126" y="500"/>
                  </a:lnTo>
                  <a:lnTo>
                    <a:pt x="126" y="172"/>
                  </a:lnTo>
                  <a:lnTo>
                    <a:pt x="126" y="172"/>
                  </a:lnTo>
                  <a:close/>
                  <a:moveTo>
                    <a:pt x="506" y="120"/>
                  </a:moveTo>
                  <a:lnTo>
                    <a:pt x="385" y="0"/>
                  </a:lnTo>
                  <a:lnTo>
                    <a:pt x="123" y="0"/>
                  </a:lnTo>
                  <a:lnTo>
                    <a:pt x="0" y="120"/>
                  </a:lnTo>
                  <a:lnTo>
                    <a:pt x="0" y="552"/>
                  </a:lnTo>
                  <a:lnTo>
                    <a:pt x="123" y="673"/>
                  </a:lnTo>
                  <a:lnTo>
                    <a:pt x="385" y="673"/>
                  </a:lnTo>
                  <a:lnTo>
                    <a:pt x="506" y="552"/>
                  </a:lnTo>
                  <a:lnTo>
                    <a:pt x="506" y="120"/>
                  </a:lnTo>
                  <a:lnTo>
                    <a:pt x="506" y="120"/>
                  </a:lnTo>
                  <a:close/>
                </a:path>
              </a:pathLst>
            </a:custGeom>
            <a:solidFill>
              <a:srgbClr val="BB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487363" y="2840038"/>
              <a:ext cx="8167687" cy="1169989"/>
            </a:xfrm>
            <a:custGeom>
              <a:avLst/>
              <a:gdLst>
                <a:gd name="T0" fmla="*/ 397 w 2178"/>
                <a:gd name="T1" fmla="*/ 289 h 312"/>
                <a:gd name="T2" fmla="*/ 430 w 2178"/>
                <a:gd name="T3" fmla="*/ 253 h 312"/>
                <a:gd name="T4" fmla="*/ 493 w 2178"/>
                <a:gd name="T5" fmla="*/ 256 h 312"/>
                <a:gd name="T6" fmla="*/ 535 w 2178"/>
                <a:gd name="T7" fmla="*/ 289 h 312"/>
                <a:gd name="T8" fmla="*/ 608 w 2178"/>
                <a:gd name="T9" fmla="*/ 282 h 312"/>
                <a:gd name="T10" fmla="*/ 678 w 2178"/>
                <a:gd name="T11" fmla="*/ 225 h 312"/>
                <a:gd name="T12" fmla="*/ 660 w 2178"/>
                <a:gd name="T13" fmla="*/ 232 h 312"/>
                <a:gd name="T14" fmla="*/ 761 w 2178"/>
                <a:gd name="T15" fmla="*/ 289 h 312"/>
                <a:gd name="T16" fmla="*/ 814 w 2178"/>
                <a:gd name="T17" fmla="*/ 282 h 312"/>
                <a:gd name="T18" fmla="*/ 858 w 2178"/>
                <a:gd name="T19" fmla="*/ 225 h 312"/>
                <a:gd name="T20" fmla="*/ 923 w 2178"/>
                <a:gd name="T21" fmla="*/ 289 h 312"/>
                <a:gd name="T22" fmla="*/ 941 w 2178"/>
                <a:gd name="T23" fmla="*/ 257 h 312"/>
                <a:gd name="T24" fmla="*/ 1061 w 2178"/>
                <a:gd name="T25" fmla="*/ 289 h 312"/>
                <a:gd name="T26" fmla="*/ 1103 w 2178"/>
                <a:gd name="T27" fmla="*/ 282 h 312"/>
                <a:gd name="T28" fmla="*/ 1182 w 2178"/>
                <a:gd name="T29" fmla="*/ 277 h 312"/>
                <a:gd name="T30" fmla="*/ 1197 w 2178"/>
                <a:gd name="T31" fmla="*/ 232 h 312"/>
                <a:gd name="T32" fmla="*/ 1287 w 2178"/>
                <a:gd name="T33" fmla="*/ 289 h 312"/>
                <a:gd name="T34" fmla="*/ 1351 w 2178"/>
                <a:gd name="T35" fmla="*/ 225 h 312"/>
                <a:gd name="T36" fmla="*/ 1367 w 2178"/>
                <a:gd name="T37" fmla="*/ 232 h 312"/>
                <a:gd name="T38" fmla="*/ 1433 w 2178"/>
                <a:gd name="T39" fmla="*/ 264 h 312"/>
                <a:gd name="T40" fmla="*/ 59 w 2178"/>
                <a:gd name="T41" fmla="*/ 0 h 312"/>
                <a:gd name="T42" fmla="*/ 61 w 2178"/>
                <a:gd name="T43" fmla="*/ 307 h 312"/>
                <a:gd name="T44" fmla="*/ 150 w 2178"/>
                <a:gd name="T45" fmla="*/ 238 h 312"/>
                <a:gd name="T46" fmla="*/ 147 w 2178"/>
                <a:gd name="T47" fmla="*/ 80 h 312"/>
                <a:gd name="T48" fmla="*/ 1628 w 2178"/>
                <a:gd name="T49" fmla="*/ 46 h 312"/>
                <a:gd name="T50" fmla="*/ 1515 w 2178"/>
                <a:gd name="T51" fmla="*/ 107 h 312"/>
                <a:gd name="T52" fmla="*/ 1518 w 2178"/>
                <a:gd name="T53" fmla="*/ 39 h 312"/>
                <a:gd name="T54" fmla="*/ 1438 w 2178"/>
                <a:gd name="T55" fmla="*/ 117 h 312"/>
                <a:gd name="T56" fmla="*/ 1441 w 2178"/>
                <a:gd name="T57" fmla="*/ 107 h 312"/>
                <a:gd name="T58" fmla="*/ 1713 w 2178"/>
                <a:gd name="T59" fmla="*/ 48 h 312"/>
                <a:gd name="T60" fmla="*/ 1634 w 2178"/>
                <a:gd name="T61" fmla="*/ 46 h 312"/>
                <a:gd name="T62" fmla="*/ 1974 w 2178"/>
                <a:gd name="T63" fmla="*/ 107 h 312"/>
                <a:gd name="T64" fmla="*/ 2066 w 2178"/>
                <a:gd name="T65" fmla="*/ 109 h 312"/>
                <a:gd name="T66" fmla="*/ 2122 w 2178"/>
                <a:gd name="T67" fmla="*/ 82 h 312"/>
                <a:gd name="T68" fmla="*/ 2138 w 2178"/>
                <a:gd name="T69" fmla="*/ 39 h 312"/>
                <a:gd name="T70" fmla="*/ 1953 w 2178"/>
                <a:gd name="T71" fmla="*/ 94 h 312"/>
                <a:gd name="T72" fmla="*/ 1920 w 2178"/>
                <a:gd name="T73" fmla="*/ 107 h 312"/>
                <a:gd name="T74" fmla="*/ 1855 w 2178"/>
                <a:gd name="T75" fmla="*/ 98 h 312"/>
                <a:gd name="T76" fmla="*/ 1819 w 2178"/>
                <a:gd name="T77" fmla="*/ 48 h 312"/>
                <a:gd name="T78" fmla="*/ 1839 w 2178"/>
                <a:gd name="T79" fmla="*/ 73 h 312"/>
                <a:gd name="T80" fmla="*/ 1784 w 2178"/>
                <a:gd name="T81" fmla="*/ 61 h 312"/>
                <a:gd name="T82" fmla="*/ 1741 w 2178"/>
                <a:gd name="T83" fmla="*/ 48 h 312"/>
                <a:gd name="T84" fmla="*/ 1323 w 2178"/>
                <a:gd name="T85" fmla="*/ 80 h 312"/>
                <a:gd name="T86" fmla="*/ 1342 w 2178"/>
                <a:gd name="T87" fmla="*/ 39 h 312"/>
                <a:gd name="T88" fmla="*/ 557 w 2178"/>
                <a:gd name="T89" fmla="*/ 106 h 312"/>
                <a:gd name="T90" fmla="*/ 557 w 2178"/>
                <a:gd name="T91" fmla="*/ 49 h 312"/>
                <a:gd name="T92" fmla="*/ 566 w 2178"/>
                <a:gd name="T93" fmla="*/ 95 h 312"/>
                <a:gd name="T94" fmla="*/ 327 w 2178"/>
                <a:gd name="T95" fmla="*/ 28 h 312"/>
                <a:gd name="T96" fmla="*/ 399 w 2178"/>
                <a:gd name="T97" fmla="*/ 40 h 312"/>
                <a:gd name="T98" fmla="*/ 757 w 2178"/>
                <a:gd name="T99" fmla="*/ 109 h 312"/>
                <a:gd name="T100" fmla="*/ 768 w 2178"/>
                <a:gd name="T101" fmla="*/ 71 h 312"/>
                <a:gd name="T102" fmla="*/ 750 w 2178"/>
                <a:gd name="T103" fmla="*/ 116 h 312"/>
                <a:gd name="T104" fmla="*/ 480 w 2178"/>
                <a:gd name="T105" fmla="*/ 107 h 312"/>
                <a:gd name="T106" fmla="*/ 445 w 2178"/>
                <a:gd name="T107" fmla="*/ 39 h 312"/>
                <a:gd name="T108" fmla="*/ 1226 w 2178"/>
                <a:gd name="T109" fmla="*/ 107 h 312"/>
                <a:gd name="T110" fmla="*/ 1200 w 2178"/>
                <a:gd name="T111" fmla="*/ 39 h 312"/>
                <a:gd name="T112" fmla="*/ 1093 w 2178"/>
                <a:gd name="T113" fmla="*/ 107 h 312"/>
                <a:gd name="T114" fmla="*/ 1147 w 2178"/>
                <a:gd name="T115" fmla="*/ 116 h 312"/>
                <a:gd name="T116" fmla="*/ 1168 w 2178"/>
                <a:gd name="T117" fmla="*/ 39 h 312"/>
                <a:gd name="T118" fmla="*/ 1011 w 2178"/>
                <a:gd name="T119" fmla="*/ 27 h 312"/>
                <a:gd name="T120" fmla="*/ 984 w 2178"/>
                <a:gd name="T121" fmla="*/ 91 h 312"/>
                <a:gd name="T122" fmla="*/ 806 w 2178"/>
                <a:gd name="T123" fmla="*/ 46 h 312"/>
                <a:gd name="T124" fmla="*/ 890 w 2178"/>
                <a:gd name="T125" fmla="*/ 1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8" h="312">
                  <a:moveTo>
                    <a:pt x="393" y="278"/>
                  </a:moveTo>
                  <a:cubicBezTo>
                    <a:pt x="378" y="225"/>
                    <a:pt x="378" y="225"/>
                    <a:pt x="378" y="225"/>
                  </a:cubicBezTo>
                  <a:cubicBezTo>
                    <a:pt x="371" y="225"/>
                    <a:pt x="371" y="225"/>
                    <a:pt x="371" y="225"/>
                  </a:cubicBezTo>
                  <a:cubicBezTo>
                    <a:pt x="357" y="278"/>
                    <a:pt x="357" y="278"/>
                    <a:pt x="357" y="278"/>
                  </a:cubicBezTo>
                  <a:cubicBezTo>
                    <a:pt x="343" y="225"/>
                    <a:pt x="343" y="225"/>
                    <a:pt x="343" y="225"/>
                  </a:cubicBezTo>
                  <a:cubicBezTo>
                    <a:pt x="334" y="225"/>
                    <a:pt x="334" y="225"/>
                    <a:pt x="334" y="225"/>
                  </a:cubicBezTo>
                  <a:cubicBezTo>
                    <a:pt x="352" y="289"/>
                    <a:pt x="352" y="289"/>
                    <a:pt x="352" y="289"/>
                  </a:cubicBezTo>
                  <a:cubicBezTo>
                    <a:pt x="361" y="289"/>
                    <a:pt x="361" y="289"/>
                    <a:pt x="361" y="289"/>
                  </a:cubicBezTo>
                  <a:cubicBezTo>
                    <a:pt x="375" y="237"/>
                    <a:pt x="375" y="237"/>
                    <a:pt x="375" y="237"/>
                  </a:cubicBezTo>
                  <a:cubicBezTo>
                    <a:pt x="389" y="289"/>
                    <a:pt x="389" y="289"/>
                    <a:pt x="389" y="289"/>
                  </a:cubicBezTo>
                  <a:cubicBezTo>
                    <a:pt x="397" y="289"/>
                    <a:pt x="397" y="289"/>
                    <a:pt x="397" y="289"/>
                  </a:cubicBezTo>
                  <a:cubicBezTo>
                    <a:pt x="416" y="225"/>
                    <a:pt x="416" y="225"/>
                    <a:pt x="416" y="225"/>
                  </a:cubicBezTo>
                  <a:cubicBezTo>
                    <a:pt x="407" y="225"/>
                    <a:pt x="407" y="225"/>
                    <a:pt x="407" y="225"/>
                  </a:cubicBezTo>
                  <a:lnTo>
                    <a:pt x="393" y="278"/>
                  </a:lnTo>
                  <a:close/>
                  <a:moveTo>
                    <a:pt x="422" y="289"/>
                  </a:moveTo>
                  <a:cubicBezTo>
                    <a:pt x="464" y="289"/>
                    <a:pt x="464" y="289"/>
                    <a:pt x="464" y="289"/>
                  </a:cubicBezTo>
                  <a:cubicBezTo>
                    <a:pt x="464" y="282"/>
                    <a:pt x="464" y="282"/>
                    <a:pt x="464" y="282"/>
                  </a:cubicBezTo>
                  <a:cubicBezTo>
                    <a:pt x="430" y="282"/>
                    <a:pt x="430" y="282"/>
                    <a:pt x="430" y="282"/>
                  </a:cubicBezTo>
                  <a:cubicBezTo>
                    <a:pt x="430" y="260"/>
                    <a:pt x="430" y="260"/>
                    <a:pt x="430" y="260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63" y="253"/>
                    <a:pt x="463" y="253"/>
                    <a:pt x="463" y="253"/>
                  </a:cubicBezTo>
                  <a:cubicBezTo>
                    <a:pt x="430" y="253"/>
                    <a:pt x="430" y="253"/>
                    <a:pt x="430" y="253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464" y="232"/>
                    <a:pt x="464" y="232"/>
                    <a:pt x="464" y="232"/>
                  </a:cubicBezTo>
                  <a:cubicBezTo>
                    <a:pt x="464" y="225"/>
                    <a:pt x="464" y="225"/>
                    <a:pt x="464" y="225"/>
                  </a:cubicBezTo>
                  <a:cubicBezTo>
                    <a:pt x="422" y="225"/>
                    <a:pt x="422" y="225"/>
                    <a:pt x="422" y="225"/>
                  </a:cubicBezTo>
                  <a:lnTo>
                    <a:pt x="422" y="289"/>
                  </a:lnTo>
                  <a:close/>
                  <a:moveTo>
                    <a:pt x="527" y="225"/>
                  </a:moveTo>
                  <a:cubicBezTo>
                    <a:pt x="517" y="225"/>
                    <a:pt x="517" y="225"/>
                    <a:pt x="517" y="225"/>
                  </a:cubicBezTo>
                  <a:cubicBezTo>
                    <a:pt x="498" y="251"/>
                    <a:pt x="498" y="251"/>
                    <a:pt x="498" y="251"/>
                  </a:cubicBezTo>
                  <a:cubicBezTo>
                    <a:pt x="479" y="225"/>
                    <a:pt x="479" y="225"/>
                    <a:pt x="479" y="225"/>
                  </a:cubicBezTo>
                  <a:cubicBezTo>
                    <a:pt x="470" y="225"/>
                    <a:pt x="470" y="225"/>
                    <a:pt x="470" y="225"/>
                  </a:cubicBezTo>
                  <a:cubicBezTo>
                    <a:pt x="493" y="256"/>
                    <a:pt x="493" y="256"/>
                    <a:pt x="493" y="256"/>
                  </a:cubicBezTo>
                  <a:cubicBezTo>
                    <a:pt x="468" y="289"/>
                    <a:pt x="468" y="289"/>
                    <a:pt x="468" y="289"/>
                  </a:cubicBezTo>
                  <a:cubicBezTo>
                    <a:pt x="478" y="289"/>
                    <a:pt x="478" y="289"/>
                    <a:pt x="478" y="289"/>
                  </a:cubicBezTo>
                  <a:cubicBezTo>
                    <a:pt x="498" y="262"/>
                    <a:pt x="498" y="262"/>
                    <a:pt x="498" y="262"/>
                  </a:cubicBezTo>
                  <a:cubicBezTo>
                    <a:pt x="519" y="289"/>
                    <a:pt x="519" y="289"/>
                    <a:pt x="519" y="289"/>
                  </a:cubicBezTo>
                  <a:cubicBezTo>
                    <a:pt x="528" y="289"/>
                    <a:pt x="528" y="289"/>
                    <a:pt x="528" y="289"/>
                  </a:cubicBezTo>
                  <a:cubicBezTo>
                    <a:pt x="503" y="256"/>
                    <a:pt x="503" y="256"/>
                    <a:pt x="503" y="256"/>
                  </a:cubicBezTo>
                  <a:lnTo>
                    <a:pt x="527" y="225"/>
                  </a:lnTo>
                  <a:close/>
                  <a:moveTo>
                    <a:pt x="580" y="275"/>
                  </a:moveTo>
                  <a:cubicBezTo>
                    <a:pt x="543" y="225"/>
                    <a:pt x="543" y="225"/>
                    <a:pt x="543" y="225"/>
                  </a:cubicBezTo>
                  <a:cubicBezTo>
                    <a:pt x="535" y="225"/>
                    <a:pt x="535" y="225"/>
                    <a:pt x="535" y="225"/>
                  </a:cubicBezTo>
                  <a:cubicBezTo>
                    <a:pt x="535" y="289"/>
                    <a:pt x="535" y="289"/>
                    <a:pt x="535" y="289"/>
                  </a:cubicBezTo>
                  <a:cubicBezTo>
                    <a:pt x="543" y="289"/>
                    <a:pt x="543" y="289"/>
                    <a:pt x="543" y="289"/>
                  </a:cubicBezTo>
                  <a:cubicBezTo>
                    <a:pt x="543" y="238"/>
                    <a:pt x="543" y="238"/>
                    <a:pt x="543" y="238"/>
                  </a:cubicBezTo>
                  <a:cubicBezTo>
                    <a:pt x="580" y="289"/>
                    <a:pt x="580" y="289"/>
                    <a:pt x="580" y="289"/>
                  </a:cubicBezTo>
                  <a:cubicBezTo>
                    <a:pt x="588" y="289"/>
                    <a:pt x="588" y="289"/>
                    <a:pt x="588" y="289"/>
                  </a:cubicBezTo>
                  <a:cubicBezTo>
                    <a:pt x="588" y="225"/>
                    <a:pt x="588" y="225"/>
                    <a:pt x="588" y="225"/>
                  </a:cubicBezTo>
                  <a:cubicBezTo>
                    <a:pt x="580" y="225"/>
                    <a:pt x="580" y="225"/>
                    <a:pt x="580" y="225"/>
                  </a:cubicBezTo>
                  <a:lnTo>
                    <a:pt x="580" y="275"/>
                  </a:lnTo>
                  <a:close/>
                  <a:moveTo>
                    <a:pt x="600" y="289"/>
                  </a:moveTo>
                  <a:cubicBezTo>
                    <a:pt x="642" y="289"/>
                    <a:pt x="642" y="289"/>
                    <a:pt x="642" y="289"/>
                  </a:cubicBezTo>
                  <a:cubicBezTo>
                    <a:pt x="642" y="282"/>
                    <a:pt x="642" y="282"/>
                    <a:pt x="642" y="282"/>
                  </a:cubicBezTo>
                  <a:cubicBezTo>
                    <a:pt x="608" y="282"/>
                    <a:pt x="608" y="282"/>
                    <a:pt x="608" y="282"/>
                  </a:cubicBezTo>
                  <a:cubicBezTo>
                    <a:pt x="608" y="260"/>
                    <a:pt x="608" y="260"/>
                    <a:pt x="608" y="260"/>
                  </a:cubicBezTo>
                  <a:cubicBezTo>
                    <a:pt x="641" y="260"/>
                    <a:pt x="641" y="260"/>
                    <a:pt x="641" y="260"/>
                  </a:cubicBezTo>
                  <a:cubicBezTo>
                    <a:pt x="641" y="253"/>
                    <a:pt x="641" y="253"/>
                    <a:pt x="641" y="253"/>
                  </a:cubicBezTo>
                  <a:cubicBezTo>
                    <a:pt x="608" y="253"/>
                    <a:pt x="608" y="253"/>
                    <a:pt x="608" y="253"/>
                  </a:cubicBezTo>
                  <a:cubicBezTo>
                    <a:pt x="608" y="232"/>
                    <a:pt x="608" y="232"/>
                    <a:pt x="608" y="232"/>
                  </a:cubicBezTo>
                  <a:cubicBezTo>
                    <a:pt x="642" y="232"/>
                    <a:pt x="642" y="232"/>
                    <a:pt x="642" y="232"/>
                  </a:cubicBezTo>
                  <a:cubicBezTo>
                    <a:pt x="642" y="225"/>
                    <a:pt x="642" y="225"/>
                    <a:pt x="642" y="225"/>
                  </a:cubicBezTo>
                  <a:cubicBezTo>
                    <a:pt x="600" y="225"/>
                    <a:pt x="600" y="225"/>
                    <a:pt x="600" y="225"/>
                  </a:cubicBezTo>
                  <a:lnTo>
                    <a:pt x="600" y="289"/>
                  </a:lnTo>
                  <a:close/>
                  <a:moveTo>
                    <a:pt x="698" y="244"/>
                  </a:moveTo>
                  <a:cubicBezTo>
                    <a:pt x="698" y="233"/>
                    <a:pt x="690" y="225"/>
                    <a:pt x="678" y="225"/>
                  </a:cubicBezTo>
                  <a:cubicBezTo>
                    <a:pt x="652" y="225"/>
                    <a:pt x="652" y="225"/>
                    <a:pt x="652" y="225"/>
                  </a:cubicBezTo>
                  <a:cubicBezTo>
                    <a:pt x="652" y="289"/>
                    <a:pt x="652" y="289"/>
                    <a:pt x="652" y="289"/>
                  </a:cubicBezTo>
                  <a:cubicBezTo>
                    <a:pt x="660" y="289"/>
                    <a:pt x="660" y="289"/>
                    <a:pt x="660" y="289"/>
                  </a:cubicBezTo>
                  <a:cubicBezTo>
                    <a:pt x="660" y="264"/>
                    <a:pt x="660" y="264"/>
                    <a:pt x="660" y="264"/>
                  </a:cubicBezTo>
                  <a:cubicBezTo>
                    <a:pt x="673" y="264"/>
                    <a:pt x="673" y="264"/>
                    <a:pt x="673" y="264"/>
                  </a:cubicBezTo>
                  <a:cubicBezTo>
                    <a:pt x="689" y="289"/>
                    <a:pt x="689" y="289"/>
                    <a:pt x="689" y="289"/>
                  </a:cubicBezTo>
                  <a:cubicBezTo>
                    <a:pt x="699" y="289"/>
                    <a:pt x="699" y="289"/>
                    <a:pt x="699" y="289"/>
                  </a:cubicBezTo>
                  <a:cubicBezTo>
                    <a:pt x="682" y="263"/>
                    <a:pt x="682" y="263"/>
                    <a:pt x="682" y="263"/>
                  </a:cubicBezTo>
                  <a:cubicBezTo>
                    <a:pt x="690" y="262"/>
                    <a:pt x="698" y="256"/>
                    <a:pt x="698" y="244"/>
                  </a:cubicBezTo>
                  <a:close/>
                  <a:moveTo>
                    <a:pt x="660" y="257"/>
                  </a:moveTo>
                  <a:cubicBezTo>
                    <a:pt x="660" y="232"/>
                    <a:pt x="660" y="232"/>
                    <a:pt x="660" y="232"/>
                  </a:cubicBezTo>
                  <a:cubicBezTo>
                    <a:pt x="677" y="232"/>
                    <a:pt x="677" y="232"/>
                    <a:pt x="677" y="232"/>
                  </a:cubicBezTo>
                  <a:cubicBezTo>
                    <a:pt x="685" y="232"/>
                    <a:pt x="690" y="237"/>
                    <a:pt x="690" y="244"/>
                  </a:cubicBezTo>
                  <a:cubicBezTo>
                    <a:pt x="690" y="252"/>
                    <a:pt x="685" y="257"/>
                    <a:pt x="677" y="257"/>
                  </a:cubicBezTo>
                  <a:lnTo>
                    <a:pt x="660" y="257"/>
                  </a:lnTo>
                  <a:close/>
                  <a:moveTo>
                    <a:pt x="762" y="274"/>
                  </a:moveTo>
                  <a:cubicBezTo>
                    <a:pt x="742" y="225"/>
                    <a:pt x="742" y="225"/>
                    <a:pt x="742" y="225"/>
                  </a:cubicBezTo>
                  <a:cubicBezTo>
                    <a:pt x="731" y="225"/>
                    <a:pt x="731" y="225"/>
                    <a:pt x="731" y="225"/>
                  </a:cubicBezTo>
                  <a:cubicBezTo>
                    <a:pt x="731" y="289"/>
                    <a:pt x="731" y="289"/>
                    <a:pt x="731" y="289"/>
                  </a:cubicBezTo>
                  <a:cubicBezTo>
                    <a:pt x="739" y="289"/>
                    <a:pt x="739" y="289"/>
                    <a:pt x="739" y="289"/>
                  </a:cubicBezTo>
                  <a:cubicBezTo>
                    <a:pt x="739" y="235"/>
                    <a:pt x="739" y="235"/>
                    <a:pt x="739" y="235"/>
                  </a:cubicBezTo>
                  <a:cubicBezTo>
                    <a:pt x="761" y="289"/>
                    <a:pt x="761" y="289"/>
                    <a:pt x="761" y="289"/>
                  </a:cubicBezTo>
                  <a:cubicBezTo>
                    <a:pt x="764" y="289"/>
                    <a:pt x="764" y="289"/>
                    <a:pt x="764" y="289"/>
                  </a:cubicBezTo>
                  <a:cubicBezTo>
                    <a:pt x="786" y="235"/>
                    <a:pt x="786" y="235"/>
                    <a:pt x="786" y="235"/>
                  </a:cubicBezTo>
                  <a:cubicBezTo>
                    <a:pt x="786" y="289"/>
                    <a:pt x="786" y="289"/>
                    <a:pt x="786" y="289"/>
                  </a:cubicBezTo>
                  <a:cubicBezTo>
                    <a:pt x="794" y="289"/>
                    <a:pt x="794" y="289"/>
                    <a:pt x="794" y="289"/>
                  </a:cubicBezTo>
                  <a:cubicBezTo>
                    <a:pt x="794" y="225"/>
                    <a:pt x="794" y="225"/>
                    <a:pt x="794" y="225"/>
                  </a:cubicBezTo>
                  <a:cubicBezTo>
                    <a:pt x="782" y="225"/>
                    <a:pt x="782" y="225"/>
                    <a:pt x="782" y="225"/>
                  </a:cubicBezTo>
                  <a:lnTo>
                    <a:pt x="762" y="274"/>
                  </a:lnTo>
                  <a:close/>
                  <a:moveTo>
                    <a:pt x="806" y="289"/>
                  </a:moveTo>
                  <a:cubicBezTo>
                    <a:pt x="848" y="289"/>
                    <a:pt x="848" y="289"/>
                    <a:pt x="848" y="289"/>
                  </a:cubicBezTo>
                  <a:cubicBezTo>
                    <a:pt x="848" y="282"/>
                    <a:pt x="848" y="282"/>
                    <a:pt x="848" y="282"/>
                  </a:cubicBezTo>
                  <a:cubicBezTo>
                    <a:pt x="814" y="282"/>
                    <a:pt x="814" y="282"/>
                    <a:pt x="814" y="282"/>
                  </a:cubicBezTo>
                  <a:cubicBezTo>
                    <a:pt x="814" y="260"/>
                    <a:pt x="814" y="260"/>
                    <a:pt x="814" y="260"/>
                  </a:cubicBezTo>
                  <a:cubicBezTo>
                    <a:pt x="847" y="260"/>
                    <a:pt x="847" y="260"/>
                    <a:pt x="847" y="260"/>
                  </a:cubicBezTo>
                  <a:cubicBezTo>
                    <a:pt x="847" y="253"/>
                    <a:pt x="847" y="253"/>
                    <a:pt x="847" y="253"/>
                  </a:cubicBezTo>
                  <a:cubicBezTo>
                    <a:pt x="814" y="253"/>
                    <a:pt x="814" y="253"/>
                    <a:pt x="814" y="253"/>
                  </a:cubicBezTo>
                  <a:cubicBezTo>
                    <a:pt x="814" y="232"/>
                    <a:pt x="814" y="232"/>
                    <a:pt x="814" y="232"/>
                  </a:cubicBezTo>
                  <a:cubicBezTo>
                    <a:pt x="848" y="232"/>
                    <a:pt x="848" y="232"/>
                    <a:pt x="848" y="232"/>
                  </a:cubicBezTo>
                  <a:cubicBezTo>
                    <a:pt x="848" y="225"/>
                    <a:pt x="848" y="225"/>
                    <a:pt x="848" y="225"/>
                  </a:cubicBezTo>
                  <a:cubicBezTo>
                    <a:pt x="806" y="225"/>
                    <a:pt x="806" y="225"/>
                    <a:pt x="806" y="225"/>
                  </a:cubicBezTo>
                  <a:lnTo>
                    <a:pt x="806" y="289"/>
                  </a:lnTo>
                  <a:close/>
                  <a:moveTo>
                    <a:pt x="880" y="225"/>
                  </a:moveTo>
                  <a:cubicBezTo>
                    <a:pt x="858" y="225"/>
                    <a:pt x="858" y="225"/>
                    <a:pt x="858" y="225"/>
                  </a:cubicBezTo>
                  <a:cubicBezTo>
                    <a:pt x="858" y="289"/>
                    <a:pt x="858" y="289"/>
                    <a:pt x="858" y="289"/>
                  </a:cubicBezTo>
                  <a:cubicBezTo>
                    <a:pt x="880" y="289"/>
                    <a:pt x="880" y="289"/>
                    <a:pt x="880" y="289"/>
                  </a:cubicBezTo>
                  <a:cubicBezTo>
                    <a:pt x="900" y="289"/>
                    <a:pt x="913" y="275"/>
                    <a:pt x="913" y="257"/>
                  </a:cubicBezTo>
                  <a:cubicBezTo>
                    <a:pt x="913" y="239"/>
                    <a:pt x="900" y="225"/>
                    <a:pt x="880" y="225"/>
                  </a:cubicBezTo>
                  <a:close/>
                  <a:moveTo>
                    <a:pt x="880" y="282"/>
                  </a:moveTo>
                  <a:cubicBezTo>
                    <a:pt x="866" y="282"/>
                    <a:pt x="866" y="282"/>
                    <a:pt x="866" y="282"/>
                  </a:cubicBezTo>
                  <a:cubicBezTo>
                    <a:pt x="866" y="232"/>
                    <a:pt x="866" y="232"/>
                    <a:pt x="866" y="232"/>
                  </a:cubicBezTo>
                  <a:cubicBezTo>
                    <a:pt x="880" y="232"/>
                    <a:pt x="880" y="232"/>
                    <a:pt x="880" y="232"/>
                  </a:cubicBezTo>
                  <a:cubicBezTo>
                    <a:pt x="896" y="232"/>
                    <a:pt x="905" y="243"/>
                    <a:pt x="905" y="257"/>
                  </a:cubicBezTo>
                  <a:cubicBezTo>
                    <a:pt x="905" y="271"/>
                    <a:pt x="896" y="282"/>
                    <a:pt x="880" y="282"/>
                  </a:cubicBezTo>
                  <a:close/>
                  <a:moveTo>
                    <a:pt x="923" y="289"/>
                  </a:moveTo>
                  <a:cubicBezTo>
                    <a:pt x="931" y="289"/>
                    <a:pt x="931" y="289"/>
                    <a:pt x="931" y="289"/>
                  </a:cubicBezTo>
                  <a:cubicBezTo>
                    <a:pt x="931" y="225"/>
                    <a:pt x="931" y="225"/>
                    <a:pt x="931" y="225"/>
                  </a:cubicBezTo>
                  <a:cubicBezTo>
                    <a:pt x="923" y="225"/>
                    <a:pt x="923" y="225"/>
                    <a:pt x="923" y="225"/>
                  </a:cubicBezTo>
                  <a:lnTo>
                    <a:pt x="923" y="289"/>
                  </a:lnTo>
                  <a:close/>
                  <a:moveTo>
                    <a:pt x="974" y="283"/>
                  </a:moveTo>
                  <a:cubicBezTo>
                    <a:pt x="960" y="283"/>
                    <a:pt x="949" y="272"/>
                    <a:pt x="949" y="257"/>
                  </a:cubicBezTo>
                  <a:cubicBezTo>
                    <a:pt x="949" y="242"/>
                    <a:pt x="960" y="231"/>
                    <a:pt x="974" y="231"/>
                  </a:cubicBezTo>
                  <a:cubicBezTo>
                    <a:pt x="981" y="231"/>
                    <a:pt x="988" y="235"/>
                    <a:pt x="992" y="240"/>
                  </a:cubicBezTo>
                  <a:cubicBezTo>
                    <a:pt x="998" y="237"/>
                    <a:pt x="998" y="237"/>
                    <a:pt x="998" y="237"/>
                  </a:cubicBezTo>
                  <a:cubicBezTo>
                    <a:pt x="993" y="229"/>
                    <a:pt x="985" y="224"/>
                    <a:pt x="974" y="224"/>
                  </a:cubicBezTo>
                  <a:cubicBezTo>
                    <a:pt x="956" y="224"/>
                    <a:pt x="941" y="237"/>
                    <a:pt x="941" y="257"/>
                  </a:cubicBezTo>
                  <a:cubicBezTo>
                    <a:pt x="941" y="277"/>
                    <a:pt x="956" y="290"/>
                    <a:pt x="974" y="290"/>
                  </a:cubicBezTo>
                  <a:cubicBezTo>
                    <a:pt x="985" y="290"/>
                    <a:pt x="993" y="285"/>
                    <a:pt x="998" y="277"/>
                  </a:cubicBezTo>
                  <a:cubicBezTo>
                    <a:pt x="992" y="274"/>
                    <a:pt x="992" y="274"/>
                    <a:pt x="992" y="274"/>
                  </a:cubicBezTo>
                  <a:cubicBezTo>
                    <a:pt x="988" y="279"/>
                    <a:pt x="981" y="283"/>
                    <a:pt x="974" y="283"/>
                  </a:cubicBezTo>
                  <a:close/>
                  <a:moveTo>
                    <a:pt x="1025" y="225"/>
                  </a:moveTo>
                  <a:cubicBezTo>
                    <a:pt x="999" y="289"/>
                    <a:pt x="999" y="289"/>
                    <a:pt x="999" y="289"/>
                  </a:cubicBezTo>
                  <a:cubicBezTo>
                    <a:pt x="1008" y="289"/>
                    <a:pt x="1008" y="289"/>
                    <a:pt x="1008" y="289"/>
                  </a:cubicBezTo>
                  <a:cubicBezTo>
                    <a:pt x="1014" y="275"/>
                    <a:pt x="1014" y="275"/>
                    <a:pt x="1014" y="275"/>
                  </a:cubicBezTo>
                  <a:cubicBezTo>
                    <a:pt x="1046" y="275"/>
                    <a:pt x="1046" y="275"/>
                    <a:pt x="1046" y="275"/>
                  </a:cubicBezTo>
                  <a:cubicBezTo>
                    <a:pt x="1052" y="289"/>
                    <a:pt x="1052" y="289"/>
                    <a:pt x="1052" y="289"/>
                  </a:cubicBezTo>
                  <a:cubicBezTo>
                    <a:pt x="1061" y="289"/>
                    <a:pt x="1061" y="289"/>
                    <a:pt x="1061" y="289"/>
                  </a:cubicBezTo>
                  <a:cubicBezTo>
                    <a:pt x="1035" y="225"/>
                    <a:pt x="1035" y="225"/>
                    <a:pt x="1035" y="225"/>
                  </a:cubicBezTo>
                  <a:lnTo>
                    <a:pt x="1025" y="225"/>
                  </a:lnTo>
                  <a:close/>
                  <a:moveTo>
                    <a:pt x="1017" y="268"/>
                  </a:moveTo>
                  <a:cubicBezTo>
                    <a:pt x="1030" y="233"/>
                    <a:pt x="1030" y="233"/>
                    <a:pt x="1030" y="233"/>
                  </a:cubicBezTo>
                  <a:cubicBezTo>
                    <a:pt x="1044" y="268"/>
                    <a:pt x="1044" y="268"/>
                    <a:pt x="1044" y="268"/>
                  </a:cubicBezTo>
                  <a:lnTo>
                    <a:pt x="1017" y="268"/>
                  </a:lnTo>
                  <a:close/>
                  <a:moveTo>
                    <a:pt x="1074" y="225"/>
                  </a:moveTo>
                  <a:cubicBezTo>
                    <a:pt x="1066" y="225"/>
                    <a:pt x="1066" y="225"/>
                    <a:pt x="1066" y="225"/>
                  </a:cubicBezTo>
                  <a:cubicBezTo>
                    <a:pt x="1066" y="289"/>
                    <a:pt x="1066" y="289"/>
                    <a:pt x="1066" y="289"/>
                  </a:cubicBezTo>
                  <a:cubicBezTo>
                    <a:pt x="1103" y="289"/>
                    <a:pt x="1103" y="289"/>
                    <a:pt x="1103" y="289"/>
                  </a:cubicBezTo>
                  <a:cubicBezTo>
                    <a:pt x="1103" y="282"/>
                    <a:pt x="1103" y="282"/>
                    <a:pt x="1103" y="282"/>
                  </a:cubicBezTo>
                  <a:cubicBezTo>
                    <a:pt x="1074" y="282"/>
                    <a:pt x="1074" y="282"/>
                    <a:pt x="1074" y="282"/>
                  </a:cubicBezTo>
                  <a:lnTo>
                    <a:pt x="1074" y="225"/>
                  </a:lnTo>
                  <a:close/>
                  <a:moveTo>
                    <a:pt x="1157" y="283"/>
                  </a:moveTo>
                  <a:cubicBezTo>
                    <a:pt x="1143" y="283"/>
                    <a:pt x="1133" y="272"/>
                    <a:pt x="1133" y="257"/>
                  </a:cubicBezTo>
                  <a:cubicBezTo>
                    <a:pt x="1133" y="242"/>
                    <a:pt x="1143" y="231"/>
                    <a:pt x="1157" y="231"/>
                  </a:cubicBezTo>
                  <a:cubicBezTo>
                    <a:pt x="1165" y="231"/>
                    <a:pt x="1171" y="235"/>
                    <a:pt x="1175" y="240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76" y="229"/>
                    <a:pt x="1169" y="224"/>
                    <a:pt x="1157" y="224"/>
                  </a:cubicBezTo>
                  <a:cubicBezTo>
                    <a:pt x="1139" y="224"/>
                    <a:pt x="1124" y="237"/>
                    <a:pt x="1124" y="257"/>
                  </a:cubicBezTo>
                  <a:cubicBezTo>
                    <a:pt x="1124" y="277"/>
                    <a:pt x="1139" y="290"/>
                    <a:pt x="1157" y="290"/>
                  </a:cubicBezTo>
                  <a:cubicBezTo>
                    <a:pt x="1169" y="290"/>
                    <a:pt x="1176" y="285"/>
                    <a:pt x="1182" y="277"/>
                  </a:cubicBezTo>
                  <a:cubicBezTo>
                    <a:pt x="1175" y="274"/>
                    <a:pt x="1175" y="274"/>
                    <a:pt x="1175" y="274"/>
                  </a:cubicBezTo>
                  <a:cubicBezTo>
                    <a:pt x="1171" y="279"/>
                    <a:pt x="1165" y="283"/>
                    <a:pt x="1157" y="283"/>
                  </a:cubicBezTo>
                  <a:close/>
                  <a:moveTo>
                    <a:pt x="1189" y="289"/>
                  </a:moveTo>
                  <a:cubicBezTo>
                    <a:pt x="1231" y="289"/>
                    <a:pt x="1231" y="289"/>
                    <a:pt x="1231" y="289"/>
                  </a:cubicBezTo>
                  <a:cubicBezTo>
                    <a:pt x="1231" y="282"/>
                    <a:pt x="1231" y="282"/>
                    <a:pt x="1231" y="282"/>
                  </a:cubicBezTo>
                  <a:cubicBezTo>
                    <a:pt x="1197" y="282"/>
                    <a:pt x="1197" y="282"/>
                    <a:pt x="1197" y="282"/>
                  </a:cubicBezTo>
                  <a:cubicBezTo>
                    <a:pt x="1197" y="260"/>
                    <a:pt x="1197" y="260"/>
                    <a:pt x="1197" y="260"/>
                  </a:cubicBezTo>
                  <a:cubicBezTo>
                    <a:pt x="1231" y="260"/>
                    <a:pt x="1231" y="260"/>
                    <a:pt x="1231" y="260"/>
                  </a:cubicBezTo>
                  <a:cubicBezTo>
                    <a:pt x="1231" y="253"/>
                    <a:pt x="1231" y="253"/>
                    <a:pt x="1231" y="253"/>
                  </a:cubicBezTo>
                  <a:cubicBezTo>
                    <a:pt x="1197" y="253"/>
                    <a:pt x="1197" y="253"/>
                    <a:pt x="1197" y="253"/>
                  </a:cubicBezTo>
                  <a:cubicBezTo>
                    <a:pt x="1197" y="232"/>
                    <a:pt x="1197" y="232"/>
                    <a:pt x="1197" y="232"/>
                  </a:cubicBezTo>
                  <a:cubicBezTo>
                    <a:pt x="1231" y="232"/>
                    <a:pt x="1231" y="232"/>
                    <a:pt x="1231" y="232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189" y="225"/>
                    <a:pt x="1189" y="225"/>
                    <a:pt x="1189" y="225"/>
                  </a:cubicBezTo>
                  <a:lnTo>
                    <a:pt x="1189" y="289"/>
                  </a:lnTo>
                  <a:close/>
                  <a:moveTo>
                    <a:pt x="1287" y="275"/>
                  </a:moveTo>
                  <a:cubicBezTo>
                    <a:pt x="1250" y="225"/>
                    <a:pt x="1250" y="225"/>
                    <a:pt x="1250" y="225"/>
                  </a:cubicBezTo>
                  <a:cubicBezTo>
                    <a:pt x="1242" y="225"/>
                    <a:pt x="1242" y="225"/>
                    <a:pt x="1242" y="225"/>
                  </a:cubicBezTo>
                  <a:cubicBezTo>
                    <a:pt x="1242" y="289"/>
                    <a:pt x="1242" y="289"/>
                    <a:pt x="1242" y="289"/>
                  </a:cubicBezTo>
                  <a:cubicBezTo>
                    <a:pt x="1250" y="289"/>
                    <a:pt x="1250" y="289"/>
                    <a:pt x="1250" y="289"/>
                  </a:cubicBezTo>
                  <a:cubicBezTo>
                    <a:pt x="1250" y="238"/>
                    <a:pt x="1250" y="238"/>
                    <a:pt x="1250" y="238"/>
                  </a:cubicBezTo>
                  <a:cubicBezTo>
                    <a:pt x="1287" y="289"/>
                    <a:pt x="1287" y="289"/>
                    <a:pt x="1287" y="289"/>
                  </a:cubicBezTo>
                  <a:cubicBezTo>
                    <a:pt x="1295" y="289"/>
                    <a:pt x="1295" y="289"/>
                    <a:pt x="1295" y="289"/>
                  </a:cubicBezTo>
                  <a:cubicBezTo>
                    <a:pt x="1295" y="225"/>
                    <a:pt x="1295" y="225"/>
                    <a:pt x="1295" y="225"/>
                  </a:cubicBezTo>
                  <a:cubicBezTo>
                    <a:pt x="1287" y="225"/>
                    <a:pt x="1287" y="225"/>
                    <a:pt x="1287" y="225"/>
                  </a:cubicBezTo>
                  <a:lnTo>
                    <a:pt x="1287" y="275"/>
                  </a:lnTo>
                  <a:close/>
                  <a:moveTo>
                    <a:pt x="1303" y="232"/>
                  </a:moveTo>
                  <a:cubicBezTo>
                    <a:pt x="1323" y="232"/>
                    <a:pt x="1323" y="232"/>
                    <a:pt x="1323" y="232"/>
                  </a:cubicBezTo>
                  <a:cubicBezTo>
                    <a:pt x="1323" y="289"/>
                    <a:pt x="1323" y="289"/>
                    <a:pt x="1323" y="289"/>
                  </a:cubicBezTo>
                  <a:cubicBezTo>
                    <a:pt x="1331" y="289"/>
                    <a:pt x="1331" y="289"/>
                    <a:pt x="1331" y="289"/>
                  </a:cubicBezTo>
                  <a:cubicBezTo>
                    <a:pt x="1331" y="232"/>
                    <a:pt x="1331" y="232"/>
                    <a:pt x="1331" y="232"/>
                  </a:cubicBezTo>
                  <a:cubicBezTo>
                    <a:pt x="1351" y="232"/>
                    <a:pt x="1351" y="232"/>
                    <a:pt x="1351" y="232"/>
                  </a:cubicBezTo>
                  <a:cubicBezTo>
                    <a:pt x="1351" y="225"/>
                    <a:pt x="1351" y="225"/>
                    <a:pt x="1351" y="225"/>
                  </a:cubicBezTo>
                  <a:cubicBezTo>
                    <a:pt x="1303" y="225"/>
                    <a:pt x="1303" y="225"/>
                    <a:pt x="1303" y="225"/>
                  </a:cubicBezTo>
                  <a:lnTo>
                    <a:pt x="1303" y="232"/>
                  </a:lnTo>
                  <a:close/>
                  <a:moveTo>
                    <a:pt x="1360" y="289"/>
                  </a:moveTo>
                  <a:cubicBezTo>
                    <a:pt x="1401" y="289"/>
                    <a:pt x="1401" y="289"/>
                    <a:pt x="1401" y="289"/>
                  </a:cubicBezTo>
                  <a:cubicBezTo>
                    <a:pt x="1401" y="282"/>
                    <a:pt x="1401" y="282"/>
                    <a:pt x="1401" y="282"/>
                  </a:cubicBezTo>
                  <a:cubicBezTo>
                    <a:pt x="1367" y="282"/>
                    <a:pt x="1367" y="282"/>
                    <a:pt x="1367" y="282"/>
                  </a:cubicBezTo>
                  <a:cubicBezTo>
                    <a:pt x="1367" y="260"/>
                    <a:pt x="1367" y="260"/>
                    <a:pt x="1367" y="260"/>
                  </a:cubicBezTo>
                  <a:cubicBezTo>
                    <a:pt x="1401" y="260"/>
                    <a:pt x="1401" y="260"/>
                    <a:pt x="1401" y="260"/>
                  </a:cubicBezTo>
                  <a:cubicBezTo>
                    <a:pt x="1401" y="253"/>
                    <a:pt x="1401" y="253"/>
                    <a:pt x="1401" y="253"/>
                  </a:cubicBezTo>
                  <a:cubicBezTo>
                    <a:pt x="1367" y="253"/>
                    <a:pt x="1367" y="253"/>
                    <a:pt x="1367" y="253"/>
                  </a:cubicBezTo>
                  <a:cubicBezTo>
                    <a:pt x="1367" y="232"/>
                    <a:pt x="1367" y="232"/>
                    <a:pt x="1367" y="232"/>
                  </a:cubicBezTo>
                  <a:cubicBezTo>
                    <a:pt x="1401" y="232"/>
                    <a:pt x="1401" y="232"/>
                    <a:pt x="1401" y="232"/>
                  </a:cubicBezTo>
                  <a:cubicBezTo>
                    <a:pt x="1401" y="225"/>
                    <a:pt x="1401" y="225"/>
                    <a:pt x="1401" y="225"/>
                  </a:cubicBezTo>
                  <a:cubicBezTo>
                    <a:pt x="1360" y="225"/>
                    <a:pt x="1360" y="225"/>
                    <a:pt x="1360" y="225"/>
                  </a:cubicBezTo>
                  <a:lnTo>
                    <a:pt x="1360" y="289"/>
                  </a:lnTo>
                  <a:close/>
                  <a:moveTo>
                    <a:pt x="1458" y="244"/>
                  </a:moveTo>
                  <a:cubicBezTo>
                    <a:pt x="1458" y="233"/>
                    <a:pt x="1449" y="225"/>
                    <a:pt x="1437" y="225"/>
                  </a:cubicBezTo>
                  <a:cubicBezTo>
                    <a:pt x="1412" y="225"/>
                    <a:pt x="1412" y="225"/>
                    <a:pt x="1412" y="225"/>
                  </a:cubicBezTo>
                  <a:cubicBezTo>
                    <a:pt x="1412" y="289"/>
                    <a:pt x="1412" y="289"/>
                    <a:pt x="1412" y="289"/>
                  </a:cubicBezTo>
                  <a:cubicBezTo>
                    <a:pt x="1420" y="289"/>
                    <a:pt x="1420" y="289"/>
                    <a:pt x="1420" y="289"/>
                  </a:cubicBezTo>
                  <a:cubicBezTo>
                    <a:pt x="1420" y="264"/>
                    <a:pt x="1420" y="264"/>
                    <a:pt x="1420" y="264"/>
                  </a:cubicBezTo>
                  <a:cubicBezTo>
                    <a:pt x="1433" y="264"/>
                    <a:pt x="1433" y="264"/>
                    <a:pt x="1433" y="264"/>
                  </a:cubicBezTo>
                  <a:cubicBezTo>
                    <a:pt x="1449" y="289"/>
                    <a:pt x="1449" y="289"/>
                    <a:pt x="1449" y="289"/>
                  </a:cubicBezTo>
                  <a:cubicBezTo>
                    <a:pt x="1458" y="289"/>
                    <a:pt x="1458" y="289"/>
                    <a:pt x="1458" y="289"/>
                  </a:cubicBezTo>
                  <a:cubicBezTo>
                    <a:pt x="1441" y="263"/>
                    <a:pt x="1441" y="263"/>
                    <a:pt x="1441" y="263"/>
                  </a:cubicBezTo>
                  <a:cubicBezTo>
                    <a:pt x="1450" y="262"/>
                    <a:pt x="1458" y="256"/>
                    <a:pt x="1458" y="244"/>
                  </a:cubicBezTo>
                  <a:close/>
                  <a:moveTo>
                    <a:pt x="1420" y="257"/>
                  </a:moveTo>
                  <a:cubicBezTo>
                    <a:pt x="1420" y="232"/>
                    <a:pt x="1420" y="232"/>
                    <a:pt x="1420" y="232"/>
                  </a:cubicBezTo>
                  <a:cubicBezTo>
                    <a:pt x="1437" y="232"/>
                    <a:pt x="1437" y="232"/>
                    <a:pt x="1437" y="232"/>
                  </a:cubicBezTo>
                  <a:cubicBezTo>
                    <a:pt x="1444" y="232"/>
                    <a:pt x="1449" y="237"/>
                    <a:pt x="1449" y="244"/>
                  </a:cubicBezTo>
                  <a:cubicBezTo>
                    <a:pt x="1449" y="252"/>
                    <a:pt x="1444" y="257"/>
                    <a:pt x="1437" y="257"/>
                  </a:cubicBezTo>
                  <a:lnTo>
                    <a:pt x="1420" y="257"/>
                  </a:lnTo>
                  <a:close/>
                  <a:moveTo>
                    <a:pt x="59" y="0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58" y="312"/>
                    <a:pt x="58" y="312"/>
                    <a:pt x="58" y="312"/>
                  </a:cubicBezTo>
                  <a:cubicBezTo>
                    <a:pt x="180" y="312"/>
                    <a:pt x="180" y="312"/>
                    <a:pt x="180" y="312"/>
                  </a:cubicBezTo>
                  <a:cubicBezTo>
                    <a:pt x="239" y="253"/>
                    <a:pt x="239" y="253"/>
                    <a:pt x="239" y="25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180" y="0"/>
                    <a:pt x="180" y="0"/>
                    <a:pt x="180" y="0"/>
                  </a:cubicBezTo>
                  <a:lnTo>
                    <a:pt x="59" y="0"/>
                  </a:lnTo>
                  <a:close/>
                  <a:moveTo>
                    <a:pt x="233" y="251"/>
                  </a:moveTo>
                  <a:cubicBezTo>
                    <a:pt x="178" y="307"/>
                    <a:pt x="178" y="307"/>
                    <a:pt x="178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5" y="251"/>
                    <a:pt x="5" y="251"/>
                    <a:pt x="5" y="25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233" y="60"/>
                    <a:pt x="233" y="60"/>
                    <a:pt x="233" y="60"/>
                  </a:cubicBezTo>
                  <a:lnTo>
                    <a:pt x="233" y="251"/>
                  </a:lnTo>
                  <a:close/>
                  <a:moveTo>
                    <a:pt x="89" y="75"/>
                  </a:moveTo>
                  <a:cubicBezTo>
                    <a:pt x="73" y="91"/>
                    <a:pt x="73" y="91"/>
                    <a:pt x="73" y="91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89" y="238"/>
                    <a:pt x="89" y="238"/>
                    <a:pt x="89" y="238"/>
                  </a:cubicBezTo>
                  <a:cubicBezTo>
                    <a:pt x="150" y="238"/>
                    <a:pt x="150" y="238"/>
                    <a:pt x="150" y="238"/>
                  </a:cubicBezTo>
                  <a:cubicBezTo>
                    <a:pt x="165" y="222"/>
                    <a:pt x="165" y="222"/>
                    <a:pt x="165" y="222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49" y="75"/>
                    <a:pt x="149" y="75"/>
                    <a:pt x="149" y="75"/>
                  </a:cubicBezTo>
                  <a:lnTo>
                    <a:pt x="89" y="75"/>
                  </a:lnTo>
                  <a:close/>
                  <a:moveTo>
                    <a:pt x="160" y="220"/>
                  </a:moveTo>
                  <a:cubicBezTo>
                    <a:pt x="147" y="233"/>
                    <a:pt x="147" y="233"/>
                    <a:pt x="147" y="233"/>
                  </a:cubicBezTo>
                  <a:cubicBezTo>
                    <a:pt x="91" y="233"/>
                    <a:pt x="91" y="233"/>
                    <a:pt x="91" y="233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9" y="93"/>
                    <a:pt x="79" y="93"/>
                    <a:pt x="79" y="93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60" y="93"/>
                    <a:pt x="160" y="93"/>
                    <a:pt x="160" y="93"/>
                  </a:cubicBezTo>
                  <a:lnTo>
                    <a:pt x="160" y="220"/>
                  </a:lnTo>
                  <a:close/>
                  <a:moveTo>
                    <a:pt x="318" y="169"/>
                  </a:moveTo>
                  <a:cubicBezTo>
                    <a:pt x="318" y="174"/>
                    <a:pt x="318" y="174"/>
                    <a:pt x="318" y="174"/>
                  </a:cubicBezTo>
                  <a:cubicBezTo>
                    <a:pt x="2178" y="174"/>
                    <a:pt x="2178" y="174"/>
                    <a:pt x="2178" y="174"/>
                  </a:cubicBezTo>
                  <a:cubicBezTo>
                    <a:pt x="2178" y="169"/>
                    <a:pt x="2178" y="169"/>
                    <a:pt x="2178" y="169"/>
                  </a:cubicBezTo>
                  <a:lnTo>
                    <a:pt x="318" y="169"/>
                  </a:lnTo>
                  <a:close/>
                  <a:moveTo>
                    <a:pt x="1628" y="109"/>
                  </a:moveTo>
                  <a:cubicBezTo>
                    <a:pt x="1616" y="107"/>
                    <a:pt x="1616" y="107"/>
                    <a:pt x="1616" y="107"/>
                  </a:cubicBezTo>
                  <a:cubicBezTo>
                    <a:pt x="1616" y="48"/>
                    <a:pt x="1616" y="48"/>
                    <a:pt x="1616" y="48"/>
                  </a:cubicBezTo>
                  <a:cubicBezTo>
                    <a:pt x="1628" y="46"/>
                    <a:pt x="1628" y="46"/>
                    <a:pt x="1628" y="46"/>
                  </a:cubicBezTo>
                  <a:cubicBezTo>
                    <a:pt x="1628" y="39"/>
                    <a:pt x="1628" y="39"/>
                    <a:pt x="1628" y="39"/>
                  </a:cubicBezTo>
                  <a:cubicBezTo>
                    <a:pt x="1587" y="39"/>
                    <a:pt x="1587" y="39"/>
                    <a:pt x="1587" y="39"/>
                  </a:cubicBezTo>
                  <a:cubicBezTo>
                    <a:pt x="1587" y="46"/>
                    <a:pt x="1587" y="46"/>
                    <a:pt x="1587" y="46"/>
                  </a:cubicBezTo>
                  <a:cubicBezTo>
                    <a:pt x="1599" y="48"/>
                    <a:pt x="1599" y="48"/>
                    <a:pt x="1599" y="48"/>
                  </a:cubicBezTo>
                  <a:cubicBezTo>
                    <a:pt x="1599" y="107"/>
                    <a:pt x="1599" y="107"/>
                    <a:pt x="1599" y="107"/>
                  </a:cubicBezTo>
                  <a:cubicBezTo>
                    <a:pt x="1587" y="109"/>
                    <a:pt x="1587" y="109"/>
                    <a:pt x="1587" y="109"/>
                  </a:cubicBezTo>
                  <a:cubicBezTo>
                    <a:pt x="1587" y="116"/>
                    <a:pt x="1587" y="116"/>
                    <a:pt x="1587" y="116"/>
                  </a:cubicBezTo>
                  <a:cubicBezTo>
                    <a:pt x="1628" y="116"/>
                    <a:pt x="1628" y="116"/>
                    <a:pt x="1628" y="116"/>
                  </a:cubicBezTo>
                  <a:lnTo>
                    <a:pt x="1628" y="109"/>
                  </a:lnTo>
                  <a:close/>
                  <a:moveTo>
                    <a:pt x="1526" y="109"/>
                  </a:moveTo>
                  <a:cubicBezTo>
                    <a:pt x="1515" y="107"/>
                    <a:pt x="1515" y="107"/>
                    <a:pt x="1515" y="107"/>
                  </a:cubicBezTo>
                  <a:cubicBezTo>
                    <a:pt x="1515" y="61"/>
                    <a:pt x="1515" y="61"/>
                    <a:pt x="1515" y="61"/>
                  </a:cubicBezTo>
                  <a:cubicBezTo>
                    <a:pt x="1553" y="116"/>
                    <a:pt x="1553" y="116"/>
                    <a:pt x="1553" y="116"/>
                  </a:cubicBezTo>
                  <a:cubicBezTo>
                    <a:pt x="1567" y="116"/>
                    <a:pt x="1567" y="116"/>
                    <a:pt x="1567" y="116"/>
                  </a:cubicBezTo>
                  <a:cubicBezTo>
                    <a:pt x="1567" y="48"/>
                    <a:pt x="1567" y="48"/>
                    <a:pt x="1567" y="48"/>
                  </a:cubicBezTo>
                  <a:cubicBezTo>
                    <a:pt x="1578" y="46"/>
                    <a:pt x="1578" y="46"/>
                    <a:pt x="1578" y="46"/>
                  </a:cubicBezTo>
                  <a:cubicBezTo>
                    <a:pt x="1578" y="39"/>
                    <a:pt x="1578" y="39"/>
                    <a:pt x="1578" y="39"/>
                  </a:cubicBezTo>
                  <a:cubicBezTo>
                    <a:pt x="1544" y="39"/>
                    <a:pt x="1544" y="39"/>
                    <a:pt x="1544" y="39"/>
                  </a:cubicBezTo>
                  <a:cubicBezTo>
                    <a:pt x="1544" y="46"/>
                    <a:pt x="1544" y="46"/>
                    <a:pt x="1544" y="46"/>
                  </a:cubicBezTo>
                  <a:cubicBezTo>
                    <a:pt x="1556" y="48"/>
                    <a:pt x="1556" y="48"/>
                    <a:pt x="1556" y="48"/>
                  </a:cubicBezTo>
                  <a:cubicBezTo>
                    <a:pt x="1556" y="91"/>
                    <a:pt x="1556" y="91"/>
                    <a:pt x="1556" y="91"/>
                  </a:cubicBezTo>
                  <a:cubicBezTo>
                    <a:pt x="1518" y="39"/>
                    <a:pt x="1518" y="39"/>
                    <a:pt x="1518" y="39"/>
                  </a:cubicBezTo>
                  <a:cubicBezTo>
                    <a:pt x="1492" y="39"/>
                    <a:pt x="1492" y="39"/>
                    <a:pt x="1492" y="39"/>
                  </a:cubicBezTo>
                  <a:cubicBezTo>
                    <a:pt x="1492" y="46"/>
                    <a:pt x="1492" y="46"/>
                    <a:pt x="1492" y="46"/>
                  </a:cubicBezTo>
                  <a:cubicBezTo>
                    <a:pt x="1503" y="48"/>
                    <a:pt x="1503" y="48"/>
                    <a:pt x="1503" y="48"/>
                  </a:cubicBezTo>
                  <a:cubicBezTo>
                    <a:pt x="1503" y="107"/>
                    <a:pt x="1503" y="107"/>
                    <a:pt x="1503" y="107"/>
                  </a:cubicBezTo>
                  <a:cubicBezTo>
                    <a:pt x="1492" y="109"/>
                    <a:pt x="1492" y="109"/>
                    <a:pt x="1492" y="109"/>
                  </a:cubicBezTo>
                  <a:cubicBezTo>
                    <a:pt x="1492" y="116"/>
                    <a:pt x="1492" y="116"/>
                    <a:pt x="1492" y="116"/>
                  </a:cubicBezTo>
                  <a:cubicBezTo>
                    <a:pt x="1526" y="116"/>
                    <a:pt x="1526" y="116"/>
                    <a:pt x="1526" y="116"/>
                  </a:cubicBezTo>
                  <a:lnTo>
                    <a:pt x="1526" y="109"/>
                  </a:lnTo>
                  <a:close/>
                  <a:moveTo>
                    <a:pt x="1400" y="76"/>
                  </a:moveTo>
                  <a:cubicBezTo>
                    <a:pt x="1400" y="86"/>
                    <a:pt x="1399" y="99"/>
                    <a:pt x="1407" y="107"/>
                  </a:cubicBezTo>
                  <a:cubicBezTo>
                    <a:pt x="1414" y="114"/>
                    <a:pt x="1424" y="117"/>
                    <a:pt x="1438" y="117"/>
                  </a:cubicBezTo>
                  <a:cubicBezTo>
                    <a:pt x="1451" y="117"/>
                    <a:pt x="1461" y="115"/>
                    <a:pt x="1466" y="109"/>
                  </a:cubicBezTo>
                  <a:cubicBezTo>
                    <a:pt x="1474" y="101"/>
                    <a:pt x="1475" y="94"/>
                    <a:pt x="1475" y="77"/>
                  </a:cubicBezTo>
                  <a:cubicBezTo>
                    <a:pt x="1475" y="27"/>
                    <a:pt x="1475" y="27"/>
                    <a:pt x="1475" y="27"/>
                  </a:cubicBezTo>
                  <a:cubicBezTo>
                    <a:pt x="1487" y="26"/>
                    <a:pt x="1487" y="26"/>
                    <a:pt x="1487" y="26"/>
                  </a:cubicBezTo>
                  <a:cubicBezTo>
                    <a:pt x="1487" y="18"/>
                    <a:pt x="1487" y="18"/>
                    <a:pt x="1487" y="18"/>
                  </a:cubicBezTo>
                  <a:cubicBezTo>
                    <a:pt x="1452" y="18"/>
                    <a:pt x="1452" y="18"/>
                    <a:pt x="1452" y="18"/>
                  </a:cubicBezTo>
                  <a:cubicBezTo>
                    <a:pt x="1452" y="26"/>
                    <a:pt x="1452" y="26"/>
                    <a:pt x="1452" y="26"/>
                  </a:cubicBezTo>
                  <a:cubicBezTo>
                    <a:pt x="1463" y="27"/>
                    <a:pt x="1463" y="27"/>
                    <a:pt x="1463" y="27"/>
                  </a:cubicBezTo>
                  <a:cubicBezTo>
                    <a:pt x="1463" y="84"/>
                    <a:pt x="1463" y="84"/>
                    <a:pt x="1463" y="84"/>
                  </a:cubicBezTo>
                  <a:cubicBezTo>
                    <a:pt x="1463" y="92"/>
                    <a:pt x="1461" y="97"/>
                    <a:pt x="1458" y="101"/>
                  </a:cubicBezTo>
                  <a:cubicBezTo>
                    <a:pt x="1454" y="105"/>
                    <a:pt x="1448" y="107"/>
                    <a:pt x="1441" y="107"/>
                  </a:cubicBezTo>
                  <a:cubicBezTo>
                    <a:pt x="1427" y="107"/>
                    <a:pt x="1418" y="100"/>
                    <a:pt x="1418" y="84"/>
                  </a:cubicBezTo>
                  <a:cubicBezTo>
                    <a:pt x="1418" y="27"/>
                    <a:pt x="1418" y="27"/>
                    <a:pt x="1418" y="27"/>
                  </a:cubicBezTo>
                  <a:cubicBezTo>
                    <a:pt x="1430" y="26"/>
                    <a:pt x="1430" y="26"/>
                    <a:pt x="1430" y="26"/>
                  </a:cubicBezTo>
                  <a:cubicBezTo>
                    <a:pt x="1430" y="18"/>
                    <a:pt x="1430" y="18"/>
                    <a:pt x="1430" y="18"/>
                  </a:cubicBezTo>
                  <a:cubicBezTo>
                    <a:pt x="1388" y="18"/>
                    <a:pt x="1388" y="18"/>
                    <a:pt x="1388" y="18"/>
                  </a:cubicBezTo>
                  <a:cubicBezTo>
                    <a:pt x="1388" y="26"/>
                    <a:pt x="1388" y="26"/>
                    <a:pt x="1388" y="26"/>
                  </a:cubicBezTo>
                  <a:cubicBezTo>
                    <a:pt x="1400" y="27"/>
                    <a:pt x="1400" y="27"/>
                    <a:pt x="1400" y="27"/>
                  </a:cubicBezTo>
                  <a:lnTo>
                    <a:pt x="1400" y="76"/>
                  </a:lnTo>
                  <a:close/>
                  <a:moveTo>
                    <a:pt x="1671" y="116"/>
                  </a:moveTo>
                  <a:cubicBezTo>
                    <a:pt x="1687" y="116"/>
                    <a:pt x="1687" y="116"/>
                    <a:pt x="1687" y="116"/>
                  </a:cubicBezTo>
                  <a:cubicBezTo>
                    <a:pt x="1713" y="48"/>
                    <a:pt x="1713" y="48"/>
                    <a:pt x="1713" y="48"/>
                  </a:cubicBezTo>
                  <a:cubicBezTo>
                    <a:pt x="1724" y="46"/>
                    <a:pt x="1724" y="46"/>
                    <a:pt x="1724" y="46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690" y="39"/>
                    <a:pt x="1690" y="39"/>
                    <a:pt x="1690" y="39"/>
                  </a:cubicBezTo>
                  <a:cubicBezTo>
                    <a:pt x="1690" y="46"/>
                    <a:pt x="1690" y="46"/>
                    <a:pt x="1690" y="46"/>
                  </a:cubicBezTo>
                  <a:cubicBezTo>
                    <a:pt x="1701" y="48"/>
                    <a:pt x="1701" y="48"/>
                    <a:pt x="1701" y="48"/>
                  </a:cubicBezTo>
                  <a:cubicBezTo>
                    <a:pt x="1682" y="100"/>
                    <a:pt x="1682" y="100"/>
                    <a:pt x="1682" y="100"/>
                  </a:cubicBezTo>
                  <a:cubicBezTo>
                    <a:pt x="1663" y="48"/>
                    <a:pt x="1663" y="48"/>
                    <a:pt x="1663" y="48"/>
                  </a:cubicBezTo>
                  <a:cubicBezTo>
                    <a:pt x="1674" y="46"/>
                    <a:pt x="1674" y="46"/>
                    <a:pt x="1674" y="46"/>
                  </a:cubicBezTo>
                  <a:cubicBezTo>
                    <a:pt x="1674" y="39"/>
                    <a:pt x="1674" y="39"/>
                    <a:pt x="1674" y="39"/>
                  </a:cubicBezTo>
                  <a:cubicBezTo>
                    <a:pt x="1634" y="39"/>
                    <a:pt x="1634" y="39"/>
                    <a:pt x="1634" y="39"/>
                  </a:cubicBezTo>
                  <a:cubicBezTo>
                    <a:pt x="1634" y="46"/>
                    <a:pt x="1634" y="46"/>
                    <a:pt x="1634" y="46"/>
                  </a:cubicBezTo>
                  <a:cubicBezTo>
                    <a:pt x="1645" y="48"/>
                    <a:pt x="1645" y="48"/>
                    <a:pt x="1645" y="48"/>
                  </a:cubicBezTo>
                  <a:lnTo>
                    <a:pt x="1671" y="116"/>
                  </a:lnTo>
                  <a:close/>
                  <a:moveTo>
                    <a:pt x="2003" y="109"/>
                  </a:moveTo>
                  <a:cubicBezTo>
                    <a:pt x="1992" y="107"/>
                    <a:pt x="1992" y="107"/>
                    <a:pt x="1992" y="107"/>
                  </a:cubicBezTo>
                  <a:cubicBezTo>
                    <a:pt x="1992" y="48"/>
                    <a:pt x="1992" y="48"/>
                    <a:pt x="1992" y="48"/>
                  </a:cubicBezTo>
                  <a:cubicBezTo>
                    <a:pt x="2003" y="46"/>
                    <a:pt x="2003" y="46"/>
                    <a:pt x="2003" y="46"/>
                  </a:cubicBezTo>
                  <a:cubicBezTo>
                    <a:pt x="2003" y="39"/>
                    <a:pt x="2003" y="39"/>
                    <a:pt x="2003" y="39"/>
                  </a:cubicBezTo>
                  <a:cubicBezTo>
                    <a:pt x="1963" y="39"/>
                    <a:pt x="1963" y="39"/>
                    <a:pt x="1963" y="39"/>
                  </a:cubicBezTo>
                  <a:cubicBezTo>
                    <a:pt x="1963" y="46"/>
                    <a:pt x="1963" y="46"/>
                    <a:pt x="1963" y="46"/>
                  </a:cubicBezTo>
                  <a:cubicBezTo>
                    <a:pt x="1974" y="48"/>
                    <a:pt x="1974" y="48"/>
                    <a:pt x="1974" y="48"/>
                  </a:cubicBezTo>
                  <a:cubicBezTo>
                    <a:pt x="1974" y="107"/>
                    <a:pt x="1974" y="107"/>
                    <a:pt x="1974" y="107"/>
                  </a:cubicBezTo>
                  <a:cubicBezTo>
                    <a:pt x="1963" y="109"/>
                    <a:pt x="1963" y="109"/>
                    <a:pt x="1963" y="109"/>
                  </a:cubicBezTo>
                  <a:cubicBezTo>
                    <a:pt x="1963" y="116"/>
                    <a:pt x="1963" y="116"/>
                    <a:pt x="1963" y="116"/>
                  </a:cubicBezTo>
                  <a:cubicBezTo>
                    <a:pt x="2003" y="116"/>
                    <a:pt x="2003" y="116"/>
                    <a:pt x="2003" y="116"/>
                  </a:cubicBezTo>
                  <a:lnTo>
                    <a:pt x="2003" y="109"/>
                  </a:lnTo>
                  <a:close/>
                  <a:moveTo>
                    <a:pt x="2021" y="49"/>
                  </a:moveTo>
                  <a:cubicBezTo>
                    <a:pt x="2037" y="49"/>
                    <a:pt x="2037" y="49"/>
                    <a:pt x="2037" y="49"/>
                  </a:cubicBezTo>
                  <a:cubicBezTo>
                    <a:pt x="2037" y="107"/>
                    <a:pt x="2037" y="107"/>
                    <a:pt x="2037" y="107"/>
                  </a:cubicBezTo>
                  <a:cubicBezTo>
                    <a:pt x="2026" y="109"/>
                    <a:pt x="2026" y="109"/>
                    <a:pt x="2026" y="109"/>
                  </a:cubicBezTo>
                  <a:cubicBezTo>
                    <a:pt x="2026" y="116"/>
                    <a:pt x="2026" y="116"/>
                    <a:pt x="2026" y="116"/>
                  </a:cubicBezTo>
                  <a:cubicBezTo>
                    <a:pt x="2066" y="116"/>
                    <a:pt x="2066" y="116"/>
                    <a:pt x="2066" y="116"/>
                  </a:cubicBezTo>
                  <a:cubicBezTo>
                    <a:pt x="2066" y="109"/>
                    <a:pt x="2066" y="109"/>
                    <a:pt x="2066" y="109"/>
                  </a:cubicBezTo>
                  <a:cubicBezTo>
                    <a:pt x="2055" y="107"/>
                    <a:pt x="2055" y="107"/>
                    <a:pt x="2055" y="107"/>
                  </a:cubicBezTo>
                  <a:cubicBezTo>
                    <a:pt x="2055" y="49"/>
                    <a:pt x="2055" y="49"/>
                    <a:pt x="2055" y="49"/>
                  </a:cubicBezTo>
                  <a:cubicBezTo>
                    <a:pt x="2072" y="49"/>
                    <a:pt x="2072" y="49"/>
                    <a:pt x="2072" y="49"/>
                  </a:cubicBezTo>
                  <a:cubicBezTo>
                    <a:pt x="2074" y="60"/>
                    <a:pt x="2074" y="60"/>
                    <a:pt x="2074" y="60"/>
                  </a:cubicBezTo>
                  <a:cubicBezTo>
                    <a:pt x="2081" y="60"/>
                    <a:pt x="2081" y="60"/>
                    <a:pt x="2081" y="60"/>
                  </a:cubicBezTo>
                  <a:cubicBezTo>
                    <a:pt x="2081" y="39"/>
                    <a:pt x="2081" y="39"/>
                    <a:pt x="2081" y="39"/>
                  </a:cubicBezTo>
                  <a:cubicBezTo>
                    <a:pt x="2011" y="39"/>
                    <a:pt x="2011" y="39"/>
                    <a:pt x="2011" y="39"/>
                  </a:cubicBezTo>
                  <a:cubicBezTo>
                    <a:pt x="2011" y="60"/>
                    <a:pt x="2011" y="60"/>
                    <a:pt x="2011" y="60"/>
                  </a:cubicBezTo>
                  <a:cubicBezTo>
                    <a:pt x="2019" y="60"/>
                    <a:pt x="2019" y="60"/>
                    <a:pt x="2019" y="60"/>
                  </a:cubicBezTo>
                  <a:lnTo>
                    <a:pt x="2021" y="49"/>
                  </a:lnTo>
                  <a:close/>
                  <a:moveTo>
                    <a:pt x="2122" y="82"/>
                  </a:moveTo>
                  <a:cubicBezTo>
                    <a:pt x="2122" y="107"/>
                    <a:pt x="2122" y="107"/>
                    <a:pt x="2122" y="107"/>
                  </a:cubicBezTo>
                  <a:cubicBezTo>
                    <a:pt x="2110" y="109"/>
                    <a:pt x="2110" y="109"/>
                    <a:pt x="2110" y="109"/>
                  </a:cubicBezTo>
                  <a:cubicBezTo>
                    <a:pt x="2110" y="116"/>
                    <a:pt x="2110" y="116"/>
                    <a:pt x="2110" y="116"/>
                  </a:cubicBezTo>
                  <a:cubicBezTo>
                    <a:pt x="2150" y="116"/>
                    <a:pt x="2150" y="116"/>
                    <a:pt x="2150" y="116"/>
                  </a:cubicBezTo>
                  <a:cubicBezTo>
                    <a:pt x="2150" y="109"/>
                    <a:pt x="2150" y="109"/>
                    <a:pt x="2150" y="109"/>
                  </a:cubicBezTo>
                  <a:cubicBezTo>
                    <a:pt x="2139" y="107"/>
                    <a:pt x="2139" y="107"/>
                    <a:pt x="2139" y="107"/>
                  </a:cubicBezTo>
                  <a:cubicBezTo>
                    <a:pt x="2139" y="82"/>
                    <a:pt x="2139" y="82"/>
                    <a:pt x="2139" y="82"/>
                  </a:cubicBezTo>
                  <a:cubicBezTo>
                    <a:pt x="2161" y="48"/>
                    <a:pt x="2161" y="48"/>
                    <a:pt x="2161" y="48"/>
                  </a:cubicBezTo>
                  <a:cubicBezTo>
                    <a:pt x="2172" y="46"/>
                    <a:pt x="2172" y="46"/>
                    <a:pt x="2172" y="46"/>
                  </a:cubicBezTo>
                  <a:cubicBezTo>
                    <a:pt x="2172" y="39"/>
                    <a:pt x="2172" y="39"/>
                    <a:pt x="2172" y="39"/>
                  </a:cubicBezTo>
                  <a:cubicBezTo>
                    <a:pt x="2138" y="39"/>
                    <a:pt x="2138" y="39"/>
                    <a:pt x="2138" y="39"/>
                  </a:cubicBezTo>
                  <a:cubicBezTo>
                    <a:pt x="2138" y="46"/>
                    <a:pt x="2138" y="46"/>
                    <a:pt x="2138" y="46"/>
                  </a:cubicBezTo>
                  <a:cubicBezTo>
                    <a:pt x="2149" y="48"/>
                    <a:pt x="2149" y="48"/>
                    <a:pt x="2149" y="48"/>
                  </a:cubicBezTo>
                  <a:cubicBezTo>
                    <a:pt x="2133" y="73"/>
                    <a:pt x="2133" y="73"/>
                    <a:pt x="2133" y="73"/>
                  </a:cubicBezTo>
                  <a:cubicBezTo>
                    <a:pt x="2118" y="48"/>
                    <a:pt x="2118" y="48"/>
                    <a:pt x="2118" y="48"/>
                  </a:cubicBezTo>
                  <a:cubicBezTo>
                    <a:pt x="2129" y="46"/>
                    <a:pt x="2129" y="46"/>
                    <a:pt x="2129" y="46"/>
                  </a:cubicBezTo>
                  <a:cubicBezTo>
                    <a:pt x="2129" y="39"/>
                    <a:pt x="2129" y="39"/>
                    <a:pt x="2129" y="39"/>
                  </a:cubicBezTo>
                  <a:cubicBezTo>
                    <a:pt x="2088" y="39"/>
                    <a:pt x="2088" y="39"/>
                    <a:pt x="2088" y="39"/>
                  </a:cubicBezTo>
                  <a:cubicBezTo>
                    <a:pt x="2088" y="46"/>
                    <a:pt x="2088" y="46"/>
                    <a:pt x="2088" y="46"/>
                  </a:cubicBezTo>
                  <a:cubicBezTo>
                    <a:pt x="2099" y="48"/>
                    <a:pt x="2099" y="48"/>
                    <a:pt x="2099" y="48"/>
                  </a:cubicBezTo>
                  <a:lnTo>
                    <a:pt x="2122" y="82"/>
                  </a:lnTo>
                  <a:close/>
                  <a:moveTo>
                    <a:pt x="1953" y="94"/>
                  </a:moveTo>
                  <a:cubicBezTo>
                    <a:pt x="1953" y="63"/>
                    <a:pt x="1913" y="75"/>
                    <a:pt x="1913" y="58"/>
                  </a:cubicBezTo>
                  <a:cubicBezTo>
                    <a:pt x="1913" y="50"/>
                    <a:pt x="1919" y="48"/>
                    <a:pt x="1926" y="48"/>
                  </a:cubicBezTo>
                  <a:cubicBezTo>
                    <a:pt x="1933" y="48"/>
                    <a:pt x="1939" y="49"/>
                    <a:pt x="1939" y="49"/>
                  </a:cubicBezTo>
                  <a:cubicBezTo>
                    <a:pt x="1941" y="61"/>
                    <a:pt x="1941" y="61"/>
                    <a:pt x="1941" y="61"/>
                  </a:cubicBezTo>
                  <a:cubicBezTo>
                    <a:pt x="1949" y="61"/>
                    <a:pt x="1949" y="61"/>
                    <a:pt x="1949" y="61"/>
                  </a:cubicBezTo>
                  <a:cubicBezTo>
                    <a:pt x="1949" y="42"/>
                    <a:pt x="1949" y="42"/>
                    <a:pt x="1949" y="42"/>
                  </a:cubicBezTo>
                  <a:cubicBezTo>
                    <a:pt x="1941" y="40"/>
                    <a:pt x="1933" y="38"/>
                    <a:pt x="1924" y="38"/>
                  </a:cubicBezTo>
                  <a:cubicBezTo>
                    <a:pt x="1905" y="38"/>
                    <a:pt x="1896" y="46"/>
                    <a:pt x="1896" y="60"/>
                  </a:cubicBezTo>
                  <a:cubicBezTo>
                    <a:pt x="1896" y="79"/>
                    <a:pt x="1914" y="81"/>
                    <a:pt x="1928" y="86"/>
                  </a:cubicBezTo>
                  <a:cubicBezTo>
                    <a:pt x="1933" y="87"/>
                    <a:pt x="1936" y="89"/>
                    <a:pt x="1936" y="95"/>
                  </a:cubicBezTo>
                  <a:cubicBezTo>
                    <a:pt x="1936" y="104"/>
                    <a:pt x="1929" y="107"/>
                    <a:pt x="1920" y="107"/>
                  </a:cubicBezTo>
                  <a:cubicBezTo>
                    <a:pt x="1911" y="107"/>
                    <a:pt x="1905" y="105"/>
                    <a:pt x="1905" y="105"/>
                  </a:cubicBezTo>
                  <a:cubicBezTo>
                    <a:pt x="1903" y="92"/>
                    <a:pt x="1903" y="92"/>
                    <a:pt x="1903" y="92"/>
                  </a:cubicBezTo>
                  <a:cubicBezTo>
                    <a:pt x="1896" y="92"/>
                    <a:pt x="1896" y="92"/>
                    <a:pt x="1896" y="92"/>
                  </a:cubicBezTo>
                  <a:cubicBezTo>
                    <a:pt x="1896" y="112"/>
                    <a:pt x="1896" y="112"/>
                    <a:pt x="1896" y="112"/>
                  </a:cubicBezTo>
                  <a:cubicBezTo>
                    <a:pt x="1896" y="112"/>
                    <a:pt x="1908" y="117"/>
                    <a:pt x="1922" y="117"/>
                  </a:cubicBezTo>
                  <a:cubicBezTo>
                    <a:pt x="1942" y="117"/>
                    <a:pt x="1953" y="109"/>
                    <a:pt x="1953" y="94"/>
                  </a:cubicBezTo>
                  <a:close/>
                  <a:moveTo>
                    <a:pt x="1847" y="109"/>
                  </a:moveTo>
                  <a:cubicBezTo>
                    <a:pt x="1836" y="107"/>
                    <a:pt x="1836" y="107"/>
                    <a:pt x="1836" y="107"/>
                  </a:cubicBezTo>
                  <a:cubicBezTo>
                    <a:pt x="1836" y="81"/>
                    <a:pt x="1836" y="81"/>
                    <a:pt x="1836" y="81"/>
                  </a:cubicBezTo>
                  <a:cubicBezTo>
                    <a:pt x="1838" y="81"/>
                    <a:pt x="1838" y="81"/>
                    <a:pt x="1838" y="81"/>
                  </a:cubicBezTo>
                  <a:cubicBezTo>
                    <a:pt x="1848" y="81"/>
                    <a:pt x="1851" y="86"/>
                    <a:pt x="1855" y="98"/>
                  </a:cubicBezTo>
                  <a:cubicBezTo>
                    <a:pt x="1863" y="116"/>
                    <a:pt x="1863" y="116"/>
                    <a:pt x="1863" y="116"/>
                  </a:cubicBezTo>
                  <a:cubicBezTo>
                    <a:pt x="1887" y="116"/>
                    <a:pt x="1887" y="116"/>
                    <a:pt x="1887" y="116"/>
                  </a:cubicBezTo>
                  <a:cubicBezTo>
                    <a:pt x="1887" y="109"/>
                    <a:pt x="1887" y="109"/>
                    <a:pt x="1887" y="109"/>
                  </a:cubicBezTo>
                  <a:cubicBezTo>
                    <a:pt x="1876" y="107"/>
                    <a:pt x="1876" y="107"/>
                    <a:pt x="1876" y="107"/>
                  </a:cubicBezTo>
                  <a:cubicBezTo>
                    <a:pt x="1873" y="99"/>
                    <a:pt x="1868" y="84"/>
                    <a:pt x="1861" y="79"/>
                  </a:cubicBezTo>
                  <a:cubicBezTo>
                    <a:pt x="1869" y="76"/>
                    <a:pt x="1875" y="68"/>
                    <a:pt x="1875" y="59"/>
                  </a:cubicBezTo>
                  <a:cubicBezTo>
                    <a:pt x="1875" y="54"/>
                    <a:pt x="1873" y="49"/>
                    <a:pt x="1869" y="45"/>
                  </a:cubicBezTo>
                  <a:cubicBezTo>
                    <a:pt x="1863" y="40"/>
                    <a:pt x="1854" y="39"/>
                    <a:pt x="1846" y="39"/>
                  </a:cubicBezTo>
                  <a:cubicBezTo>
                    <a:pt x="1807" y="39"/>
                    <a:pt x="1807" y="39"/>
                    <a:pt x="1807" y="39"/>
                  </a:cubicBezTo>
                  <a:cubicBezTo>
                    <a:pt x="1807" y="46"/>
                    <a:pt x="1807" y="46"/>
                    <a:pt x="1807" y="46"/>
                  </a:cubicBezTo>
                  <a:cubicBezTo>
                    <a:pt x="1819" y="48"/>
                    <a:pt x="1819" y="48"/>
                    <a:pt x="1819" y="48"/>
                  </a:cubicBezTo>
                  <a:cubicBezTo>
                    <a:pt x="1819" y="107"/>
                    <a:pt x="1819" y="107"/>
                    <a:pt x="1819" y="107"/>
                  </a:cubicBezTo>
                  <a:cubicBezTo>
                    <a:pt x="1807" y="109"/>
                    <a:pt x="1807" y="109"/>
                    <a:pt x="1807" y="109"/>
                  </a:cubicBezTo>
                  <a:cubicBezTo>
                    <a:pt x="1807" y="116"/>
                    <a:pt x="1807" y="116"/>
                    <a:pt x="1807" y="116"/>
                  </a:cubicBezTo>
                  <a:cubicBezTo>
                    <a:pt x="1847" y="116"/>
                    <a:pt x="1847" y="116"/>
                    <a:pt x="1847" y="116"/>
                  </a:cubicBezTo>
                  <a:lnTo>
                    <a:pt x="1847" y="109"/>
                  </a:lnTo>
                  <a:close/>
                  <a:moveTo>
                    <a:pt x="1836" y="48"/>
                  </a:moveTo>
                  <a:cubicBezTo>
                    <a:pt x="1841" y="48"/>
                    <a:pt x="1841" y="48"/>
                    <a:pt x="1841" y="48"/>
                  </a:cubicBezTo>
                  <a:cubicBezTo>
                    <a:pt x="1845" y="48"/>
                    <a:pt x="1852" y="48"/>
                    <a:pt x="1854" y="51"/>
                  </a:cubicBezTo>
                  <a:cubicBezTo>
                    <a:pt x="1857" y="53"/>
                    <a:pt x="1858" y="57"/>
                    <a:pt x="1858" y="60"/>
                  </a:cubicBezTo>
                  <a:cubicBezTo>
                    <a:pt x="1858" y="63"/>
                    <a:pt x="1857" y="66"/>
                    <a:pt x="1855" y="69"/>
                  </a:cubicBezTo>
                  <a:cubicBezTo>
                    <a:pt x="1851" y="73"/>
                    <a:pt x="1844" y="73"/>
                    <a:pt x="1839" y="73"/>
                  </a:cubicBezTo>
                  <a:cubicBezTo>
                    <a:pt x="1836" y="73"/>
                    <a:pt x="1836" y="73"/>
                    <a:pt x="1836" y="73"/>
                  </a:cubicBezTo>
                  <a:lnTo>
                    <a:pt x="1836" y="48"/>
                  </a:lnTo>
                  <a:close/>
                  <a:moveTo>
                    <a:pt x="1796" y="95"/>
                  </a:moveTo>
                  <a:cubicBezTo>
                    <a:pt x="1788" y="95"/>
                    <a:pt x="1788" y="95"/>
                    <a:pt x="1788" y="95"/>
                  </a:cubicBezTo>
                  <a:cubicBezTo>
                    <a:pt x="1787" y="106"/>
                    <a:pt x="1787" y="106"/>
                    <a:pt x="1787" y="106"/>
                  </a:cubicBezTo>
                  <a:cubicBezTo>
                    <a:pt x="1759" y="106"/>
                    <a:pt x="1759" y="106"/>
                    <a:pt x="1759" y="106"/>
                  </a:cubicBezTo>
                  <a:cubicBezTo>
                    <a:pt x="1759" y="80"/>
                    <a:pt x="1759" y="80"/>
                    <a:pt x="1759" y="80"/>
                  </a:cubicBezTo>
                  <a:cubicBezTo>
                    <a:pt x="1776" y="80"/>
                    <a:pt x="1776" y="80"/>
                    <a:pt x="1776" y="80"/>
                  </a:cubicBezTo>
                  <a:cubicBezTo>
                    <a:pt x="1778" y="90"/>
                    <a:pt x="1778" y="90"/>
                    <a:pt x="1778" y="90"/>
                  </a:cubicBezTo>
                  <a:cubicBezTo>
                    <a:pt x="1784" y="90"/>
                    <a:pt x="1784" y="90"/>
                    <a:pt x="1784" y="90"/>
                  </a:cubicBezTo>
                  <a:cubicBezTo>
                    <a:pt x="1784" y="61"/>
                    <a:pt x="1784" y="61"/>
                    <a:pt x="1784" y="61"/>
                  </a:cubicBezTo>
                  <a:cubicBezTo>
                    <a:pt x="1778" y="61"/>
                    <a:pt x="1778" y="61"/>
                    <a:pt x="1778" y="61"/>
                  </a:cubicBezTo>
                  <a:cubicBezTo>
                    <a:pt x="1776" y="71"/>
                    <a:pt x="1776" y="71"/>
                    <a:pt x="1776" y="71"/>
                  </a:cubicBezTo>
                  <a:cubicBezTo>
                    <a:pt x="1759" y="71"/>
                    <a:pt x="1759" y="71"/>
                    <a:pt x="1759" y="71"/>
                  </a:cubicBezTo>
                  <a:cubicBezTo>
                    <a:pt x="1759" y="49"/>
                    <a:pt x="1759" y="49"/>
                    <a:pt x="1759" y="49"/>
                  </a:cubicBezTo>
                  <a:cubicBezTo>
                    <a:pt x="1787" y="49"/>
                    <a:pt x="1787" y="49"/>
                    <a:pt x="1787" y="49"/>
                  </a:cubicBezTo>
                  <a:cubicBezTo>
                    <a:pt x="1788" y="59"/>
                    <a:pt x="1788" y="59"/>
                    <a:pt x="1788" y="59"/>
                  </a:cubicBezTo>
                  <a:cubicBezTo>
                    <a:pt x="1796" y="59"/>
                    <a:pt x="1796" y="59"/>
                    <a:pt x="1796" y="59"/>
                  </a:cubicBezTo>
                  <a:cubicBezTo>
                    <a:pt x="1796" y="39"/>
                    <a:pt x="1796" y="39"/>
                    <a:pt x="1796" y="39"/>
                  </a:cubicBezTo>
                  <a:cubicBezTo>
                    <a:pt x="1730" y="39"/>
                    <a:pt x="1730" y="39"/>
                    <a:pt x="1730" y="39"/>
                  </a:cubicBezTo>
                  <a:cubicBezTo>
                    <a:pt x="1730" y="46"/>
                    <a:pt x="1730" y="46"/>
                    <a:pt x="1730" y="46"/>
                  </a:cubicBezTo>
                  <a:cubicBezTo>
                    <a:pt x="1741" y="48"/>
                    <a:pt x="1741" y="48"/>
                    <a:pt x="1741" y="48"/>
                  </a:cubicBezTo>
                  <a:cubicBezTo>
                    <a:pt x="1741" y="107"/>
                    <a:pt x="1741" y="107"/>
                    <a:pt x="1741" y="107"/>
                  </a:cubicBezTo>
                  <a:cubicBezTo>
                    <a:pt x="1730" y="109"/>
                    <a:pt x="1730" y="109"/>
                    <a:pt x="1730" y="109"/>
                  </a:cubicBezTo>
                  <a:cubicBezTo>
                    <a:pt x="1730" y="116"/>
                    <a:pt x="1730" y="116"/>
                    <a:pt x="1730" y="116"/>
                  </a:cubicBezTo>
                  <a:cubicBezTo>
                    <a:pt x="1796" y="116"/>
                    <a:pt x="1796" y="116"/>
                    <a:pt x="1796" y="116"/>
                  </a:cubicBezTo>
                  <a:lnTo>
                    <a:pt x="1796" y="95"/>
                  </a:lnTo>
                  <a:close/>
                  <a:moveTo>
                    <a:pt x="1342" y="95"/>
                  </a:moveTo>
                  <a:cubicBezTo>
                    <a:pt x="1335" y="95"/>
                    <a:pt x="1335" y="95"/>
                    <a:pt x="1335" y="95"/>
                  </a:cubicBezTo>
                  <a:cubicBezTo>
                    <a:pt x="1333" y="106"/>
                    <a:pt x="1333" y="106"/>
                    <a:pt x="1333" y="106"/>
                  </a:cubicBezTo>
                  <a:cubicBezTo>
                    <a:pt x="1305" y="106"/>
                    <a:pt x="1305" y="106"/>
                    <a:pt x="1305" y="106"/>
                  </a:cubicBezTo>
                  <a:cubicBezTo>
                    <a:pt x="1305" y="80"/>
                    <a:pt x="1305" y="80"/>
                    <a:pt x="1305" y="80"/>
                  </a:cubicBezTo>
                  <a:cubicBezTo>
                    <a:pt x="1323" y="80"/>
                    <a:pt x="1323" y="80"/>
                    <a:pt x="1323" y="80"/>
                  </a:cubicBezTo>
                  <a:cubicBezTo>
                    <a:pt x="1325" y="90"/>
                    <a:pt x="1325" y="90"/>
                    <a:pt x="1325" y="90"/>
                  </a:cubicBezTo>
                  <a:cubicBezTo>
                    <a:pt x="1331" y="90"/>
                    <a:pt x="1331" y="90"/>
                    <a:pt x="1331" y="90"/>
                  </a:cubicBezTo>
                  <a:cubicBezTo>
                    <a:pt x="1331" y="61"/>
                    <a:pt x="1331" y="61"/>
                    <a:pt x="1331" y="61"/>
                  </a:cubicBezTo>
                  <a:cubicBezTo>
                    <a:pt x="1325" y="61"/>
                    <a:pt x="1325" y="61"/>
                    <a:pt x="1325" y="61"/>
                  </a:cubicBezTo>
                  <a:cubicBezTo>
                    <a:pt x="1323" y="71"/>
                    <a:pt x="1323" y="71"/>
                    <a:pt x="1323" y="71"/>
                  </a:cubicBezTo>
                  <a:cubicBezTo>
                    <a:pt x="1305" y="71"/>
                    <a:pt x="1305" y="71"/>
                    <a:pt x="1305" y="71"/>
                  </a:cubicBezTo>
                  <a:cubicBezTo>
                    <a:pt x="1305" y="49"/>
                    <a:pt x="1305" y="49"/>
                    <a:pt x="1305" y="49"/>
                  </a:cubicBezTo>
                  <a:cubicBezTo>
                    <a:pt x="1333" y="49"/>
                    <a:pt x="1333" y="49"/>
                    <a:pt x="1333" y="49"/>
                  </a:cubicBezTo>
                  <a:cubicBezTo>
                    <a:pt x="1335" y="59"/>
                    <a:pt x="1335" y="59"/>
                    <a:pt x="1335" y="59"/>
                  </a:cubicBezTo>
                  <a:cubicBezTo>
                    <a:pt x="1342" y="59"/>
                    <a:pt x="1342" y="59"/>
                    <a:pt x="1342" y="59"/>
                  </a:cubicBezTo>
                  <a:cubicBezTo>
                    <a:pt x="1342" y="39"/>
                    <a:pt x="1342" y="39"/>
                    <a:pt x="1342" y="39"/>
                  </a:cubicBezTo>
                  <a:cubicBezTo>
                    <a:pt x="1277" y="39"/>
                    <a:pt x="1277" y="39"/>
                    <a:pt x="1277" y="39"/>
                  </a:cubicBezTo>
                  <a:cubicBezTo>
                    <a:pt x="1277" y="46"/>
                    <a:pt x="1277" y="46"/>
                    <a:pt x="1277" y="46"/>
                  </a:cubicBezTo>
                  <a:cubicBezTo>
                    <a:pt x="1288" y="48"/>
                    <a:pt x="1288" y="48"/>
                    <a:pt x="1288" y="48"/>
                  </a:cubicBezTo>
                  <a:cubicBezTo>
                    <a:pt x="1288" y="107"/>
                    <a:pt x="1288" y="107"/>
                    <a:pt x="1288" y="107"/>
                  </a:cubicBezTo>
                  <a:cubicBezTo>
                    <a:pt x="1277" y="109"/>
                    <a:pt x="1277" y="109"/>
                    <a:pt x="1277" y="109"/>
                  </a:cubicBezTo>
                  <a:cubicBezTo>
                    <a:pt x="1277" y="116"/>
                    <a:pt x="1277" y="116"/>
                    <a:pt x="1277" y="116"/>
                  </a:cubicBezTo>
                  <a:cubicBezTo>
                    <a:pt x="1342" y="116"/>
                    <a:pt x="1342" y="116"/>
                    <a:pt x="1342" y="116"/>
                  </a:cubicBezTo>
                  <a:lnTo>
                    <a:pt x="1342" y="95"/>
                  </a:lnTo>
                  <a:close/>
                  <a:moveTo>
                    <a:pt x="566" y="95"/>
                  </a:moveTo>
                  <a:cubicBezTo>
                    <a:pt x="559" y="95"/>
                    <a:pt x="559" y="95"/>
                    <a:pt x="559" y="95"/>
                  </a:cubicBezTo>
                  <a:cubicBezTo>
                    <a:pt x="557" y="106"/>
                    <a:pt x="557" y="106"/>
                    <a:pt x="557" y="106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29" y="80"/>
                    <a:pt x="529" y="80"/>
                    <a:pt x="529" y="80"/>
                  </a:cubicBezTo>
                  <a:cubicBezTo>
                    <a:pt x="546" y="80"/>
                    <a:pt x="546" y="80"/>
                    <a:pt x="546" y="80"/>
                  </a:cubicBezTo>
                  <a:cubicBezTo>
                    <a:pt x="548" y="90"/>
                    <a:pt x="548" y="90"/>
                    <a:pt x="548" y="90"/>
                  </a:cubicBezTo>
                  <a:cubicBezTo>
                    <a:pt x="555" y="90"/>
                    <a:pt x="555" y="90"/>
                    <a:pt x="555" y="90"/>
                  </a:cubicBezTo>
                  <a:cubicBezTo>
                    <a:pt x="555" y="61"/>
                    <a:pt x="555" y="61"/>
                    <a:pt x="555" y="61"/>
                  </a:cubicBezTo>
                  <a:cubicBezTo>
                    <a:pt x="548" y="61"/>
                    <a:pt x="548" y="61"/>
                    <a:pt x="548" y="61"/>
                  </a:cubicBezTo>
                  <a:cubicBezTo>
                    <a:pt x="546" y="71"/>
                    <a:pt x="546" y="71"/>
                    <a:pt x="546" y="71"/>
                  </a:cubicBezTo>
                  <a:cubicBezTo>
                    <a:pt x="529" y="71"/>
                    <a:pt x="529" y="71"/>
                    <a:pt x="529" y="71"/>
                  </a:cubicBezTo>
                  <a:cubicBezTo>
                    <a:pt x="529" y="49"/>
                    <a:pt x="529" y="49"/>
                    <a:pt x="529" y="49"/>
                  </a:cubicBezTo>
                  <a:cubicBezTo>
                    <a:pt x="557" y="49"/>
                    <a:pt x="557" y="49"/>
                    <a:pt x="557" y="49"/>
                  </a:cubicBezTo>
                  <a:cubicBezTo>
                    <a:pt x="559" y="59"/>
                    <a:pt x="559" y="59"/>
                    <a:pt x="559" y="59"/>
                  </a:cubicBezTo>
                  <a:cubicBezTo>
                    <a:pt x="566" y="59"/>
                    <a:pt x="566" y="59"/>
                    <a:pt x="566" y="59"/>
                  </a:cubicBezTo>
                  <a:cubicBezTo>
                    <a:pt x="566" y="39"/>
                    <a:pt x="566" y="39"/>
                    <a:pt x="566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00" y="46"/>
                    <a:pt x="500" y="46"/>
                    <a:pt x="500" y="46"/>
                  </a:cubicBezTo>
                  <a:cubicBezTo>
                    <a:pt x="511" y="48"/>
                    <a:pt x="511" y="48"/>
                    <a:pt x="511" y="48"/>
                  </a:cubicBezTo>
                  <a:cubicBezTo>
                    <a:pt x="511" y="107"/>
                    <a:pt x="511" y="107"/>
                    <a:pt x="511" y="107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16"/>
                    <a:pt x="500" y="116"/>
                    <a:pt x="500" y="116"/>
                  </a:cubicBezTo>
                  <a:cubicBezTo>
                    <a:pt x="566" y="116"/>
                    <a:pt x="566" y="116"/>
                    <a:pt x="566" y="116"/>
                  </a:cubicBezTo>
                  <a:lnTo>
                    <a:pt x="566" y="95"/>
                  </a:lnTo>
                  <a:close/>
                  <a:moveTo>
                    <a:pt x="659" y="117"/>
                  </a:moveTo>
                  <a:cubicBezTo>
                    <a:pt x="689" y="117"/>
                    <a:pt x="702" y="100"/>
                    <a:pt x="702" y="67"/>
                  </a:cubicBezTo>
                  <a:cubicBezTo>
                    <a:pt x="702" y="34"/>
                    <a:pt x="689" y="16"/>
                    <a:pt x="659" y="16"/>
                  </a:cubicBezTo>
                  <a:cubicBezTo>
                    <a:pt x="629" y="16"/>
                    <a:pt x="615" y="34"/>
                    <a:pt x="615" y="67"/>
                  </a:cubicBezTo>
                  <a:cubicBezTo>
                    <a:pt x="615" y="99"/>
                    <a:pt x="628" y="117"/>
                    <a:pt x="659" y="117"/>
                  </a:cubicBezTo>
                  <a:close/>
                  <a:moveTo>
                    <a:pt x="659" y="27"/>
                  </a:moveTo>
                  <a:cubicBezTo>
                    <a:pt x="675" y="27"/>
                    <a:pt x="683" y="40"/>
                    <a:pt x="683" y="67"/>
                  </a:cubicBezTo>
                  <a:cubicBezTo>
                    <a:pt x="683" y="94"/>
                    <a:pt x="675" y="107"/>
                    <a:pt x="659" y="107"/>
                  </a:cubicBezTo>
                  <a:cubicBezTo>
                    <a:pt x="642" y="107"/>
                    <a:pt x="634" y="94"/>
                    <a:pt x="634" y="67"/>
                  </a:cubicBezTo>
                  <a:cubicBezTo>
                    <a:pt x="634" y="40"/>
                    <a:pt x="643" y="27"/>
                    <a:pt x="659" y="27"/>
                  </a:cubicBezTo>
                  <a:close/>
                  <a:moveTo>
                    <a:pt x="327" y="28"/>
                  </a:moveTo>
                  <a:cubicBezTo>
                    <a:pt x="349" y="28"/>
                    <a:pt x="349" y="28"/>
                    <a:pt x="349" y="28"/>
                  </a:cubicBezTo>
                  <a:cubicBezTo>
                    <a:pt x="349" y="106"/>
                    <a:pt x="349" y="106"/>
                    <a:pt x="349" y="106"/>
                  </a:cubicBezTo>
                  <a:cubicBezTo>
                    <a:pt x="337" y="108"/>
                    <a:pt x="337" y="108"/>
                    <a:pt x="337" y="108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79" y="116"/>
                    <a:pt x="379" y="116"/>
                    <a:pt x="379" y="116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67" y="106"/>
                    <a:pt x="367" y="106"/>
                    <a:pt x="367" y="106"/>
                  </a:cubicBezTo>
                  <a:cubicBezTo>
                    <a:pt x="367" y="28"/>
                    <a:pt x="367" y="28"/>
                    <a:pt x="367" y="28"/>
                  </a:cubicBezTo>
                  <a:cubicBezTo>
                    <a:pt x="390" y="28"/>
                    <a:pt x="390" y="28"/>
                    <a:pt x="390" y="28"/>
                  </a:cubicBezTo>
                  <a:cubicBezTo>
                    <a:pt x="391" y="40"/>
                    <a:pt x="391" y="40"/>
                    <a:pt x="391" y="40"/>
                  </a:cubicBezTo>
                  <a:cubicBezTo>
                    <a:pt x="399" y="40"/>
                    <a:pt x="399" y="40"/>
                    <a:pt x="399" y="40"/>
                  </a:cubicBezTo>
                  <a:cubicBezTo>
                    <a:pt x="399" y="18"/>
                    <a:pt x="399" y="18"/>
                    <a:pt x="399" y="18"/>
                  </a:cubicBezTo>
                  <a:cubicBezTo>
                    <a:pt x="317" y="18"/>
                    <a:pt x="317" y="18"/>
                    <a:pt x="317" y="18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25" y="40"/>
                    <a:pt x="325" y="40"/>
                    <a:pt x="325" y="40"/>
                  </a:cubicBezTo>
                  <a:lnTo>
                    <a:pt x="327" y="28"/>
                  </a:lnTo>
                  <a:close/>
                  <a:moveTo>
                    <a:pt x="750" y="109"/>
                  </a:moveTo>
                  <a:cubicBezTo>
                    <a:pt x="739" y="107"/>
                    <a:pt x="739" y="107"/>
                    <a:pt x="739" y="107"/>
                  </a:cubicBezTo>
                  <a:cubicBezTo>
                    <a:pt x="739" y="80"/>
                    <a:pt x="739" y="80"/>
                    <a:pt x="739" y="80"/>
                  </a:cubicBezTo>
                  <a:cubicBezTo>
                    <a:pt x="768" y="80"/>
                    <a:pt x="768" y="80"/>
                    <a:pt x="768" y="80"/>
                  </a:cubicBezTo>
                  <a:cubicBezTo>
                    <a:pt x="768" y="107"/>
                    <a:pt x="768" y="107"/>
                    <a:pt x="768" y="107"/>
                  </a:cubicBezTo>
                  <a:cubicBezTo>
                    <a:pt x="757" y="109"/>
                    <a:pt x="757" y="109"/>
                    <a:pt x="757" y="109"/>
                  </a:cubicBezTo>
                  <a:cubicBezTo>
                    <a:pt x="757" y="116"/>
                    <a:pt x="757" y="116"/>
                    <a:pt x="757" y="116"/>
                  </a:cubicBezTo>
                  <a:cubicBezTo>
                    <a:pt x="797" y="116"/>
                    <a:pt x="797" y="116"/>
                    <a:pt x="797" y="116"/>
                  </a:cubicBezTo>
                  <a:cubicBezTo>
                    <a:pt x="797" y="109"/>
                    <a:pt x="797" y="109"/>
                    <a:pt x="797" y="109"/>
                  </a:cubicBezTo>
                  <a:cubicBezTo>
                    <a:pt x="786" y="107"/>
                    <a:pt x="786" y="107"/>
                    <a:pt x="786" y="107"/>
                  </a:cubicBezTo>
                  <a:cubicBezTo>
                    <a:pt x="786" y="48"/>
                    <a:pt x="786" y="48"/>
                    <a:pt x="786" y="48"/>
                  </a:cubicBezTo>
                  <a:cubicBezTo>
                    <a:pt x="797" y="46"/>
                    <a:pt x="797" y="46"/>
                    <a:pt x="797" y="46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57" y="39"/>
                    <a:pt x="757" y="39"/>
                    <a:pt x="757" y="39"/>
                  </a:cubicBezTo>
                  <a:cubicBezTo>
                    <a:pt x="757" y="46"/>
                    <a:pt x="757" y="46"/>
                    <a:pt x="757" y="46"/>
                  </a:cubicBezTo>
                  <a:cubicBezTo>
                    <a:pt x="768" y="48"/>
                    <a:pt x="768" y="48"/>
                    <a:pt x="768" y="48"/>
                  </a:cubicBezTo>
                  <a:cubicBezTo>
                    <a:pt x="768" y="71"/>
                    <a:pt x="768" y="71"/>
                    <a:pt x="768" y="71"/>
                  </a:cubicBezTo>
                  <a:cubicBezTo>
                    <a:pt x="739" y="71"/>
                    <a:pt x="739" y="71"/>
                    <a:pt x="739" y="71"/>
                  </a:cubicBezTo>
                  <a:cubicBezTo>
                    <a:pt x="739" y="48"/>
                    <a:pt x="739" y="48"/>
                    <a:pt x="739" y="48"/>
                  </a:cubicBezTo>
                  <a:cubicBezTo>
                    <a:pt x="750" y="46"/>
                    <a:pt x="750" y="46"/>
                    <a:pt x="750" y="46"/>
                  </a:cubicBezTo>
                  <a:cubicBezTo>
                    <a:pt x="750" y="39"/>
                    <a:pt x="750" y="39"/>
                    <a:pt x="750" y="39"/>
                  </a:cubicBezTo>
                  <a:cubicBezTo>
                    <a:pt x="710" y="39"/>
                    <a:pt x="710" y="39"/>
                    <a:pt x="710" y="39"/>
                  </a:cubicBezTo>
                  <a:cubicBezTo>
                    <a:pt x="710" y="46"/>
                    <a:pt x="710" y="46"/>
                    <a:pt x="710" y="46"/>
                  </a:cubicBezTo>
                  <a:cubicBezTo>
                    <a:pt x="722" y="48"/>
                    <a:pt x="722" y="48"/>
                    <a:pt x="722" y="48"/>
                  </a:cubicBezTo>
                  <a:cubicBezTo>
                    <a:pt x="722" y="107"/>
                    <a:pt x="722" y="107"/>
                    <a:pt x="722" y="107"/>
                  </a:cubicBezTo>
                  <a:cubicBezTo>
                    <a:pt x="710" y="109"/>
                    <a:pt x="710" y="109"/>
                    <a:pt x="710" y="109"/>
                  </a:cubicBezTo>
                  <a:cubicBezTo>
                    <a:pt x="710" y="116"/>
                    <a:pt x="710" y="116"/>
                    <a:pt x="710" y="116"/>
                  </a:cubicBezTo>
                  <a:cubicBezTo>
                    <a:pt x="750" y="116"/>
                    <a:pt x="750" y="116"/>
                    <a:pt x="750" y="116"/>
                  </a:cubicBezTo>
                  <a:lnTo>
                    <a:pt x="750" y="109"/>
                  </a:lnTo>
                  <a:close/>
                  <a:moveTo>
                    <a:pt x="445" y="109"/>
                  </a:moveTo>
                  <a:cubicBezTo>
                    <a:pt x="434" y="107"/>
                    <a:pt x="434" y="107"/>
                    <a:pt x="434" y="107"/>
                  </a:cubicBezTo>
                  <a:cubicBezTo>
                    <a:pt x="434" y="80"/>
                    <a:pt x="434" y="80"/>
                    <a:pt x="434" y="80"/>
                  </a:cubicBezTo>
                  <a:cubicBezTo>
                    <a:pt x="463" y="80"/>
                    <a:pt x="463" y="80"/>
                    <a:pt x="463" y="80"/>
                  </a:cubicBezTo>
                  <a:cubicBezTo>
                    <a:pt x="463" y="107"/>
                    <a:pt x="463" y="107"/>
                    <a:pt x="463" y="107"/>
                  </a:cubicBezTo>
                  <a:cubicBezTo>
                    <a:pt x="452" y="109"/>
                    <a:pt x="452" y="109"/>
                    <a:pt x="452" y="109"/>
                  </a:cubicBezTo>
                  <a:cubicBezTo>
                    <a:pt x="452" y="116"/>
                    <a:pt x="452" y="116"/>
                    <a:pt x="452" y="116"/>
                  </a:cubicBezTo>
                  <a:cubicBezTo>
                    <a:pt x="492" y="116"/>
                    <a:pt x="492" y="116"/>
                    <a:pt x="492" y="116"/>
                  </a:cubicBezTo>
                  <a:cubicBezTo>
                    <a:pt x="492" y="109"/>
                    <a:pt x="492" y="109"/>
                    <a:pt x="492" y="109"/>
                  </a:cubicBezTo>
                  <a:cubicBezTo>
                    <a:pt x="480" y="107"/>
                    <a:pt x="480" y="107"/>
                    <a:pt x="480" y="107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492" y="46"/>
                    <a:pt x="492" y="46"/>
                    <a:pt x="492" y="46"/>
                  </a:cubicBezTo>
                  <a:cubicBezTo>
                    <a:pt x="492" y="39"/>
                    <a:pt x="492" y="39"/>
                    <a:pt x="492" y="39"/>
                  </a:cubicBezTo>
                  <a:cubicBezTo>
                    <a:pt x="452" y="39"/>
                    <a:pt x="452" y="39"/>
                    <a:pt x="452" y="39"/>
                  </a:cubicBezTo>
                  <a:cubicBezTo>
                    <a:pt x="452" y="46"/>
                    <a:pt x="452" y="46"/>
                    <a:pt x="452" y="46"/>
                  </a:cubicBezTo>
                  <a:cubicBezTo>
                    <a:pt x="463" y="48"/>
                    <a:pt x="463" y="48"/>
                    <a:pt x="463" y="48"/>
                  </a:cubicBezTo>
                  <a:cubicBezTo>
                    <a:pt x="463" y="71"/>
                    <a:pt x="463" y="71"/>
                    <a:pt x="463" y="71"/>
                  </a:cubicBezTo>
                  <a:cubicBezTo>
                    <a:pt x="434" y="71"/>
                    <a:pt x="434" y="71"/>
                    <a:pt x="434" y="71"/>
                  </a:cubicBezTo>
                  <a:cubicBezTo>
                    <a:pt x="434" y="48"/>
                    <a:pt x="434" y="48"/>
                    <a:pt x="434" y="48"/>
                  </a:cubicBezTo>
                  <a:cubicBezTo>
                    <a:pt x="445" y="46"/>
                    <a:pt x="445" y="46"/>
                    <a:pt x="445" y="46"/>
                  </a:cubicBezTo>
                  <a:cubicBezTo>
                    <a:pt x="445" y="39"/>
                    <a:pt x="445" y="39"/>
                    <a:pt x="445" y="39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46"/>
                    <a:pt x="405" y="46"/>
                    <a:pt x="405" y="46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107"/>
                    <a:pt x="416" y="107"/>
                    <a:pt x="416" y="107"/>
                  </a:cubicBezTo>
                  <a:cubicBezTo>
                    <a:pt x="405" y="109"/>
                    <a:pt x="405" y="109"/>
                    <a:pt x="405" y="109"/>
                  </a:cubicBezTo>
                  <a:cubicBezTo>
                    <a:pt x="405" y="116"/>
                    <a:pt x="405" y="116"/>
                    <a:pt x="405" y="116"/>
                  </a:cubicBezTo>
                  <a:cubicBezTo>
                    <a:pt x="445" y="116"/>
                    <a:pt x="445" y="116"/>
                    <a:pt x="445" y="116"/>
                  </a:cubicBezTo>
                  <a:lnTo>
                    <a:pt x="445" y="109"/>
                  </a:lnTo>
                  <a:close/>
                  <a:moveTo>
                    <a:pt x="1209" y="49"/>
                  </a:moveTo>
                  <a:cubicBezTo>
                    <a:pt x="1226" y="49"/>
                    <a:pt x="1226" y="49"/>
                    <a:pt x="1226" y="49"/>
                  </a:cubicBezTo>
                  <a:cubicBezTo>
                    <a:pt x="1226" y="107"/>
                    <a:pt x="1226" y="107"/>
                    <a:pt x="1226" y="107"/>
                  </a:cubicBezTo>
                  <a:cubicBezTo>
                    <a:pt x="1215" y="109"/>
                    <a:pt x="1215" y="109"/>
                    <a:pt x="1215" y="109"/>
                  </a:cubicBezTo>
                  <a:cubicBezTo>
                    <a:pt x="1215" y="116"/>
                    <a:pt x="1215" y="116"/>
                    <a:pt x="1215" y="116"/>
                  </a:cubicBezTo>
                  <a:cubicBezTo>
                    <a:pt x="1255" y="116"/>
                    <a:pt x="1255" y="116"/>
                    <a:pt x="1255" y="116"/>
                  </a:cubicBezTo>
                  <a:cubicBezTo>
                    <a:pt x="1255" y="109"/>
                    <a:pt x="1255" y="109"/>
                    <a:pt x="1255" y="109"/>
                  </a:cubicBezTo>
                  <a:cubicBezTo>
                    <a:pt x="1244" y="107"/>
                    <a:pt x="1244" y="107"/>
                    <a:pt x="1244" y="107"/>
                  </a:cubicBezTo>
                  <a:cubicBezTo>
                    <a:pt x="1244" y="49"/>
                    <a:pt x="1244" y="49"/>
                    <a:pt x="1244" y="49"/>
                  </a:cubicBezTo>
                  <a:cubicBezTo>
                    <a:pt x="1261" y="49"/>
                    <a:pt x="1261" y="49"/>
                    <a:pt x="1261" y="49"/>
                  </a:cubicBezTo>
                  <a:cubicBezTo>
                    <a:pt x="1262" y="60"/>
                    <a:pt x="1262" y="60"/>
                    <a:pt x="1262" y="60"/>
                  </a:cubicBezTo>
                  <a:cubicBezTo>
                    <a:pt x="1270" y="60"/>
                    <a:pt x="1270" y="60"/>
                    <a:pt x="1270" y="60"/>
                  </a:cubicBezTo>
                  <a:cubicBezTo>
                    <a:pt x="1270" y="39"/>
                    <a:pt x="1270" y="39"/>
                    <a:pt x="1270" y="39"/>
                  </a:cubicBezTo>
                  <a:cubicBezTo>
                    <a:pt x="1200" y="39"/>
                    <a:pt x="1200" y="39"/>
                    <a:pt x="1200" y="39"/>
                  </a:cubicBezTo>
                  <a:cubicBezTo>
                    <a:pt x="1200" y="60"/>
                    <a:pt x="1200" y="60"/>
                    <a:pt x="1200" y="60"/>
                  </a:cubicBezTo>
                  <a:cubicBezTo>
                    <a:pt x="1208" y="60"/>
                    <a:pt x="1208" y="60"/>
                    <a:pt x="1208" y="60"/>
                  </a:cubicBezTo>
                  <a:lnTo>
                    <a:pt x="1209" y="49"/>
                  </a:lnTo>
                  <a:close/>
                  <a:moveTo>
                    <a:pt x="1058" y="49"/>
                  </a:moveTo>
                  <a:cubicBezTo>
                    <a:pt x="1075" y="49"/>
                    <a:pt x="1075" y="49"/>
                    <a:pt x="1075" y="49"/>
                  </a:cubicBezTo>
                  <a:cubicBezTo>
                    <a:pt x="1075" y="107"/>
                    <a:pt x="1075" y="107"/>
                    <a:pt x="1075" y="107"/>
                  </a:cubicBezTo>
                  <a:cubicBezTo>
                    <a:pt x="1064" y="109"/>
                    <a:pt x="1064" y="109"/>
                    <a:pt x="1064" y="109"/>
                  </a:cubicBezTo>
                  <a:cubicBezTo>
                    <a:pt x="1064" y="116"/>
                    <a:pt x="1064" y="116"/>
                    <a:pt x="1064" y="116"/>
                  </a:cubicBezTo>
                  <a:cubicBezTo>
                    <a:pt x="1104" y="116"/>
                    <a:pt x="1104" y="116"/>
                    <a:pt x="1104" y="116"/>
                  </a:cubicBezTo>
                  <a:cubicBezTo>
                    <a:pt x="1104" y="109"/>
                    <a:pt x="1104" y="109"/>
                    <a:pt x="1104" y="109"/>
                  </a:cubicBezTo>
                  <a:cubicBezTo>
                    <a:pt x="1093" y="107"/>
                    <a:pt x="1093" y="107"/>
                    <a:pt x="1093" y="107"/>
                  </a:cubicBezTo>
                  <a:cubicBezTo>
                    <a:pt x="1093" y="49"/>
                    <a:pt x="1093" y="49"/>
                    <a:pt x="1093" y="49"/>
                  </a:cubicBezTo>
                  <a:cubicBezTo>
                    <a:pt x="1110" y="49"/>
                    <a:pt x="1110" y="49"/>
                    <a:pt x="1110" y="49"/>
                  </a:cubicBezTo>
                  <a:cubicBezTo>
                    <a:pt x="1111" y="60"/>
                    <a:pt x="1111" y="60"/>
                    <a:pt x="1111" y="60"/>
                  </a:cubicBezTo>
                  <a:cubicBezTo>
                    <a:pt x="1119" y="60"/>
                    <a:pt x="1119" y="60"/>
                    <a:pt x="1119" y="60"/>
                  </a:cubicBezTo>
                  <a:cubicBezTo>
                    <a:pt x="1119" y="39"/>
                    <a:pt x="1119" y="39"/>
                    <a:pt x="1119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60"/>
                    <a:pt x="1049" y="60"/>
                    <a:pt x="1049" y="60"/>
                  </a:cubicBezTo>
                  <a:cubicBezTo>
                    <a:pt x="1057" y="60"/>
                    <a:pt x="1057" y="60"/>
                    <a:pt x="1057" y="60"/>
                  </a:cubicBezTo>
                  <a:lnTo>
                    <a:pt x="1058" y="49"/>
                  </a:lnTo>
                  <a:close/>
                  <a:moveTo>
                    <a:pt x="1114" y="116"/>
                  </a:moveTo>
                  <a:cubicBezTo>
                    <a:pt x="1147" y="116"/>
                    <a:pt x="1147" y="116"/>
                    <a:pt x="1147" y="116"/>
                  </a:cubicBezTo>
                  <a:cubicBezTo>
                    <a:pt x="1147" y="109"/>
                    <a:pt x="1147" y="109"/>
                    <a:pt x="1147" y="109"/>
                  </a:cubicBezTo>
                  <a:cubicBezTo>
                    <a:pt x="1136" y="107"/>
                    <a:pt x="1136" y="107"/>
                    <a:pt x="1136" y="107"/>
                  </a:cubicBezTo>
                  <a:cubicBezTo>
                    <a:pt x="1142" y="93"/>
                    <a:pt x="1142" y="93"/>
                    <a:pt x="1142" y="93"/>
                  </a:cubicBezTo>
                  <a:cubicBezTo>
                    <a:pt x="1171" y="93"/>
                    <a:pt x="1171" y="93"/>
                    <a:pt x="1171" y="93"/>
                  </a:cubicBezTo>
                  <a:cubicBezTo>
                    <a:pt x="1176" y="107"/>
                    <a:pt x="1176" y="107"/>
                    <a:pt x="1176" y="107"/>
                  </a:cubicBezTo>
                  <a:cubicBezTo>
                    <a:pt x="1165" y="109"/>
                    <a:pt x="1165" y="109"/>
                    <a:pt x="1165" y="109"/>
                  </a:cubicBezTo>
                  <a:cubicBezTo>
                    <a:pt x="1165" y="116"/>
                    <a:pt x="1165" y="116"/>
                    <a:pt x="1165" y="116"/>
                  </a:cubicBezTo>
                  <a:cubicBezTo>
                    <a:pt x="1205" y="116"/>
                    <a:pt x="1205" y="116"/>
                    <a:pt x="1205" y="116"/>
                  </a:cubicBezTo>
                  <a:cubicBezTo>
                    <a:pt x="1205" y="109"/>
                    <a:pt x="1205" y="109"/>
                    <a:pt x="1205" y="109"/>
                  </a:cubicBezTo>
                  <a:cubicBezTo>
                    <a:pt x="1194" y="107"/>
                    <a:pt x="1194" y="107"/>
                    <a:pt x="1194" y="107"/>
                  </a:cubicBezTo>
                  <a:cubicBezTo>
                    <a:pt x="1168" y="39"/>
                    <a:pt x="1168" y="39"/>
                    <a:pt x="1168" y="39"/>
                  </a:cubicBezTo>
                  <a:cubicBezTo>
                    <a:pt x="1151" y="39"/>
                    <a:pt x="1151" y="39"/>
                    <a:pt x="1151" y="39"/>
                  </a:cubicBezTo>
                  <a:cubicBezTo>
                    <a:pt x="1125" y="107"/>
                    <a:pt x="1125" y="107"/>
                    <a:pt x="1125" y="107"/>
                  </a:cubicBezTo>
                  <a:cubicBezTo>
                    <a:pt x="1114" y="109"/>
                    <a:pt x="1114" y="109"/>
                    <a:pt x="1114" y="109"/>
                  </a:cubicBezTo>
                  <a:lnTo>
                    <a:pt x="1114" y="116"/>
                  </a:lnTo>
                  <a:close/>
                  <a:moveTo>
                    <a:pt x="1156" y="54"/>
                  </a:moveTo>
                  <a:cubicBezTo>
                    <a:pt x="1167" y="84"/>
                    <a:pt x="1167" y="84"/>
                    <a:pt x="1167" y="84"/>
                  </a:cubicBezTo>
                  <a:cubicBezTo>
                    <a:pt x="1145" y="84"/>
                    <a:pt x="1145" y="84"/>
                    <a:pt x="1145" y="84"/>
                  </a:cubicBezTo>
                  <a:lnTo>
                    <a:pt x="1156" y="54"/>
                  </a:lnTo>
                  <a:close/>
                  <a:moveTo>
                    <a:pt x="1042" y="88"/>
                  </a:moveTo>
                  <a:cubicBezTo>
                    <a:pt x="1042" y="49"/>
                    <a:pt x="993" y="65"/>
                    <a:pt x="993" y="41"/>
                  </a:cubicBezTo>
                  <a:cubicBezTo>
                    <a:pt x="993" y="30"/>
                    <a:pt x="1002" y="27"/>
                    <a:pt x="1011" y="27"/>
                  </a:cubicBezTo>
                  <a:cubicBezTo>
                    <a:pt x="1019" y="27"/>
                    <a:pt x="1028" y="29"/>
                    <a:pt x="1028" y="29"/>
                  </a:cubicBezTo>
                  <a:cubicBezTo>
                    <a:pt x="1030" y="41"/>
                    <a:pt x="1030" y="41"/>
                    <a:pt x="1030" y="41"/>
                  </a:cubicBezTo>
                  <a:cubicBezTo>
                    <a:pt x="1038" y="41"/>
                    <a:pt x="1038" y="41"/>
                    <a:pt x="1038" y="41"/>
                  </a:cubicBezTo>
                  <a:cubicBezTo>
                    <a:pt x="1038" y="22"/>
                    <a:pt x="1038" y="22"/>
                    <a:pt x="1038" y="22"/>
                  </a:cubicBezTo>
                  <a:cubicBezTo>
                    <a:pt x="1030" y="19"/>
                    <a:pt x="1019" y="16"/>
                    <a:pt x="1009" y="16"/>
                  </a:cubicBezTo>
                  <a:cubicBezTo>
                    <a:pt x="987" y="16"/>
                    <a:pt x="976" y="27"/>
                    <a:pt x="976" y="44"/>
                  </a:cubicBezTo>
                  <a:cubicBezTo>
                    <a:pt x="976" y="65"/>
                    <a:pt x="992" y="69"/>
                    <a:pt x="1007" y="74"/>
                  </a:cubicBezTo>
                  <a:cubicBezTo>
                    <a:pt x="1017" y="77"/>
                    <a:pt x="1025" y="79"/>
                    <a:pt x="1025" y="90"/>
                  </a:cubicBezTo>
                  <a:cubicBezTo>
                    <a:pt x="1025" y="102"/>
                    <a:pt x="1015" y="106"/>
                    <a:pt x="1003" y="106"/>
                  </a:cubicBezTo>
                  <a:cubicBezTo>
                    <a:pt x="992" y="106"/>
                    <a:pt x="986" y="104"/>
                    <a:pt x="986" y="104"/>
                  </a:cubicBezTo>
                  <a:cubicBezTo>
                    <a:pt x="984" y="91"/>
                    <a:pt x="984" y="91"/>
                    <a:pt x="984" y="91"/>
                  </a:cubicBezTo>
                  <a:cubicBezTo>
                    <a:pt x="976" y="91"/>
                    <a:pt x="976" y="91"/>
                    <a:pt x="976" y="91"/>
                  </a:cubicBezTo>
                  <a:cubicBezTo>
                    <a:pt x="976" y="112"/>
                    <a:pt x="976" y="112"/>
                    <a:pt x="976" y="112"/>
                  </a:cubicBezTo>
                  <a:cubicBezTo>
                    <a:pt x="976" y="112"/>
                    <a:pt x="989" y="117"/>
                    <a:pt x="1006" y="117"/>
                  </a:cubicBezTo>
                  <a:cubicBezTo>
                    <a:pt x="1030" y="117"/>
                    <a:pt x="1042" y="107"/>
                    <a:pt x="1042" y="88"/>
                  </a:cubicBezTo>
                  <a:close/>
                  <a:moveTo>
                    <a:pt x="847" y="109"/>
                  </a:moveTo>
                  <a:cubicBezTo>
                    <a:pt x="835" y="107"/>
                    <a:pt x="835" y="107"/>
                    <a:pt x="835" y="107"/>
                  </a:cubicBezTo>
                  <a:cubicBezTo>
                    <a:pt x="835" y="48"/>
                    <a:pt x="835" y="48"/>
                    <a:pt x="835" y="48"/>
                  </a:cubicBezTo>
                  <a:cubicBezTo>
                    <a:pt x="847" y="46"/>
                    <a:pt x="847" y="46"/>
                    <a:pt x="847" y="46"/>
                  </a:cubicBezTo>
                  <a:cubicBezTo>
                    <a:pt x="847" y="39"/>
                    <a:pt x="847" y="39"/>
                    <a:pt x="847" y="39"/>
                  </a:cubicBezTo>
                  <a:cubicBezTo>
                    <a:pt x="806" y="39"/>
                    <a:pt x="806" y="39"/>
                    <a:pt x="806" y="39"/>
                  </a:cubicBezTo>
                  <a:cubicBezTo>
                    <a:pt x="806" y="46"/>
                    <a:pt x="806" y="46"/>
                    <a:pt x="806" y="46"/>
                  </a:cubicBezTo>
                  <a:cubicBezTo>
                    <a:pt x="818" y="48"/>
                    <a:pt x="818" y="48"/>
                    <a:pt x="818" y="48"/>
                  </a:cubicBezTo>
                  <a:cubicBezTo>
                    <a:pt x="818" y="107"/>
                    <a:pt x="818" y="107"/>
                    <a:pt x="818" y="107"/>
                  </a:cubicBezTo>
                  <a:cubicBezTo>
                    <a:pt x="806" y="109"/>
                    <a:pt x="806" y="109"/>
                    <a:pt x="806" y="109"/>
                  </a:cubicBezTo>
                  <a:cubicBezTo>
                    <a:pt x="806" y="116"/>
                    <a:pt x="806" y="116"/>
                    <a:pt x="806" y="116"/>
                  </a:cubicBezTo>
                  <a:cubicBezTo>
                    <a:pt x="847" y="116"/>
                    <a:pt x="847" y="116"/>
                    <a:pt x="847" y="116"/>
                  </a:cubicBezTo>
                  <a:lnTo>
                    <a:pt x="847" y="109"/>
                  </a:lnTo>
                  <a:close/>
                  <a:moveTo>
                    <a:pt x="890" y="117"/>
                  </a:moveTo>
                  <a:cubicBezTo>
                    <a:pt x="915" y="117"/>
                    <a:pt x="927" y="103"/>
                    <a:pt x="927" y="78"/>
                  </a:cubicBezTo>
                  <a:cubicBezTo>
                    <a:pt x="927" y="52"/>
                    <a:pt x="915" y="38"/>
                    <a:pt x="890" y="38"/>
                  </a:cubicBezTo>
                  <a:cubicBezTo>
                    <a:pt x="864" y="38"/>
                    <a:pt x="853" y="52"/>
                    <a:pt x="853" y="77"/>
                  </a:cubicBezTo>
                  <a:cubicBezTo>
                    <a:pt x="853" y="103"/>
                    <a:pt x="864" y="117"/>
                    <a:pt x="890" y="117"/>
                  </a:cubicBezTo>
                  <a:close/>
                  <a:moveTo>
                    <a:pt x="890" y="48"/>
                  </a:moveTo>
                  <a:cubicBezTo>
                    <a:pt x="902" y="48"/>
                    <a:pt x="908" y="57"/>
                    <a:pt x="908" y="78"/>
                  </a:cubicBezTo>
                  <a:cubicBezTo>
                    <a:pt x="908" y="98"/>
                    <a:pt x="902" y="107"/>
                    <a:pt x="889" y="107"/>
                  </a:cubicBezTo>
                  <a:cubicBezTo>
                    <a:pt x="877" y="107"/>
                    <a:pt x="871" y="98"/>
                    <a:pt x="871" y="77"/>
                  </a:cubicBezTo>
                  <a:cubicBezTo>
                    <a:pt x="871" y="57"/>
                    <a:pt x="877" y="48"/>
                    <a:pt x="890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237156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6">
          <p15:clr>
            <a:srgbClr val="FBAE40"/>
          </p15:clr>
        </p15:guide>
        <p15:guide id="2" pos="2136">
          <p15:clr>
            <a:srgbClr val="FBAE40"/>
          </p15:clr>
        </p15:guide>
        <p15:guide id="3" pos="232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search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itle 41"/>
          <p:cNvSpPr>
            <a:spLocks noGrp="1"/>
          </p:cNvSpPr>
          <p:nvPr>
            <p:ph type="title"/>
          </p:nvPr>
        </p:nvSpPr>
        <p:spPr>
          <a:xfrm>
            <a:off x="1901372" y="4201059"/>
            <a:ext cx="8447315" cy="920559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3733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3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39713" y="5349310"/>
            <a:ext cx="5170632" cy="428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85000"/>
              </a:lnSpc>
              <a:spcBef>
                <a:spcPct val="0"/>
              </a:spcBef>
              <a:buFont typeface="Wingdings" pitchFamily="2" charset="2"/>
              <a:buNone/>
              <a:defRPr sz="2667"/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>
          <a:xfrm>
            <a:off x="8092602" y="2598287"/>
            <a:ext cx="3457207" cy="496575"/>
            <a:chOff x="487363" y="2840038"/>
            <a:chExt cx="8167687" cy="1173162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487363" y="2843213"/>
              <a:ext cx="8167687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531813" y="2892425"/>
              <a:ext cx="803275" cy="1068387"/>
            </a:xfrm>
            <a:custGeom>
              <a:avLst/>
              <a:gdLst>
                <a:gd name="T0" fmla="*/ 126 w 506"/>
                <a:gd name="T1" fmla="*/ 172 h 673"/>
                <a:gd name="T2" fmla="*/ 175 w 506"/>
                <a:gd name="T3" fmla="*/ 125 h 673"/>
                <a:gd name="T4" fmla="*/ 333 w 506"/>
                <a:gd name="T5" fmla="*/ 125 h 673"/>
                <a:gd name="T6" fmla="*/ 383 w 506"/>
                <a:gd name="T7" fmla="*/ 172 h 673"/>
                <a:gd name="T8" fmla="*/ 383 w 506"/>
                <a:gd name="T9" fmla="*/ 500 h 673"/>
                <a:gd name="T10" fmla="*/ 333 w 506"/>
                <a:gd name="T11" fmla="*/ 548 h 673"/>
                <a:gd name="T12" fmla="*/ 175 w 506"/>
                <a:gd name="T13" fmla="*/ 548 h 673"/>
                <a:gd name="T14" fmla="*/ 126 w 506"/>
                <a:gd name="T15" fmla="*/ 500 h 673"/>
                <a:gd name="T16" fmla="*/ 126 w 506"/>
                <a:gd name="T17" fmla="*/ 172 h 673"/>
                <a:gd name="T18" fmla="*/ 126 w 506"/>
                <a:gd name="T19" fmla="*/ 172 h 673"/>
                <a:gd name="T20" fmla="*/ 506 w 506"/>
                <a:gd name="T21" fmla="*/ 120 h 673"/>
                <a:gd name="T22" fmla="*/ 385 w 506"/>
                <a:gd name="T23" fmla="*/ 0 h 673"/>
                <a:gd name="T24" fmla="*/ 123 w 506"/>
                <a:gd name="T25" fmla="*/ 0 h 673"/>
                <a:gd name="T26" fmla="*/ 0 w 506"/>
                <a:gd name="T27" fmla="*/ 120 h 673"/>
                <a:gd name="T28" fmla="*/ 0 w 506"/>
                <a:gd name="T29" fmla="*/ 552 h 673"/>
                <a:gd name="T30" fmla="*/ 123 w 506"/>
                <a:gd name="T31" fmla="*/ 673 h 673"/>
                <a:gd name="T32" fmla="*/ 385 w 506"/>
                <a:gd name="T33" fmla="*/ 673 h 673"/>
                <a:gd name="T34" fmla="*/ 506 w 506"/>
                <a:gd name="T35" fmla="*/ 552 h 673"/>
                <a:gd name="T36" fmla="*/ 506 w 506"/>
                <a:gd name="T37" fmla="*/ 120 h 673"/>
                <a:gd name="T38" fmla="*/ 506 w 506"/>
                <a:gd name="T39" fmla="*/ 12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6" h="673">
                  <a:moveTo>
                    <a:pt x="126" y="172"/>
                  </a:moveTo>
                  <a:lnTo>
                    <a:pt x="175" y="125"/>
                  </a:lnTo>
                  <a:lnTo>
                    <a:pt x="333" y="125"/>
                  </a:lnTo>
                  <a:lnTo>
                    <a:pt x="383" y="172"/>
                  </a:lnTo>
                  <a:lnTo>
                    <a:pt x="383" y="500"/>
                  </a:lnTo>
                  <a:lnTo>
                    <a:pt x="333" y="548"/>
                  </a:lnTo>
                  <a:lnTo>
                    <a:pt x="175" y="548"/>
                  </a:lnTo>
                  <a:lnTo>
                    <a:pt x="126" y="500"/>
                  </a:lnTo>
                  <a:lnTo>
                    <a:pt x="126" y="172"/>
                  </a:lnTo>
                  <a:lnTo>
                    <a:pt x="126" y="172"/>
                  </a:lnTo>
                  <a:close/>
                  <a:moveTo>
                    <a:pt x="506" y="120"/>
                  </a:moveTo>
                  <a:lnTo>
                    <a:pt x="385" y="0"/>
                  </a:lnTo>
                  <a:lnTo>
                    <a:pt x="123" y="0"/>
                  </a:lnTo>
                  <a:lnTo>
                    <a:pt x="0" y="120"/>
                  </a:lnTo>
                  <a:lnTo>
                    <a:pt x="0" y="552"/>
                  </a:lnTo>
                  <a:lnTo>
                    <a:pt x="123" y="673"/>
                  </a:lnTo>
                  <a:lnTo>
                    <a:pt x="385" y="673"/>
                  </a:lnTo>
                  <a:lnTo>
                    <a:pt x="506" y="552"/>
                  </a:lnTo>
                  <a:lnTo>
                    <a:pt x="506" y="120"/>
                  </a:lnTo>
                  <a:lnTo>
                    <a:pt x="506" y="120"/>
                  </a:lnTo>
                  <a:close/>
                </a:path>
              </a:pathLst>
            </a:custGeom>
            <a:solidFill>
              <a:srgbClr val="BB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87363" y="2840038"/>
              <a:ext cx="8167687" cy="1169989"/>
            </a:xfrm>
            <a:custGeom>
              <a:avLst/>
              <a:gdLst>
                <a:gd name="T0" fmla="*/ 397 w 2178"/>
                <a:gd name="T1" fmla="*/ 289 h 312"/>
                <a:gd name="T2" fmla="*/ 430 w 2178"/>
                <a:gd name="T3" fmla="*/ 253 h 312"/>
                <a:gd name="T4" fmla="*/ 493 w 2178"/>
                <a:gd name="T5" fmla="*/ 256 h 312"/>
                <a:gd name="T6" fmla="*/ 535 w 2178"/>
                <a:gd name="T7" fmla="*/ 289 h 312"/>
                <a:gd name="T8" fmla="*/ 608 w 2178"/>
                <a:gd name="T9" fmla="*/ 282 h 312"/>
                <a:gd name="T10" fmla="*/ 678 w 2178"/>
                <a:gd name="T11" fmla="*/ 225 h 312"/>
                <a:gd name="T12" fmla="*/ 660 w 2178"/>
                <a:gd name="T13" fmla="*/ 232 h 312"/>
                <a:gd name="T14" fmla="*/ 761 w 2178"/>
                <a:gd name="T15" fmla="*/ 289 h 312"/>
                <a:gd name="T16" fmla="*/ 814 w 2178"/>
                <a:gd name="T17" fmla="*/ 282 h 312"/>
                <a:gd name="T18" fmla="*/ 858 w 2178"/>
                <a:gd name="T19" fmla="*/ 225 h 312"/>
                <a:gd name="T20" fmla="*/ 923 w 2178"/>
                <a:gd name="T21" fmla="*/ 289 h 312"/>
                <a:gd name="T22" fmla="*/ 941 w 2178"/>
                <a:gd name="T23" fmla="*/ 257 h 312"/>
                <a:gd name="T24" fmla="*/ 1061 w 2178"/>
                <a:gd name="T25" fmla="*/ 289 h 312"/>
                <a:gd name="T26" fmla="*/ 1103 w 2178"/>
                <a:gd name="T27" fmla="*/ 282 h 312"/>
                <a:gd name="T28" fmla="*/ 1182 w 2178"/>
                <a:gd name="T29" fmla="*/ 277 h 312"/>
                <a:gd name="T30" fmla="*/ 1197 w 2178"/>
                <a:gd name="T31" fmla="*/ 232 h 312"/>
                <a:gd name="T32" fmla="*/ 1287 w 2178"/>
                <a:gd name="T33" fmla="*/ 289 h 312"/>
                <a:gd name="T34" fmla="*/ 1351 w 2178"/>
                <a:gd name="T35" fmla="*/ 225 h 312"/>
                <a:gd name="T36" fmla="*/ 1367 w 2178"/>
                <a:gd name="T37" fmla="*/ 232 h 312"/>
                <a:gd name="T38" fmla="*/ 1433 w 2178"/>
                <a:gd name="T39" fmla="*/ 264 h 312"/>
                <a:gd name="T40" fmla="*/ 59 w 2178"/>
                <a:gd name="T41" fmla="*/ 0 h 312"/>
                <a:gd name="T42" fmla="*/ 61 w 2178"/>
                <a:gd name="T43" fmla="*/ 307 h 312"/>
                <a:gd name="T44" fmla="*/ 150 w 2178"/>
                <a:gd name="T45" fmla="*/ 238 h 312"/>
                <a:gd name="T46" fmla="*/ 147 w 2178"/>
                <a:gd name="T47" fmla="*/ 80 h 312"/>
                <a:gd name="T48" fmla="*/ 1628 w 2178"/>
                <a:gd name="T49" fmla="*/ 46 h 312"/>
                <a:gd name="T50" fmla="*/ 1515 w 2178"/>
                <a:gd name="T51" fmla="*/ 107 h 312"/>
                <a:gd name="T52" fmla="*/ 1518 w 2178"/>
                <a:gd name="T53" fmla="*/ 39 h 312"/>
                <a:gd name="T54" fmla="*/ 1438 w 2178"/>
                <a:gd name="T55" fmla="*/ 117 h 312"/>
                <a:gd name="T56" fmla="*/ 1441 w 2178"/>
                <a:gd name="T57" fmla="*/ 107 h 312"/>
                <a:gd name="T58" fmla="*/ 1713 w 2178"/>
                <a:gd name="T59" fmla="*/ 48 h 312"/>
                <a:gd name="T60" fmla="*/ 1634 w 2178"/>
                <a:gd name="T61" fmla="*/ 46 h 312"/>
                <a:gd name="T62" fmla="*/ 1974 w 2178"/>
                <a:gd name="T63" fmla="*/ 107 h 312"/>
                <a:gd name="T64" fmla="*/ 2066 w 2178"/>
                <a:gd name="T65" fmla="*/ 109 h 312"/>
                <a:gd name="T66" fmla="*/ 2122 w 2178"/>
                <a:gd name="T67" fmla="*/ 82 h 312"/>
                <a:gd name="T68" fmla="*/ 2138 w 2178"/>
                <a:gd name="T69" fmla="*/ 39 h 312"/>
                <a:gd name="T70" fmla="*/ 1953 w 2178"/>
                <a:gd name="T71" fmla="*/ 94 h 312"/>
                <a:gd name="T72" fmla="*/ 1920 w 2178"/>
                <a:gd name="T73" fmla="*/ 107 h 312"/>
                <a:gd name="T74" fmla="*/ 1855 w 2178"/>
                <a:gd name="T75" fmla="*/ 98 h 312"/>
                <a:gd name="T76" fmla="*/ 1819 w 2178"/>
                <a:gd name="T77" fmla="*/ 48 h 312"/>
                <a:gd name="T78" fmla="*/ 1839 w 2178"/>
                <a:gd name="T79" fmla="*/ 73 h 312"/>
                <a:gd name="T80" fmla="*/ 1784 w 2178"/>
                <a:gd name="T81" fmla="*/ 61 h 312"/>
                <a:gd name="T82" fmla="*/ 1741 w 2178"/>
                <a:gd name="T83" fmla="*/ 48 h 312"/>
                <a:gd name="T84" fmla="*/ 1323 w 2178"/>
                <a:gd name="T85" fmla="*/ 80 h 312"/>
                <a:gd name="T86" fmla="*/ 1342 w 2178"/>
                <a:gd name="T87" fmla="*/ 39 h 312"/>
                <a:gd name="T88" fmla="*/ 557 w 2178"/>
                <a:gd name="T89" fmla="*/ 106 h 312"/>
                <a:gd name="T90" fmla="*/ 557 w 2178"/>
                <a:gd name="T91" fmla="*/ 49 h 312"/>
                <a:gd name="T92" fmla="*/ 566 w 2178"/>
                <a:gd name="T93" fmla="*/ 95 h 312"/>
                <a:gd name="T94" fmla="*/ 327 w 2178"/>
                <a:gd name="T95" fmla="*/ 28 h 312"/>
                <a:gd name="T96" fmla="*/ 399 w 2178"/>
                <a:gd name="T97" fmla="*/ 40 h 312"/>
                <a:gd name="T98" fmla="*/ 757 w 2178"/>
                <a:gd name="T99" fmla="*/ 109 h 312"/>
                <a:gd name="T100" fmla="*/ 768 w 2178"/>
                <a:gd name="T101" fmla="*/ 71 h 312"/>
                <a:gd name="T102" fmla="*/ 750 w 2178"/>
                <a:gd name="T103" fmla="*/ 116 h 312"/>
                <a:gd name="T104" fmla="*/ 480 w 2178"/>
                <a:gd name="T105" fmla="*/ 107 h 312"/>
                <a:gd name="T106" fmla="*/ 445 w 2178"/>
                <a:gd name="T107" fmla="*/ 39 h 312"/>
                <a:gd name="T108" fmla="*/ 1226 w 2178"/>
                <a:gd name="T109" fmla="*/ 107 h 312"/>
                <a:gd name="T110" fmla="*/ 1200 w 2178"/>
                <a:gd name="T111" fmla="*/ 39 h 312"/>
                <a:gd name="T112" fmla="*/ 1093 w 2178"/>
                <a:gd name="T113" fmla="*/ 107 h 312"/>
                <a:gd name="T114" fmla="*/ 1147 w 2178"/>
                <a:gd name="T115" fmla="*/ 116 h 312"/>
                <a:gd name="T116" fmla="*/ 1168 w 2178"/>
                <a:gd name="T117" fmla="*/ 39 h 312"/>
                <a:gd name="T118" fmla="*/ 1011 w 2178"/>
                <a:gd name="T119" fmla="*/ 27 h 312"/>
                <a:gd name="T120" fmla="*/ 984 w 2178"/>
                <a:gd name="T121" fmla="*/ 91 h 312"/>
                <a:gd name="T122" fmla="*/ 806 w 2178"/>
                <a:gd name="T123" fmla="*/ 46 h 312"/>
                <a:gd name="T124" fmla="*/ 890 w 2178"/>
                <a:gd name="T125" fmla="*/ 1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8" h="312">
                  <a:moveTo>
                    <a:pt x="393" y="278"/>
                  </a:moveTo>
                  <a:cubicBezTo>
                    <a:pt x="378" y="225"/>
                    <a:pt x="378" y="225"/>
                    <a:pt x="378" y="225"/>
                  </a:cubicBezTo>
                  <a:cubicBezTo>
                    <a:pt x="371" y="225"/>
                    <a:pt x="371" y="225"/>
                    <a:pt x="371" y="225"/>
                  </a:cubicBezTo>
                  <a:cubicBezTo>
                    <a:pt x="357" y="278"/>
                    <a:pt x="357" y="278"/>
                    <a:pt x="357" y="278"/>
                  </a:cubicBezTo>
                  <a:cubicBezTo>
                    <a:pt x="343" y="225"/>
                    <a:pt x="343" y="225"/>
                    <a:pt x="343" y="225"/>
                  </a:cubicBezTo>
                  <a:cubicBezTo>
                    <a:pt x="334" y="225"/>
                    <a:pt x="334" y="225"/>
                    <a:pt x="334" y="225"/>
                  </a:cubicBezTo>
                  <a:cubicBezTo>
                    <a:pt x="352" y="289"/>
                    <a:pt x="352" y="289"/>
                    <a:pt x="352" y="289"/>
                  </a:cubicBezTo>
                  <a:cubicBezTo>
                    <a:pt x="361" y="289"/>
                    <a:pt x="361" y="289"/>
                    <a:pt x="361" y="289"/>
                  </a:cubicBezTo>
                  <a:cubicBezTo>
                    <a:pt x="375" y="237"/>
                    <a:pt x="375" y="237"/>
                    <a:pt x="375" y="237"/>
                  </a:cubicBezTo>
                  <a:cubicBezTo>
                    <a:pt x="389" y="289"/>
                    <a:pt x="389" y="289"/>
                    <a:pt x="389" y="289"/>
                  </a:cubicBezTo>
                  <a:cubicBezTo>
                    <a:pt x="397" y="289"/>
                    <a:pt x="397" y="289"/>
                    <a:pt x="397" y="289"/>
                  </a:cubicBezTo>
                  <a:cubicBezTo>
                    <a:pt x="416" y="225"/>
                    <a:pt x="416" y="225"/>
                    <a:pt x="416" y="225"/>
                  </a:cubicBezTo>
                  <a:cubicBezTo>
                    <a:pt x="407" y="225"/>
                    <a:pt x="407" y="225"/>
                    <a:pt x="407" y="225"/>
                  </a:cubicBezTo>
                  <a:lnTo>
                    <a:pt x="393" y="278"/>
                  </a:lnTo>
                  <a:close/>
                  <a:moveTo>
                    <a:pt x="422" y="289"/>
                  </a:moveTo>
                  <a:cubicBezTo>
                    <a:pt x="464" y="289"/>
                    <a:pt x="464" y="289"/>
                    <a:pt x="464" y="289"/>
                  </a:cubicBezTo>
                  <a:cubicBezTo>
                    <a:pt x="464" y="282"/>
                    <a:pt x="464" y="282"/>
                    <a:pt x="464" y="282"/>
                  </a:cubicBezTo>
                  <a:cubicBezTo>
                    <a:pt x="430" y="282"/>
                    <a:pt x="430" y="282"/>
                    <a:pt x="430" y="282"/>
                  </a:cubicBezTo>
                  <a:cubicBezTo>
                    <a:pt x="430" y="260"/>
                    <a:pt x="430" y="260"/>
                    <a:pt x="430" y="260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63" y="253"/>
                    <a:pt x="463" y="253"/>
                    <a:pt x="463" y="253"/>
                  </a:cubicBezTo>
                  <a:cubicBezTo>
                    <a:pt x="430" y="253"/>
                    <a:pt x="430" y="253"/>
                    <a:pt x="430" y="253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464" y="232"/>
                    <a:pt x="464" y="232"/>
                    <a:pt x="464" y="232"/>
                  </a:cubicBezTo>
                  <a:cubicBezTo>
                    <a:pt x="464" y="225"/>
                    <a:pt x="464" y="225"/>
                    <a:pt x="464" y="225"/>
                  </a:cubicBezTo>
                  <a:cubicBezTo>
                    <a:pt x="422" y="225"/>
                    <a:pt x="422" y="225"/>
                    <a:pt x="422" y="225"/>
                  </a:cubicBezTo>
                  <a:lnTo>
                    <a:pt x="422" y="289"/>
                  </a:lnTo>
                  <a:close/>
                  <a:moveTo>
                    <a:pt x="527" y="225"/>
                  </a:moveTo>
                  <a:cubicBezTo>
                    <a:pt x="517" y="225"/>
                    <a:pt x="517" y="225"/>
                    <a:pt x="517" y="225"/>
                  </a:cubicBezTo>
                  <a:cubicBezTo>
                    <a:pt x="498" y="251"/>
                    <a:pt x="498" y="251"/>
                    <a:pt x="498" y="251"/>
                  </a:cubicBezTo>
                  <a:cubicBezTo>
                    <a:pt x="479" y="225"/>
                    <a:pt x="479" y="225"/>
                    <a:pt x="479" y="225"/>
                  </a:cubicBezTo>
                  <a:cubicBezTo>
                    <a:pt x="470" y="225"/>
                    <a:pt x="470" y="225"/>
                    <a:pt x="470" y="225"/>
                  </a:cubicBezTo>
                  <a:cubicBezTo>
                    <a:pt x="493" y="256"/>
                    <a:pt x="493" y="256"/>
                    <a:pt x="493" y="256"/>
                  </a:cubicBezTo>
                  <a:cubicBezTo>
                    <a:pt x="468" y="289"/>
                    <a:pt x="468" y="289"/>
                    <a:pt x="468" y="289"/>
                  </a:cubicBezTo>
                  <a:cubicBezTo>
                    <a:pt x="478" y="289"/>
                    <a:pt x="478" y="289"/>
                    <a:pt x="478" y="289"/>
                  </a:cubicBezTo>
                  <a:cubicBezTo>
                    <a:pt x="498" y="262"/>
                    <a:pt x="498" y="262"/>
                    <a:pt x="498" y="262"/>
                  </a:cubicBezTo>
                  <a:cubicBezTo>
                    <a:pt x="519" y="289"/>
                    <a:pt x="519" y="289"/>
                    <a:pt x="519" y="289"/>
                  </a:cubicBezTo>
                  <a:cubicBezTo>
                    <a:pt x="528" y="289"/>
                    <a:pt x="528" y="289"/>
                    <a:pt x="528" y="289"/>
                  </a:cubicBezTo>
                  <a:cubicBezTo>
                    <a:pt x="503" y="256"/>
                    <a:pt x="503" y="256"/>
                    <a:pt x="503" y="256"/>
                  </a:cubicBezTo>
                  <a:lnTo>
                    <a:pt x="527" y="225"/>
                  </a:lnTo>
                  <a:close/>
                  <a:moveTo>
                    <a:pt x="580" y="275"/>
                  </a:moveTo>
                  <a:cubicBezTo>
                    <a:pt x="543" y="225"/>
                    <a:pt x="543" y="225"/>
                    <a:pt x="543" y="225"/>
                  </a:cubicBezTo>
                  <a:cubicBezTo>
                    <a:pt x="535" y="225"/>
                    <a:pt x="535" y="225"/>
                    <a:pt x="535" y="225"/>
                  </a:cubicBezTo>
                  <a:cubicBezTo>
                    <a:pt x="535" y="289"/>
                    <a:pt x="535" y="289"/>
                    <a:pt x="535" y="289"/>
                  </a:cubicBezTo>
                  <a:cubicBezTo>
                    <a:pt x="543" y="289"/>
                    <a:pt x="543" y="289"/>
                    <a:pt x="543" y="289"/>
                  </a:cubicBezTo>
                  <a:cubicBezTo>
                    <a:pt x="543" y="238"/>
                    <a:pt x="543" y="238"/>
                    <a:pt x="543" y="238"/>
                  </a:cubicBezTo>
                  <a:cubicBezTo>
                    <a:pt x="580" y="289"/>
                    <a:pt x="580" y="289"/>
                    <a:pt x="580" y="289"/>
                  </a:cubicBezTo>
                  <a:cubicBezTo>
                    <a:pt x="588" y="289"/>
                    <a:pt x="588" y="289"/>
                    <a:pt x="588" y="289"/>
                  </a:cubicBezTo>
                  <a:cubicBezTo>
                    <a:pt x="588" y="225"/>
                    <a:pt x="588" y="225"/>
                    <a:pt x="588" y="225"/>
                  </a:cubicBezTo>
                  <a:cubicBezTo>
                    <a:pt x="580" y="225"/>
                    <a:pt x="580" y="225"/>
                    <a:pt x="580" y="225"/>
                  </a:cubicBezTo>
                  <a:lnTo>
                    <a:pt x="580" y="275"/>
                  </a:lnTo>
                  <a:close/>
                  <a:moveTo>
                    <a:pt x="600" y="289"/>
                  </a:moveTo>
                  <a:cubicBezTo>
                    <a:pt x="642" y="289"/>
                    <a:pt x="642" y="289"/>
                    <a:pt x="642" y="289"/>
                  </a:cubicBezTo>
                  <a:cubicBezTo>
                    <a:pt x="642" y="282"/>
                    <a:pt x="642" y="282"/>
                    <a:pt x="642" y="282"/>
                  </a:cubicBezTo>
                  <a:cubicBezTo>
                    <a:pt x="608" y="282"/>
                    <a:pt x="608" y="282"/>
                    <a:pt x="608" y="282"/>
                  </a:cubicBezTo>
                  <a:cubicBezTo>
                    <a:pt x="608" y="260"/>
                    <a:pt x="608" y="260"/>
                    <a:pt x="608" y="260"/>
                  </a:cubicBezTo>
                  <a:cubicBezTo>
                    <a:pt x="641" y="260"/>
                    <a:pt x="641" y="260"/>
                    <a:pt x="641" y="260"/>
                  </a:cubicBezTo>
                  <a:cubicBezTo>
                    <a:pt x="641" y="253"/>
                    <a:pt x="641" y="253"/>
                    <a:pt x="641" y="253"/>
                  </a:cubicBezTo>
                  <a:cubicBezTo>
                    <a:pt x="608" y="253"/>
                    <a:pt x="608" y="253"/>
                    <a:pt x="608" y="253"/>
                  </a:cubicBezTo>
                  <a:cubicBezTo>
                    <a:pt x="608" y="232"/>
                    <a:pt x="608" y="232"/>
                    <a:pt x="608" y="232"/>
                  </a:cubicBezTo>
                  <a:cubicBezTo>
                    <a:pt x="642" y="232"/>
                    <a:pt x="642" y="232"/>
                    <a:pt x="642" y="232"/>
                  </a:cubicBezTo>
                  <a:cubicBezTo>
                    <a:pt x="642" y="225"/>
                    <a:pt x="642" y="225"/>
                    <a:pt x="642" y="225"/>
                  </a:cubicBezTo>
                  <a:cubicBezTo>
                    <a:pt x="600" y="225"/>
                    <a:pt x="600" y="225"/>
                    <a:pt x="600" y="225"/>
                  </a:cubicBezTo>
                  <a:lnTo>
                    <a:pt x="600" y="289"/>
                  </a:lnTo>
                  <a:close/>
                  <a:moveTo>
                    <a:pt x="698" y="244"/>
                  </a:moveTo>
                  <a:cubicBezTo>
                    <a:pt x="698" y="233"/>
                    <a:pt x="690" y="225"/>
                    <a:pt x="678" y="225"/>
                  </a:cubicBezTo>
                  <a:cubicBezTo>
                    <a:pt x="652" y="225"/>
                    <a:pt x="652" y="225"/>
                    <a:pt x="652" y="225"/>
                  </a:cubicBezTo>
                  <a:cubicBezTo>
                    <a:pt x="652" y="289"/>
                    <a:pt x="652" y="289"/>
                    <a:pt x="652" y="289"/>
                  </a:cubicBezTo>
                  <a:cubicBezTo>
                    <a:pt x="660" y="289"/>
                    <a:pt x="660" y="289"/>
                    <a:pt x="660" y="289"/>
                  </a:cubicBezTo>
                  <a:cubicBezTo>
                    <a:pt x="660" y="264"/>
                    <a:pt x="660" y="264"/>
                    <a:pt x="660" y="264"/>
                  </a:cubicBezTo>
                  <a:cubicBezTo>
                    <a:pt x="673" y="264"/>
                    <a:pt x="673" y="264"/>
                    <a:pt x="673" y="264"/>
                  </a:cubicBezTo>
                  <a:cubicBezTo>
                    <a:pt x="689" y="289"/>
                    <a:pt x="689" y="289"/>
                    <a:pt x="689" y="289"/>
                  </a:cubicBezTo>
                  <a:cubicBezTo>
                    <a:pt x="699" y="289"/>
                    <a:pt x="699" y="289"/>
                    <a:pt x="699" y="289"/>
                  </a:cubicBezTo>
                  <a:cubicBezTo>
                    <a:pt x="682" y="263"/>
                    <a:pt x="682" y="263"/>
                    <a:pt x="682" y="263"/>
                  </a:cubicBezTo>
                  <a:cubicBezTo>
                    <a:pt x="690" y="262"/>
                    <a:pt x="698" y="256"/>
                    <a:pt x="698" y="244"/>
                  </a:cubicBezTo>
                  <a:close/>
                  <a:moveTo>
                    <a:pt x="660" y="257"/>
                  </a:moveTo>
                  <a:cubicBezTo>
                    <a:pt x="660" y="232"/>
                    <a:pt x="660" y="232"/>
                    <a:pt x="660" y="232"/>
                  </a:cubicBezTo>
                  <a:cubicBezTo>
                    <a:pt x="677" y="232"/>
                    <a:pt x="677" y="232"/>
                    <a:pt x="677" y="232"/>
                  </a:cubicBezTo>
                  <a:cubicBezTo>
                    <a:pt x="685" y="232"/>
                    <a:pt x="690" y="237"/>
                    <a:pt x="690" y="244"/>
                  </a:cubicBezTo>
                  <a:cubicBezTo>
                    <a:pt x="690" y="252"/>
                    <a:pt x="685" y="257"/>
                    <a:pt x="677" y="257"/>
                  </a:cubicBezTo>
                  <a:lnTo>
                    <a:pt x="660" y="257"/>
                  </a:lnTo>
                  <a:close/>
                  <a:moveTo>
                    <a:pt x="762" y="274"/>
                  </a:moveTo>
                  <a:cubicBezTo>
                    <a:pt x="742" y="225"/>
                    <a:pt x="742" y="225"/>
                    <a:pt x="742" y="225"/>
                  </a:cubicBezTo>
                  <a:cubicBezTo>
                    <a:pt x="731" y="225"/>
                    <a:pt x="731" y="225"/>
                    <a:pt x="731" y="225"/>
                  </a:cubicBezTo>
                  <a:cubicBezTo>
                    <a:pt x="731" y="289"/>
                    <a:pt x="731" y="289"/>
                    <a:pt x="731" y="289"/>
                  </a:cubicBezTo>
                  <a:cubicBezTo>
                    <a:pt x="739" y="289"/>
                    <a:pt x="739" y="289"/>
                    <a:pt x="739" y="289"/>
                  </a:cubicBezTo>
                  <a:cubicBezTo>
                    <a:pt x="739" y="235"/>
                    <a:pt x="739" y="235"/>
                    <a:pt x="739" y="235"/>
                  </a:cubicBezTo>
                  <a:cubicBezTo>
                    <a:pt x="761" y="289"/>
                    <a:pt x="761" y="289"/>
                    <a:pt x="761" y="289"/>
                  </a:cubicBezTo>
                  <a:cubicBezTo>
                    <a:pt x="764" y="289"/>
                    <a:pt x="764" y="289"/>
                    <a:pt x="764" y="289"/>
                  </a:cubicBezTo>
                  <a:cubicBezTo>
                    <a:pt x="786" y="235"/>
                    <a:pt x="786" y="235"/>
                    <a:pt x="786" y="235"/>
                  </a:cubicBezTo>
                  <a:cubicBezTo>
                    <a:pt x="786" y="289"/>
                    <a:pt x="786" y="289"/>
                    <a:pt x="786" y="289"/>
                  </a:cubicBezTo>
                  <a:cubicBezTo>
                    <a:pt x="794" y="289"/>
                    <a:pt x="794" y="289"/>
                    <a:pt x="794" y="289"/>
                  </a:cubicBezTo>
                  <a:cubicBezTo>
                    <a:pt x="794" y="225"/>
                    <a:pt x="794" y="225"/>
                    <a:pt x="794" y="225"/>
                  </a:cubicBezTo>
                  <a:cubicBezTo>
                    <a:pt x="782" y="225"/>
                    <a:pt x="782" y="225"/>
                    <a:pt x="782" y="225"/>
                  </a:cubicBezTo>
                  <a:lnTo>
                    <a:pt x="762" y="274"/>
                  </a:lnTo>
                  <a:close/>
                  <a:moveTo>
                    <a:pt x="806" y="289"/>
                  </a:moveTo>
                  <a:cubicBezTo>
                    <a:pt x="848" y="289"/>
                    <a:pt x="848" y="289"/>
                    <a:pt x="848" y="289"/>
                  </a:cubicBezTo>
                  <a:cubicBezTo>
                    <a:pt x="848" y="282"/>
                    <a:pt x="848" y="282"/>
                    <a:pt x="848" y="282"/>
                  </a:cubicBezTo>
                  <a:cubicBezTo>
                    <a:pt x="814" y="282"/>
                    <a:pt x="814" y="282"/>
                    <a:pt x="814" y="282"/>
                  </a:cubicBezTo>
                  <a:cubicBezTo>
                    <a:pt x="814" y="260"/>
                    <a:pt x="814" y="260"/>
                    <a:pt x="814" y="260"/>
                  </a:cubicBezTo>
                  <a:cubicBezTo>
                    <a:pt x="847" y="260"/>
                    <a:pt x="847" y="260"/>
                    <a:pt x="847" y="260"/>
                  </a:cubicBezTo>
                  <a:cubicBezTo>
                    <a:pt x="847" y="253"/>
                    <a:pt x="847" y="253"/>
                    <a:pt x="847" y="253"/>
                  </a:cubicBezTo>
                  <a:cubicBezTo>
                    <a:pt x="814" y="253"/>
                    <a:pt x="814" y="253"/>
                    <a:pt x="814" y="253"/>
                  </a:cubicBezTo>
                  <a:cubicBezTo>
                    <a:pt x="814" y="232"/>
                    <a:pt x="814" y="232"/>
                    <a:pt x="814" y="232"/>
                  </a:cubicBezTo>
                  <a:cubicBezTo>
                    <a:pt x="848" y="232"/>
                    <a:pt x="848" y="232"/>
                    <a:pt x="848" y="232"/>
                  </a:cubicBezTo>
                  <a:cubicBezTo>
                    <a:pt x="848" y="225"/>
                    <a:pt x="848" y="225"/>
                    <a:pt x="848" y="225"/>
                  </a:cubicBezTo>
                  <a:cubicBezTo>
                    <a:pt x="806" y="225"/>
                    <a:pt x="806" y="225"/>
                    <a:pt x="806" y="225"/>
                  </a:cubicBezTo>
                  <a:lnTo>
                    <a:pt x="806" y="289"/>
                  </a:lnTo>
                  <a:close/>
                  <a:moveTo>
                    <a:pt x="880" y="225"/>
                  </a:moveTo>
                  <a:cubicBezTo>
                    <a:pt x="858" y="225"/>
                    <a:pt x="858" y="225"/>
                    <a:pt x="858" y="225"/>
                  </a:cubicBezTo>
                  <a:cubicBezTo>
                    <a:pt x="858" y="289"/>
                    <a:pt x="858" y="289"/>
                    <a:pt x="858" y="289"/>
                  </a:cubicBezTo>
                  <a:cubicBezTo>
                    <a:pt x="880" y="289"/>
                    <a:pt x="880" y="289"/>
                    <a:pt x="880" y="289"/>
                  </a:cubicBezTo>
                  <a:cubicBezTo>
                    <a:pt x="900" y="289"/>
                    <a:pt x="913" y="275"/>
                    <a:pt x="913" y="257"/>
                  </a:cubicBezTo>
                  <a:cubicBezTo>
                    <a:pt x="913" y="239"/>
                    <a:pt x="900" y="225"/>
                    <a:pt x="880" y="225"/>
                  </a:cubicBezTo>
                  <a:close/>
                  <a:moveTo>
                    <a:pt x="880" y="282"/>
                  </a:moveTo>
                  <a:cubicBezTo>
                    <a:pt x="866" y="282"/>
                    <a:pt x="866" y="282"/>
                    <a:pt x="866" y="282"/>
                  </a:cubicBezTo>
                  <a:cubicBezTo>
                    <a:pt x="866" y="232"/>
                    <a:pt x="866" y="232"/>
                    <a:pt x="866" y="232"/>
                  </a:cubicBezTo>
                  <a:cubicBezTo>
                    <a:pt x="880" y="232"/>
                    <a:pt x="880" y="232"/>
                    <a:pt x="880" y="232"/>
                  </a:cubicBezTo>
                  <a:cubicBezTo>
                    <a:pt x="896" y="232"/>
                    <a:pt x="905" y="243"/>
                    <a:pt x="905" y="257"/>
                  </a:cubicBezTo>
                  <a:cubicBezTo>
                    <a:pt x="905" y="271"/>
                    <a:pt x="896" y="282"/>
                    <a:pt x="880" y="282"/>
                  </a:cubicBezTo>
                  <a:close/>
                  <a:moveTo>
                    <a:pt x="923" y="289"/>
                  </a:moveTo>
                  <a:cubicBezTo>
                    <a:pt x="931" y="289"/>
                    <a:pt x="931" y="289"/>
                    <a:pt x="931" y="289"/>
                  </a:cubicBezTo>
                  <a:cubicBezTo>
                    <a:pt x="931" y="225"/>
                    <a:pt x="931" y="225"/>
                    <a:pt x="931" y="225"/>
                  </a:cubicBezTo>
                  <a:cubicBezTo>
                    <a:pt x="923" y="225"/>
                    <a:pt x="923" y="225"/>
                    <a:pt x="923" y="225"/>
                  </a:cubicBezTo>
                  <a:lnTo>
                    <a:pt x="923" y="289"/>
                  </a:lnTo>
                  <a:close/>
                  <a:moveTo>
                    <a:pt x="974" y="283"/>
                  </a:moveTo>
                  <a:cubicBezTo>
                    <a:pt x="960" y="283"/>
                    <a:pt x="949" y="272"/>
                    <a:pt x="949" y="257"/>
                  </a:cubicBezTo>
                  <a:cubicBezTo>
                    <a:pt x="949" y="242"/>
                    <a:pt x="960" y="231"/>
                    <a:pt x="974" y="231"/>
                  </a:cubicBezTo>
                  <a:cubicBezTo>
                    <a:pt x="981" y="231"/>
                    <a:pt x="988" y="235"/>
                    <a:pt x="992" y="240"/>
                  </a:cubicBezTo>
                  <a:cubicBezTo>
                    <a:pt x="998" y="237"/>
                    <a:pt x="998" y="237"/>
                    <a:pt x="998" y="237"/>
                  </a:cubicBezTo>
                  <a:cubicBezTo>
                    <a:pt x="993" y="229"/>
                    <a:pt x="985" y="224"/>
                    <a:pt x="974" y="224"/>
                  </a:cubicBezTo>
                  <a:cubicBezTo>
                    <a:pt x="956" y="224"/>
                    <a:pt x="941" y="237"/>
                    <a:pt x="941" y="257"/>
                  </a:cubicBezTo>
                  <a:cubicBezTo>
                    <a:pt x="941" y="277"/>
                    <a:pt x="956" y="290"/>
                    <a:pt x="974" y="290"/>
                  </a:cubicBezTo>
                  <a:cubicBezTo>
                    <a:pt x="985" y="290"/>
                    <a:pt x="993" y="285"/>
                    <a:pt x="998" y="277"/>
                  </a:cubicBezTo>
                  <a:cubicBezTo>
                    <a:pt x="992" y="274"/>
                    <a:pt x="992" y="274"/>
                    <a:pt x="992" y="274"/>
                  </a:cubicBezTo>
                  <a:cubicBezTo>
                    <a:pt x="988" y="279"/>
                    <a:pt x="981" y="283"/>
                    <a:pt x="974" y="283"/>
                  </a:cubicBezTo>
                  <a:close/>
                  <a:moveTo>
                    <a:pt x="1025" y="225"/>
                  </a:moveTo>
                  <a:cubicBezTo>
                    <a:pt x="999" y="289"/>
                    <a:pt x="999" y="289"/>
                    <a:pt x="999" y="289"/>
                  </a:cubicBezTo>
                  <a:cubicBezTo>
                    <a:pt x="1008" y="289"/>
                    <a:pt x="1008" y="289"/>
                    <a:pt x="1008" y="289"/>
                  </a:cubicBezTo>
                  <a:cubicBezTo>
                    <a:pt x="1014" y="275"/>
                    <a:pt x="1014" y="275"/>
                    <a:pt x="1014" y="275"/>
                  </a:cubicBezTo>
                  <a:cubicBezTo>
                    <a:pt x="1046" y="275"/>
                    <a:pt x="1046" y="275"/>
                    <a:pt x="1046" y="275"/>
                  </a:cubicBezTo>
                  <a:cubicBezTo>
                    <a:pt x="1052" y="289"/>
                    <a:pt x="1052" y="289"/>
                    <a:pt x="1052" y="289"/>
                  </a:cubicBezTo>
                  <a:cubicBezTo>
                    <a:pt x="1061" y="289"/>
                    <a:pt x="1061" y="289"/>
                    <a:pt x="1061" y="289"/>
                  </a:cubicBezTo>
                  <a:cubicBezTo>
                    <a:pt x="1035" y="225"/>
                    <a:pt x="1035" y="225"/>
                    <a:pt x="1035" y="225"/>
                  </a:cubicBezTo>
                  <a:lnTo>
                    <a:pt x="1025" y="225"/>
                  </a:lnTo>
                  <a:close/>
                  <a:moveTo>
                    <a:pt x="1017" y="268"/>
                  </a:moveTo>
                  <a:cubicBezTo>
                    <a:pt x="1030" y="233"/>
                    <a:pt x="1030" y="233"/>
                    <a:pt x="1030" y="233"/>
                  </a:cubicBezTo>
                  <a:cubicBezTo>
                    <a:pt x="1044" y="268"/>
                    <a:pt x="1044" y="268"/>
                    <a:pt x="1044" y="268"/>
                  </a:cubicBezTo>
                  <a:lnTo>
                    <a:pt x="1017" y="268"/>
                  </a:lnTo>
                  <a:close/>
                  <a:moveTo>
                    <a:pt x="1074" y="225"/>
                  </a:moveTo>
                  <a:cubicBezTo>
                    <a:pt x="1066" y="225"/>
                    <a:pt x="1066" y="225"/>
                    <a:pt x="1066" y="225"/>
                  </a:cubicBezTo>
                  <a:cubicBezTo>
                    <a:pt x="1066" y="289"/>
                    <a:pt x="1066" y="289"/>
                    <a:pt x="1066" y="289"/>
                  </a:cubicBezTo>
                  <a:cubicBezTo>
                    <a:pt x="1103" y="289"/>
                    <a:pt x="1103" y="289"/>
                    <a:pt x="1103" y="289"/>
                  </a:cubicBezTo>
                  <a:cubicBezTo>
                    <a:pt x="1103" y="282"/>
                    <a:pt x="1103" y="282"/>
                    <a:pt x="1103" y="282"/>
                  </a:cubicBezTo>
                  <a:cubicBezTo>
                    <a:pt x="1074" y="282"/>
                    <a:pt x="1074" y="282"/>
                    <a:pt x="1074" y="282"/>
                  </a:cubicBezTo>
                  <a:lnTo>
                    <a:pt x="1074" y="225"/>
                  </a:lnTo>
                  <a:close/>
                  <a:moveTo>
                    <a:pt x="1157" y="283"/>
                  </a:moveTo>
                  <a:cubicBezTo>
                    <a:pt x="1143" y="283"/>
                    <a:pt x="1133" y="272"/>
                    <a:pt x="1133" y="257"/>
                  </a:cubicBezTo>
                  <a:cubicBezTo>
                    <a:pt x="1133" y="242"/>
                    <a:pt x="1143" y="231"/>
                    <a:pt x="1157" y="231"/>
                  </a:cubicBezTo>
                  <a:cubicBezTo>
                    <a:pt x="1165" y="231"/>
                    <a:pt x="1171" y="235"/>
                    <a:pt x="1175" y="240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76" y="229"/>
                    <a:pt x="1169" y="224"/>
                    <a:pt x="1157" y="224"/>
                  </a:cubicBezTo>
                  <a:cubicBezTo>
                    <a:pt x="1139" y="224"/>
                    <a:pt x="1124" y="237"/>
                    <a:pt x="1124" y="257"/>
                  </a:cubicBezTo>
                  <a:cubicBezTo>
                    <a:pt x="1124" y="277"/>
                    <a:pt x="1139" y="290"/>
                    <a:pt x="1157" y="290"/>
                  </a:cubicBezTo>
                  <a:cubicBezTo>
                    <a:pt x="1169" y="290"/>
                    <a:pt x="1176" y="285"/>
                    <a:pt x="1182" y="277"/>
                  </a:cubicBezTo>
                  <a:cubicBezTo>
                    <a:pt x="1175" y="274"/>
                    <a:pt x="1175" y="274"/>
                    <a:pt x="1175" y="274"/>
                  </a:cubicBezTo>
                  <a:cubicBezTo>
                    <a:pt x="1171" y="279"/>
                    <a:pt x="1165" y="283"/>
                    <a:pt x="1157" y="283"/>
                  </a:cubicBezTo>
                  <a:close/>
                  <a:moveTo>
                    <a:pt x="1189" y="289"/>
                  </a:moveTo>
                  <a:cubicBezTo>
                    <a:pt x="1231" y="289"/>
                    <a:pt x="1231" y="289"/>
                    <a:pt x="1231" y="289"/>
                  </a:cubicBezTo>
                  <a:cubicBezTo>
                    <a:pt x="1231" y="282"/>
                    <a:pt x="1231" y="282"/>
                    <a:pt x="1231" y="282"/>
                  </a:cubicBezTo>
                  <a:cubicBezTo>
                    <a:pt x="1197" y="282"/>
                    <a:pt x="1197" y="282"/>
                    <a:pt x="1197" y="282"/>
                  </a:cubicBezTo>
                  <a:cubicBezTo>
                    <a:pt x="1197" y="260"/>
                    <a:pt x="1197" y="260"/>
                    <a:pt x="1197" y="260"/>
                  </a:cubicBezTo>
                  <a:cubicBezTo>
                    <a:pt x="1231" y="260"/>
                    <a:pt x="1231" y="260"/>
                    <a:pt x="1231" y="260"/>
                  </a:cubicBezTo>
                  <a:cubicBezTo>
                    <a:pt x="1231" y="253"/>
                    <a:pt x="1231" y="253"/>
                    <a:pt x="1231" y="253"/>
                  </a:cubicBezTo>
                  <a:cubicBezTo>
                    <a:pt x="1197" y="253"/>
                    <a:pt x="1197" y="253"/>
                    <a:pt x="1197" y="253"/>
                  </a:cubicBezTo>
                  <a:cubicBezTo>
                    <a:pt x="1197" y="232"/>
                    <a:pt x="1197" y="232"/>
                    <a:pt x="1197" y="232"/>
                  </a:cubicBezTo>
                  <a:cubicBezTo>
                    <a:pt x="1231" y="232"/>
                    <a:pt x="1231" y="232"/>
                    <a:pt x="1231" y="232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189" y="225"/>
                    <a:pt x="1189" y="225"/>
                    <a:pt x="1189" y="225"/>
                  </a:cubicBezTo>
                  <a:lnTo>
                    <a:pt x="1189" y="289"/>
                  </a:lnTo>
                  <a:close/>
                  <a:moveTo>
                    <a:pt x="1287" y="275"/>
                  </a:moveTo>
                  <a:cubicBezTo>
                    <a:pt x="1250" y="225"/>
                    <a:pt x="1250" y="225"/>
                    <a:pt x="1250" y="225"/>
                  </a:cubicBezTo>
                  <a:cubicBezTo>
                    <a:pt x="1242" y="225"/>
                    <a:pt x="1242" y="225"/>
                    <a:pt x="1242" y="225"/>
                  </a:cubicBezTo>
                  <a:cubicBezTo>
                    <a:pt x="1242" y="289"/>
                    <a:pt x="1242" y="289"/>
                    <a:pt x="1242" y="289"/>
                  </a:cubicBezTo>
                  <a:cubicBezTo>
                    <a:pt x="1250" y="289"/>
                    <a:pt x="1250" y="289"/>
                    <a:pt x="1250" y="289"/>
                  </a:cubicBezTo>
                  <a:cubicBezTo>
                    <a:pt x="1250" y="238"/>
                    <a:pt x="1250" y="238"/>
                    <a:pt x="1250" y="238"/>
                  </a:cubicBezTo>
                  <a:cubicBezTo>
                    <a:pt x="1287" y="289"/>
                    <a:pt x="1287" y="289"/>
                    <a:pt x="1287" y="289"/>
                  </a:cubicBezTo>
                  <a:cubicBezTo>
                    <a:pt x="1295" y="289"/>
                    <a:pt x="1295" y="289"/>
                    <a:pt x="1295" y="289"/>
                  </a:cubicBezTo>
                  <a:cubicBezTo>
                    <a:pt x="1295" y="225"/>
                    <a:pt x="1295" y="225"/>
                    <a:pt x="1295" y="225"/>
                  </a:cubicBezTo>
                  <a:cubicBezTo>
                    <a:pt x="1287" y="225"/>
                    <a:pt x="1287" y="225"/>
                    <a:pt x="1287" y="225"/>
                  </a:cubicBezTo>
                  <a:lnTo>
                    <a:pt x="1287" y="275"/>
                  </a:lnTo>
                  <a:close/>
                  <a:moveTo>
                    <a:pt x="1303" y="232"/>
                  </a:moveTo>
                  <a:cubicBezTo>
                    <a:pt x="1323" y="232"/>
                    <a:pt x="1323" y="232"/>
                    <a:pt x="1323" y="232"/>
                  </a:cubicBezTo>
                  <a:cubicBezTo>
                    <a:pt x="1323" y="289"/>
                    <a:pt x="1323" y="289"/>
                    <a:pt x="1323" y="289"/>
                  </a:cubicBezTo>
                  <a:cubicBezTo>
                    <a:pt x="1331" y="289"/>
                    <a:pt x="1331" y="289"/>
                    <a:pt x="1331" y="289"/>
                  </a:cubicBezTo>
                  <a:cubicBezTo>
                    <a:pt x="1331" y="232"/>
                    <a:pt x="1331" y="232"/>
                    <a:pt x="1331" y="232"/>
                  </a:cubicBezTo>
                  <a:cubicBezTo>
                    <a:pt x="1351" y="232"/>
                    <a:pt x="1351" y="232"/>
                    <a:pt x="1351" y="232"/>
                  </a:cubicBezTo>
                  <a:cubicBezTo>
                    <a:pt x="1351" y="225"/>
                    <a:pt x="1351" y="225"/>
                    <a:pt x="1351" y="225"/>
                  </a:cubicBezTo>
                  <a:cubicBezTo>
                    <a:pt x="1303" y="225"/>
                    <a:pt x="1303" y="225"/>
                    <a:pt x="1303" y="225"/>
                  </a:cubicBezTo>
                  <a:lnTo>
                    <a:pt x="1303" y="232"/>
                  </a:lnTo>
                  <a:close/>
                  <a:moveTo>
                    <a:pt x="1360" y="289"/>
                  </a:moveTo>
                  <a:cubicBezTo>
                    <a:pt x="1401" y="289"/>
                    <a:pt x="1401" y="289"/>
                    <a:pt x="1401" y="289"/>
                  </a:cubicBezTo>
                  <a:cubicBezTo>
                    <a:pt x="1401" y="282"/>
                    <a:pt x="1401" y="282"/>
                    <a:pt x="1401" y="282"/>
                  </a:cubicBezTo>
                  <a:cubicBezTo>
                    <a:pt x="1367" y="282"/>
                    <a:pt x="1367" y="282"/>
                    <a:pt x="1367" y="282"/>
                  </a:cubicBezTo>
                  <a:cubicBezTo>
                    <a:pt x="1367" y="260"/>
                    <a:pt x="1367" y="260"/>
                    <a:pt x="1367" y="260"/>
                  </a:cubicBezTo>
                  <a:cubicBezTo>
                    <a:pt x="1401" y="260"/>
                    <a:pt x="1401" y="260"/>
                    <a:pt x="1401" y="260"/>
                  </a:cubicBezTo>
                  <a:cubicBezTo>
                    <a:pt x="1401" y="253"/>
                    <a:pt x="1401" y="253"/>
                    <a:pt x="1401" y="253"/>
                  </a:cubicBezTo>
                  <a:cubicBezTo>
                    <a:pt x="1367" y="253"/>
                    <a:pt x="1367" y="253"/>
                    <a:pt x="1367" y="253"/>
                  </a:cubicBezTo>
                  <a:cubicBezTo>
                    <a:pt x="1367" y="232"/>
                    <a:pt x="1367" y="232"/>
                    <a:pt x="1367" y="232"/>
                  </a:cubicBezTo>
                  <a:cubicBezTo>
                    <a:pt x="1401" y="232"/>
                    <a:pt x="1401" y="232"/>
                    <a:pt x="1401" y="232"/>
                  </a:cubicBezTo>
                  <a:cubicBezTo>
                    <a:pt x="1401" y="225"/>
                    <a:pt x="1401" y="225"/>
                    <a:pt x="1401" y="225"/>
                  </a:cubicBezTo>
                  <a:cubicBezTo>
                    <a:pt x="1360" y="225"/>
                    <a:pt x="1360" y="225"/>
                    <a:pt x="1360" y="225"/>
                  </a:cubicBezTo>
                  <a:lnTo>
                    <a:pt x="1360" y="289"/>
                  </a:lnTo>
                  <a:close/>
                  <a:moveTo>
                    <a:pt x="1458" y="244"/>
                  </a:moveTo>
                  <a:cubicBezTo>
                    <a:pt x="1458" y="233"/>
                    <a:pt x="1449" y="225"/>
                    <a:pt x="1437" y="225"/>
                  </a:cubicBezTo>
                  <a:cubicBezTo>
                    <a:pt x="1412" y="225"/>
                    <a:pt x="1412" y="225"/>
                    <a:pt x="1412" y="225"/>
                  </a:cubicBezTo>
                  <a:cubicBezTo>
                    <a:pt x="1412" y="289"/>
                    <a:pt x="1412" y="289"/>
                    <a:pt x="1412" y="289"/>
                  </a:cubicBezTo>
                  <a:cubicBezTo>
                    <a:pt x="1420" y="289"/>
                    <a:pt x="1420" y="289"/>
                    <a:pt x="1420" y="289"/>
                  </a:cubicBezTo>
                  <a:cubicBezTo>
                    <a:pt x="1420" y="264"/>
                    <a:pt x="1420" y="264"/>
                    <a:pt x="1420" y="264"/>
                  </a:cubicBezTo>
                  <a:cubicBezTo>
                    <a:pt x="1433" y="264"/>
                    <a:pt x="1433" y="264"/>
                    <a:pt x="1433" y="264"/>
                  </a:cubicBezTo>
                  <a:cubicBezTo>
                    <a:pt x="1449" y="289"/>
                    <a:pt x="1449" y="289"/>
                    <a:pt x="1449" y="289"/>
                  </a:cubicBezTo>
                  <a:cubicBezTo>
                    <a:pt x="1458" y="289"/>
                    <a:pt x="1458" y="289"/>
                    <a:pt x="1458" y="289"/>
                  </a:cubicBezTo>
                  <a:cubicBezTo>
                    <a:pt x="1441" y="263"/>
                    <a:pt x="1441" y="263"/>
                    <a:pt x="1441" y="263"/>
                  </a:cubicBezTo>
                  <a:cubicBezTo>
                    <a:pt x="1450" y="262"/>
                    <a:pt x="1458" y="256"/>
                    <a:pt x="1458" y="244"/>
                  </a:cubicBezTo>
                  <a:close/>
                  <a:moveTo>
                    <a:pt x="1420" y="257"/>
                  </a:moveTo>
                  <a:cubicBezTo>
                    <a:pt x="1420" y="232"/>
                    <a:pt x="1420" y="232"/>
                    <a:pt x="1420" y="232"/>
                  </a:cubicBezTo>
                  <a:cubicBezTo>
                    <a:pt x="1437" y="232"/>
                    <a:pt x="1437" y="232"/>
                    <a:pt x="1437" y="232"/>
                  </a:cubicBezTo>
                  <a:cubicBezTo>
                    <a:pt x="1444" y="232"/>
                    <a:pt x="1449" y="237"/>
                    <a:pt x="1449" y="244"/>
                  </a:cubicBezTo>
                  <a:cubicBezTo>
                    <a:pt x="1449" y="252"/>
                    <a:pt x="1444" y="257"/>
                    <a:pt x="1437" y="257"/>
                  </a:cubicBezTo>
                  <a:lnTo>
                    <a:pt x="1420" y="257"/>
                  </a:lnTo>
                  <a:close/>
                  <a:moveTo>
                    <a:pt x="59" y="0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58" y="312"/>
                    <a:pt x="58" y="312"/>
                    <a:pt x="58" y="312"/>
                  </a:cubicBezTo>
                  <a:cubicBezTo>
                    <a:pt x="180" y="312"/>
                    <a:pt x="180" y="312"/>
                    <a:pt x="180" y="312"/>
                  </a:cubicBezTo>
                  <a:cubicBezTo>
                    <a:pt x="239" y="253"/>
                    <a:pt x="239" y="253"/>
                    <a:pt x="239" y="25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180" y="0"/>
                    <a:pt x="180" y="0"/>
                    <a:pt x="180" y="0"/>
                  </a:cubicBezTo>
                  <a:lnTo>
                    <a:pt x="59" y="0"/>
                  </a:lnTo>
                  <a:close/>
                  <a:moveTo>
                    <a:pt x="233" y="251"/>
                  </a:moveTo>
                  <a:cubicBezTo>
                    <a:pt x="178" y="307"/>
                    <a:pt x="178" y="307"/>
                    <a:pt x="178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5" y="251"/>
                    <a:pt x="5" y="251"/>
                    <a:pt x="5" y="25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233" y="60"/>
                    <a:pt x="233" y="60"/>
                    <a:pt x="233" y="60"/>
                  </a:cubicBezTo>
                  <a:lnTo>
                    <a:pt x="233" y="251"/>
                  </a:lnTo>
                  <a:close/>
                  <a:moveTo>
                    <a:pt x="89" y="75"/>
                  </a:moveTo>
                  <a:cubicBezTo>
                    <a:pt x="73" y="91"/>
                    <a:pt x="73" y="91"/>
                    <a:pt x="73" y="91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89" y="238"/>
                    <a:pt x="89" y="238"/>
                    <a:pt x="89" y="238"/>
                  </a:cubicBezTo>
                  <a:cubicBezTo>
                    <a:pt x="150" y="238"/>
                    <a:pt x="150" y="238"/>
                    <a:pt x="150" y="238"/>
                  </a:cubicBezTo>
                  <a:cubicBezTo>
                    <a:pt x="165" y="222"/>
                    <a:pt x="165" y="222"/>
                    <a:pt x="165" y="222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49" y="75"/>
                    <a:pt x="149" y="75"/>
                    <a:pt x="149" y="75"/>
                  </a:cubicBezTo>
                  <a:lnTo>
                    <a:pt x="89" y="75"/>
                  </a:lnTo>
                  <a:close/>
                  <a:moveTo>
                    <a:pt x="160" y="220"/>
                  </a:moveTo>
                  <a:cubicBezTo>
                    <a:pt x="147" y="233"/>
                    <a:pt x="147" y="233"/>
                    <a:pt x="147" y="233"/>
                  </a:cubicBezTo>
                  <a:cubicBezTo>
                    <a:pt x="91" y="233"/>
                    <a:pt x="91" y="233"/>
                    <a:pt x="91" y="233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9" y="93"/>
                    <a:pt x="79" y="93"/>
                    <a:pt x="79" y="93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60" y="93"/>
                    <a:pt x="160" y="93"/>
                    <a:pt x="160" y="93"/>
                  </a:cubicBezTo>
                  <a:lnTo>
                    <a:pt x="160" y="220"/>
                  </a:lnTo>
                  <a:close/>
                  <a:moveTo>
                    <a:pt x="318" y="169"/>
                  </a:moveTo>
                  <a:cubicBezTo>
                    <a:pt x="318" y="174"/>
                    <a:pt x="318" y="174"/>
                    <a:pt x="318" y="174"/>
                  </a:cubicBezTo>
                  <a:cubicBezTo>
                    <a:pt x="2178" y="174"/>
                    <a:pt x="2178" y="174"/>
                    <a:pt x="2178" y="174"/>
                  </a:cubicBezTo>
                  <a:cubicBezTo>
                    <a:pt x="2178" y="169"/>
                    <a:pt x="2178" y="169"/>
                    <a:pt x="2178" y="169"/>
                  </a:cubicBezTo>
                  <a:lnTo>
                    <a:pt x="318" y="169"/>
                  </a:lnTo>
                  <a:close/>
                  <a:moveTo>
                    <a:pt x="1628" y="109"/>
                  </a:moveTo>
                  <a:cubicBezTo>
                    <a:pt x="1616" y="107"/>
                    <a:pt x="1616" y="107"/>
                    <a:pt x="1616" y="107"/>
                  </a:cubicBezTo>
                  <a:cubicBezTo>
                    <a:pt x="1616" y="48"/>
                    <a:pt x="1616" y="48"/>
                    <a:pt x="1616" y="48"/>
                  </a:cubicBezTo>
                  <a:cubicBezTo>
                    <a:pt x="1628" y="46"/>
                    <a:pt x="1628" y="46"/>
                    <a:pt x="1628" y="46"/>
                  </a:cubicBezTo>
                  <a:cubicBezTo>
                    <a:pt x="1628" y="39"/>
                    <a:pt x="1628" y="39"/>
                    <a:pt x="1628" y="39"/>
                  </a:cubicBezTo>
                  <a:cubicBezTo>
                    <a:pt x="1587" y="39"/>
                    <a:pt x="1587" y="39"/>
                    <a:pt x="1587" y="39"/>
                  </a:cubicBezTo>
                  <a:cubicBezTo>
                    <a:pt x="1587" y="46"/>
                    <a:pt x="1587" y="46"/>
                    <a:pt x="1587" y="46"/>
                  </a:cubicBezTo>
                  <a:cubicBezTo>
                    <a:pt x="1599" y="48"/>
                    <a:pt x="1599" y="48"/>
                    <a:pt x="1599" y="48"/>
                  </a:cubicBezTo>
                  <a:cubicBezTo>
                    <a:pt x="1599" y="107"/>
                    <a:pt x="1599" y="107"/>
                    <a:pt x="1599" y="107"/>
                  </a:cubicBezTo>
                  <a:cubicBezTo>
                    <a:pt x="1587" y="109"/>
                    <a:pt x="1587" y="109"/>
                    <a:pt x="1587" y="109"/>
                  </a:cubicBezTo>
                  <a:cubicBezTo>
                    <a:pt x="1587" y="116"/>
                    <a:pt x="1587" y="116"/>
                    <a:pt x="1587" y="116"/>
                  </a:cubicBezTo>
                  <a:cubicBezTo>
                    <a:pt x="1628" y="116"/>
                    <a:pt x="1628" y="116"/>
                    <a:pt x="1628" y="116"/>
                  </a:cubicBezTo>
                  <a:lnTo>
                    <a:pt x="1628" y="109"/>
                  </a:lnTo>
                  <a:close/>
                  <a:moveTo>
                    <a:pt x="1526" y="109"/>
                  </a:moveTo>
                  <a:cubicBezTo>
                    <a:pt x="1515" y="107"/>
                    <a:pt x="1515" y="107"/>
                    <a:pt x="1515" y="107"/>
                  </a:cubicBezTo>
                  <a:cubicBezTo>
                    <a:pt x="1515" y="61"/>
                    <a:pt x="1515" y="61"/>
                    <a:pt x="1515" y="61"/>
                  </a:cubicBezTo>
                  <a:cubicBezTo>
                    <a:pt x="1553" y="116"/>
                    <a:pt x="1553" y="116"/>
                    <a:pt x="1553" y="116"/>
                  </a:cubicBezTo>
                  <a:cubicBezTo>
                    <a:pt x="1567" y="116"/>
                    <a:pt x="1567" y="116"/>
                    <a:pt x="1567" y="116"/>
                  </a:cubicBezTo>
                  <a:cubicBezTo>
                    <a:pt x="1567" y="48"/>
                    <a:pt x="1567" y="48"/>
                    <a:pt x="1567" y="48"/>
                  </a:cubicBezTo>
                  <a:cubicBezTo>
                    <a:pt x="1578" y="46"/>
                    <a:pt x="1578" y="46"/>
                    <a:pt x="1578" y="46"/>
                  </a:cubicBezTo>
                  <a:cubicBezTo>
                    <a:pt x="1578" y="39"/>
                    <a:pt x="1578" y="39"/>
                    <a:pt x="1578" y="39"/>
                  </a:cubicBezTo>
                  <a:cubicBezTo>
                    <a:pt x="1544" y="39"/>
                    <a:pt x="1544" y="39"/>
                    <a:pt x="1544" y="39"/>
                  </a:cubicBezTo>
                  <a:cubicBezTo>
                    <a:pt x="1544" y="46"/>
                    <a:pt x="1544" y="46"/>
                    <a:pt x="1544" y="46"/>
                  </a:cubicBezTo>
                  <a:cubicBezTo>
                    <a:pt x="1556" y="48"/>
                    <a:pt x="1556" y="48"/>
                    <a:pt x="1556" y="48"/>
                  </a:cubicBezTo>
                  <a:cubicBezTo>
                    <a:pt x="1556" y="91"/>
                    <a:pt x="1556" y="91"/>
                    <a:pt x="1556" y="91"/>
                  </a:cubicBezTo>
                  <a:cubicBezTo>
                    <a:pt x="1518" y="39"/>
                    <a:pt x="1518" y="39"/>
                    <a:pt x="1518" y="39"/>
                  </a:cubicBezTo>
                  <a:cubicBezTo>
                    <a:pt x="1492" y="39"/>
                    <a:pt x="1492" y="39"/>
                    <a:pt x="1492" y="39"/>
                  </a:cubicBezTo>
                  <a:cubicBezTo>
                    <a:pt x="1492" y="46"/>
                    <a:pt x="1492" y="46"/>
                    <a:pt x="1492" y="46"/>
                  </a:cubicBezTo>
                  <a:cubicBezTo>
                    <a:pt x="1503" y="48"/>
                    <a:pt x="1503" y="48"/>
                    <a:pt x="1503" y="48"/>
                  </a:cubicBezTo>
                  <a:cubicBezTo>
                    <a:pt x="1503" y="107"/>
                    <a:pt x="1503" y="107"/>
                    <a:pt x="1503" y="107"/>
                  </a:cubicBezTo>
                  <a:cubicBezTo>
                    <a:pt x="1492" y="109"/>
                    <a:pt x="1492" y="109"/>
                    <a:pt x="1492" y="109"/>
                  </a:cubicBezTo>
                  <a:cubicBezTo>
                    <a:pt x="1492" y="116"/>
                    <a:pt x="1492" y="116"/>
                    <a:pt x="1492" y="116"/>
                  </a:cubicBezTo>
                  <a:cubicBezTo>
                    <a:pt x="1526" y="116"/>
                    <a:pt x="1526" y="116"/>
                    <a:pt x="1526" y="116"/>
                  </a:cubicBezTo>
                  <a:lnTo>
                    <a:pt x="1526" y="109"/>
                  </a:lnTo>
                  <a:close/>
                  <a:moveTo>
                    <a:pt x="1400" y="76"/>
                  </a:moveTo>
                  <a:cubicBezTo>
                    <a:pt x="1400" y="86"/>
                    <a:pt x="1399" y="99"/>
                    <a:pt x="1407" y="107"/>
                  </a:cubicBezTo>
                  <a:cubicBezTo>
                    <a:pt x="1414" y="114"/>
                    <a:pt x="1424" y="117"/>
                    <a:pt x="1438" y="117"/>
                  </a:cubicBezTo>
                  <a:cubicBezTo>
                    <a:pt x="1451" y="117"/>
                    <a:pt x="1461" y="115"/>
                    <a:pt x="1466" y="109"/>
                  </a:cubicBezTo>
                  <a:cubicBezTo>
                    <a:pt x="1474" y="101"/>
                    <a:pt x="1475" y="94"/>
                    <a:pt x="1475" y="77"/>
                  </a:cubicBezTo>
                  <a:cubicBezTo>
                    <a:pt x="1475" y="27"/>
                    <a:pt x="1475" y="27"/>
                    <a:pt x="1475" y="27"/>
                  </a:cubicBezTo>
                  <a:cubicBezTo>
                    <a:pt x="1487" y="26"/>
                    <a:pt x="1487" y="26"/>
                    <a:pt x="1487" y="26"/>
                  </a:cubicBezTo>
                  <a:cubicBezTo>
                    <a:pt x="1487" y="18"/>
                    <a:pt x="1487" y="18"/>
                    <a:pt x="1487" y="18"/>
                  </a:cubicBezTo>
                  <a:cubicBezTo>
                    <a:pt x="1452" y="18"/>
                    <a:pt x="1452" y="18"/>
                    <a:pt x="1452" y="18"/>
                  </a:cubicBezTo>
                  <a:cubicBezTo>
                    <a:pt x="1452" y="26"/>
                    <a:pt x="1452" y="26"/>
                    <a:pt x="1452" y="26"/>
                  </a:cubicBezTo>
                  <a:cubicBezTo>
                    <a:pt x="1463" y="27"/>
                    <a:pt x="1463" y="27"/>
                    <a:pt x="1463" y="27"/>
                  </a:cubicBezTo>
                  <a:cubicBezTo>
                    <a:pt x="1463" y="84"/>
                    <a:pt x="1463" y="84"/>
                    <a:pt x="1463" y="84"/>
                  </a:cubicBezTo>
                  <a:cubicBezTo>
                    <a:pt x="1463" y="92"/>
                    <a:pt x="1461" y="97"/>
                    <a:pt x="1458" y="101"/>
                  </a:cubicBezTo>
                  <a:cubicBezTo>
                    <a:pt x="1454" y="105"/>
                    <a:pt x="1448" y="107"/>
                    <a:pt x="1441" y="107"/>
                  </a:cubicBezTo>
                  <a:cubicBezTo>
                    <a:pt x="1427" y="107"/>
                    <a:pt x="1418" y="100"/>
                    <a:pt x="1418" y="84"/>
                  </a:cubicBezTo>
                  <a:cubicBezTo>
                    <a:pt x="1418" y="27"/>
                    <a:pt x="1418" y="27"/>
                    <a:pt x="1418" y="27"/>
                  </a:cubicBezTo>
                  <a:cubicBezTo>
                    <a:pt x="1430" y="26"/>
                    <a:pt x="1430" y="26"/>
                    <a:pt x="1430" y="26"/>
                  </a:cubicBezTo>
                  <a:cubicBezTo>
                    <a:pt x="1430" y="18"/>
                    <a:pt x="1430" y="18"/>
                    <a:pt x="1430" y="18"/>
                  </a:cubicBezTo>
                  <a:cubicBezTo>
                    <a:pt x="1388" y="18"/>
                    <a:pt x="1388" y="18"/>
                    <a:pt x="1388" y="18"/>
                  </a:cubicBezTo>
                  <a:cubicBezTo>
                    <a:pt x="1388" y="26"/>
                    <a:pt x="1388" y="26"/>
                    <a:pt x="1388" y="26"/>
                  </a:cubicBezTo>
                  <a:cubicBezTo>
                    <a:pt x="1400" y="27"/>
                    <a:pt x="1400" y="27"/>
                    <a:pt x="1400" y="27"/>
                  </a:cubicBezTo>
                  <a:lnTo>
                    <a:pt x="1400" y="76"/>
                  </a:lnTo>
                  <a:close/>
                  <a:moveTo>
                    <a:pt x="1671" y="116"/>
                  </a:moveTo>
                  <a:cubicBezTo>
                    <a:pt x="1687" y="116"/>
                    <a:pt x="1687" y="116"/>
                    <a:pt x="1687" y="116"/>
                  </a:cubicBezTo>
                  <a:cubicBezTo>
                    <a:pt x="1713" y="48"/>
                    <a:pt x="1713" y="48"/>
                    <a:pt x="1713" y="48"/>
                  </a:cubicBezTo>
                  <a:cubicBezTo>
                    <a:pt x="1724" y="46"/>
                    <a:pt x="1724" y="46"/>
                    <a:pt x="1724" y="46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690" y="39"/>
                    <a:pt x="1690" y="39"/>
                    <a:pt x="1690" y="39"/>
                  </a:cubicBezTo>
                  <a:cubicBezTo>
                    <a:pt x="1690" y="46"/>
                    <a:pt x="1690" y="46"/>
                    <a:pt x="1690" y="46"/>
                  </a:cubicBezTo>
                  <a:cubicBezTo>
                    <a:pt x="1701" y="48"/>
                    <a:pt x="1701" y="48"/>
                    <a:pt x="1701" y="48"/>
                  </a:cubicBezTo>
                  <a:cubicBezTo>
                    <a:pt x="1682" y="100"/>
                    <a:pt x="1682" y="100"/>
                    <a:pt x="1682" y="100"/>
                  </a:cubicBezTo>
                  <a:cubicBezTo>
                    <a:pt x="1663" y="48"/>
                    <a:pt x="1663" y="48"/>
                    <a:pt x="1663" y="48"/>
                  </a:cubicBezTo>
                  <a:cubicBezTo>
                    <a:pt x="1674" y="46"/>
                    <a:pt x="1674" y="46"/>
                    <a:pt x="1674" y="46"/>
                  </a:cubicBezTo>
                  <a:cubicBezTo>
                    <a:pt x="1674" y="39"/>
                    <a:pt x="1674" y="39"/>
                    <a:pt x="1674" y="39"/>
                  </a:cubicBezTo>
                  <a:cubicBezTo>
                    <a:pt x="1634" y="39"/>
                    <a:pt x="1634" y="39"/>
                    <a:pt x="1634" y="39"/>
                  </a:cubicBezTo>
                  <a:cubicBezTo>
                    <a:pt x="1634" y="46"/>
                    <a:pt x="1634" y="46"/>
                    <a:pt x="1634" y="46"/>
                  </a:cubicBezTo>
                  <a:cubicBezTo>
                    <a:pt x="1645" y="48"/>
                    <a:pt x="1645" y="48"/>
                    <a:pt x="1645" y="48"/>
                  </a:cubicBezTo>
                  <a:lnTo>
                    <a:pt x="1671" y="116"/>
                  </a:lnTo>
                  <a:close/>
                  <a:moveTo>
                    <a:pt x="2003" y="109"/>
                  </a:moveTo>
                  <a:cubicBezTo>
                    <a:pt x="1992" y="107"/>
                    <a:pt x="1992" y="107"/>
                    <a:pt x="1992" y="107"/>
                  </a:cubicBezTo>
                  <a:cubicBezTo>
                    <a:pt x="1992" y="48"/>
                    <a:pt x="1992" y="48"/>
                    <a:pt x="1992" y="48"/>
                  </a:cubicBezTo>
                  <a:cubicBezTo>
                    <a:pt x="2003" y="46"/>
                    <a:pt x="2003" y="46"/>
                    <a:pt x="2003" y="46"/>
                  </a:cubicBezTo>
                  <a:cubicBezTo>
                    <a:pt x="2003" y="39"/>
                    <a:pt x="2003" y="39"/>
                    <a:pt x="2003" y="39"/>
                  </a:cubicBezTo>
                  <a:cubicBezTo>
                    <a:pt x="1963" y="39"/>
                    <a:pt x="1963" y="39"/>
                    <a:pt x="1963" y="39"/>
                  </a:cubicBezTo>
                  <a:cubicBezTo>
                    <a:pt x="1963" y="46"/>
                    <a:pt x="1963" y="46"/>
                    <a:pt x="1963" y="46"/>
                  </a:cubicBezTo>
                  <a:cubicBezTo>
                    <a:pt x="1974" y="48"/>
                    <a:pt x="1974" y="48"/>
                    <a:pt x="1974" y="48"/>
                  </a:cubicBezTo>
                  <a:cubicBezTo>
                    <a:pt x="1974" y="107"/>
                    <a:pt x="1974" y="107"/>
                    <a:pt x="1974" y="107"/>
                  </a:cubicBezTo>
                  <a:cubicBezTo>
                    <a:pt x="1963" y="109"/>
                    <a:pt x="1963" y="109"/>
                    <a:pt x="1963" y="109"/>
                  </a:cubicBezTo>
                  <a:cubicBezTo>
                    <a:pt x="1963" y="116"/>
                    <a:pt x="1963" y="116"/>
                    <a:pt x="1963" y="116"/>
                  </a:cubicBezTo>
                  <a:cubicBezTo>
                    <a:pt x="2003" y="116"/>
                    <a:pt x="2003" y="116"/>
                    <a:pt x="2003" y="116"/>
                  </a:cubicBezTo>
                  <a:lnTo>
                    <a:pt x="2003" y="109"/>
                  </a:lnTo>
                  <a:close/>
                  <a:moveTo>
                    <a:pt x="2021" y="49"/>
                  </a:moveTo>
                  <a:cubicBezTo>
                    <a:pt x="2037" y="49"/>
                    <a:pt x="2037" y="49"/>
                    <a:pt x="2037" y="49"/>
                  </a:cubicBezTo>
                  <a:cubicBezTo>
                    <a:pt x="2037" y="107"/>
                    <a:pt x="2037" y="107"/>
                    <a:pt x="2037" y="107"/>
                  </a:cubicBezTo>
                  <a:cubicBezTo>
                    <a:pt x="2026" y="109"/>
                    <a:pt x="2026" y="109"/>
                    <a:pt x="2026" y="109"/>
                  </a:cubicBezTo>
                  <a:cubicBezTo>
                    <a:pt x="2026" y="116"/>
                    <a:pt x="2026" y="116"/>
                    <a:pt x="2026" y="116"/>
                  </a:cubicBezTo>
                  <a:cubicBezTo>
                    <a:pt x="2066" y="116"/>
                    <a:pt x="2066" y="116"/>
                    <a:pt x="2066" y="116"/>
                  </a:cubicBezTo>
                  <a:cubicBezTo>
                    <a:pt x="2066" y="109"/>
                    <a:pt x="2066" y="109"/>
                    <a:pt x="2066" y="109"/>
                  </a:cubicBezTo>
                  <a:cubicBezTo>
                    <a:pt x="2055" y="107"/>
                    <a:pt x="2055" y="107"/>
                    <a:pt x="2055" y="107"/>
                  </a:cubicBezTo>
                  <a:cubicBezTo>
                    <a:pt x="2055" y="49"/>
                    <a:pt x="2055" y="49"/>
                    <a:pt x="2055" y="49"/>
                  </a:cubicBezTo>
                  <a:cubicBezTo>
                    <a:pt x="2072" y="49"/>
                    <a:pt x="2072" y="49"/>
                    <a:pt x="2072" y="49"/>
                  </a:cubicBezTo>
                  <a:cubicBezTo>
                    <a:pt x="2074" y="60"/>
                    <a:pt x="2074" y="60"/>
                    <a:pt x="2074" y="60"/>
                  </a:cubicBezTo>
                  <a:cubicBezTo>
                    <a:pt x="2081" y="60"/>
                    <a:pt x="2081" y="60"/>
                    <a:pt x="2081" y="60"/>
                  </a:cubicBezTo>
                  <a:cubicBezTo>
                    <a:pt x="2081" y="39"/>
                    <a:pt x="2081" y="39"/>
                    <a:pt x="2081" y="39"/>
                  </a:cubicBezTo>
                  <a:cubicBezTo>
                    <a:pt x="2011" y="39"/>
                    <a:pt x="2011" y="39"/>
                    <a:pt x="2011" y="39"/>
                  </a:cubicBezTo>
                  <a:cubicBezTo>
                    <a:pt x="2011" y="60"/>
                    <a:pt x="2011" y="60"/>
                    <a:pt x="2011" y="60"/>
                  </a:cubicBezTo>
                  <a:cubicBezTo>
                    <a:pt x="2019" y="60"/>
                    <a:pt x="2019" y="60"/>
                    <a:pt x="2019" y="60"/>
                  </a:cubicBezTo>
                  <a:lnTo>
                    <a:pt x="2021" y="49"/>
                  </a:lnTo>
                  <a:close/>
                  <a:moveTo>
                    <a:pt x="2122" y="82"/>
                  </a:moveTo>
                  <a:cubicBezTo>
                    <a:pt x="2122" y="107"/>
                    <a:pt x="2122" y="107"/>
                    <a:pt x="2122" y="107"/>
                  </a:cubicBezTo>
                  <a:cubicBezTo>
                    <a:pt x="2110" y="109"/>
                    <a:pt x="2110" y="109"/>
                    <a:pt x="2110" y="109"/>
                  </a:cubicBezTo>
                  <a:cubicBezTo>
                    <a:pt x="2110" y="116"/>
                    <a:pt x="2110" y="116"/>
                    <a:pt x="2110" y="116"/>
                  </a:cubicBezTo>
                  <a:cubicBezTo>
                    <a:pt x="2150" y="116"/>
                    <a:pt x="2150" y="116"/>
                    <a:pt x="2150" y="116"/>
                  </a:cubicBezTo>
                  <a:cubicBezTo>
                    <a:pt x="2150" y="109"/>
                    <a:pt x="2150" y="109"/>
                    <a:pt x="2150" y="109"/>
                  </a:cubicBezTo>
                  <a:cubicBezTo>
                    <a:pt x="2139" y="107"/>
                    <a:pt x="2139" y="107"/>
                    <a:pt x="2139" y="107"/>
                  </a:cubicBezTo>
                  <a:cubicBezTo>
                    <a:pt x="2139" y="82"/>
                    <a:pt x="2139" y="82"/>
                    <a:pt x="2139" y="82"/>
                  </a:cubicBezTo>
                  <a:cubicBezTo>
                    <a:pt x="2161" y="48"/>
                    <a:pt x="2161" y="48"/>
                    <a:pt x="2161" y="48"/>
                  </a:cubicBezTo>
                  <a:cubicBezTo>
                    <a:pt x="2172" y="46"/>
                    <a:pt x="2172" y="46"/>
                    <a:pt x="2172" y="46"/>
                  </a:cubicBezTo>
                  <a:cubicBezTo>
                    <a:pt x="2172" y="39"/>
                    <a:pt x="2172" y="39"/>
                    <a:pt x="2172" y="39"/>
                  </a:cubicBezTo>
                  <a:cubicBezTo>
                    <a:pt x="2138" y="39"/>
                    <a:pt x="2138" y="39"/>
                    <a:pt x="2138" y="39"/>
                  </a:cubicBezTo>
                  <a:cubicBezTo>
                    <a:pt x="2138" y="46"/>
                    <a:pt x="2138" y="46"/>
                    <a:pt x="2138" y="46"/>
                  </a:cubicBezTo>
                  <a:cubicBezTo>
                    <a:pt x="2149" y="48"/>
                    <a:pt x="2149" y="48"/>
                    <a:pt x="2149" y="48"/>
                  </a:cubicBezTo>
                  <a:cubicBezTo>
                    <a:pt x="2133" y="73"/>
                    <a:pt x="2133" y="73"/>
                    <a:pt x="2133" y="73"/>
                  </a:cubicBezTo>
                  <a:cubicBezTo>
                    <a:pt x="2118" y="48"/>
                    <a:pt x="2118" y="48"/>
                    <a:pt x="2118" y="48"/>
                  </a:cubicBezTo>
                  <a:cubicBezTo>
                    <a:pt x="2129" y="46"/>
                    <a:pt x="2129" y="46"/>
                    <a:pt x="2129" y="46"/>
                  </a:cubicBezTo>
                  <a:cubicBezTo>
                    <a:pt x="2129" y="39"/>
                    <a:pt x="2129" y="39"/>
                    <a:pt x="2129" y="39"/>
                  </a:cubicBezTo>
                  <a:cubicBezTo>
                    <a:pt x="2088" y="39"/>
                    <a:pt x="2088" y="39"/>
                    <a:pt x="2088" y="39"/>
                  </a:cubicBezTo>
                  <a:cubicBezTo>
                    <a:pt x="2088" y="46"/>
                    <a:pt x="2088" y="46"/>
                    <a:pt x="2088" y="46"/>
                  </a:cubicBezTo>
                  <a:cubicBezTo>
                    <a:pt x="2099" y="48"/>
                    <a:pt x="2099" y="48"/>
                    <a:pt x="2099" y="48"/>
                  </a:cubicBezTo>
                  <a:lnTo>
                    <a:pt x="2122" y="82"/>
                  </a:lnTo>
                  <a:close/>
                  <a:moveTo>
                    <a:pt x="1953" y="94"/>
                  </a:moveTo>
                  <a:cubicBezTo>
                    <a:pt x="1953" y="63"/>
                    <a:pt x="1913" y="75"/>
                    <a:pt x="1913" y="58"/>
                  </a:cubicBezTo>
                  <a:cubicBezTo>
                    <a:pt x="1913" y="50"/>
                    <a:pt x="1919" y="48"/>
                    <a:pt x="1926" y="48"/>
                  </a:cubicBezTo>
                  <a:cubicBezTo>
                    <a:pt x="1933" y="48"/>
                    <a:pt x="1939" y="49"/>
                    <a:pt x="1939" y="49"/>
                  </a:cubicBezTo>
                  <a:cubicBezTo>
                    <a:pt x="1941" y="61"/>
                    <a:pt x="1941" y="61"/>
                    <a:pt x="1941" y="61"/>
                  </a:cubicBezTo>
                  <a:cubicBezTo>
                    <a:pt x="1949" y="61"/>
                    <a:pt x="1949" y="61"/>
                    <a:pt x="1949" y="61"/>
                  </a:cubicBezTo>
                  <a:cubicBezTo>
                    <a:pt x="1949" y="42"/>
                    <a:pt x="1949" y="42"/>
                    <a:pt x="1949" y="42"/>
                  </a:cubicBezTo>
                  <a:cubicBezTo>
                    <a:pt x="1941" y="40"/>
                    <a:pt x="1933" y="38"/>
                    <a:pt x="1924" y="38"/>
                  </a:cubicBezTo>
                  <a:cubicBezTo>
                    <a:pt x="1905" y="38"/>
                    <a:pt x="1896" y="46"/>
                    <a:pt x="1896" y="60"/>
                  </a:cubicBezTo>
                  <a:cubicBezTo>
                    <a:pt x="1896" y="79"/>
                    <a:pt x="1914" y="81"/>
                    <a:pt x="1928" y="86"/>
                  </a:cubicBezTo>
                  <a:cubicBezTo>
                    <a:pt x="1933" y="87"/>
                    <a:pt x="1936" y="89"/>
                    <a:pt x="1936" y="95"/>
                  </a:cubicBezTo>
                  <a:cubicBezTo>
                    <a:pt x="1936" y="104"/>
                    <a:pt x="1929" y="107"/>
                    <a:pt x="1920" y="107"/>
                  </a:cubicBezTo>
                  <a:cubicBezTo>
                    <a:pt x="1911" y="107"/>
                    <a:pt x="1905" y="105"/>
                    <a:pt x="1905" y="105"/>
                  </a:cubicBezTo>
                  <a:cubicBezTo>
                    <a:pt x="1903" y="92"/>
                    <a:pt x="1903" y="92"/>
                    <a:pt x="1903" y="92"/>
                  </a:cubicBezTo>
                  <a:cubicBezTo>
                    <a:pt x="1896" y="92"/>
                    <a:pt x="1896" y="92"/>
                    <a:pt x="1896" y="92"/>
                  </a:cubicBezTo>
                  <a:cubicBezTo>
                    <a:pt x="1896" y="112"/>
                    <a:pt x="1896" y="112"/>
                    <a:pt x="1896" y="112"/>
                  </a:cubicBezTo>
                  <a:cubicBezTo>
                    <a:pt x="1896" y="112"/>
                    <a:pt x="1908" y="117"/>
                    <a:pt x="1922" y="117"/>
                  </a:cubicBezTo>
                  <a:cubicBezTo>
                    <a:pt x="1942" y="117"/>
                    <a:pt x="1953" y="109"/>
                    <a:pt x="1953" y="94"/>
                  </a:cubicBezTo>
                  <a:close/>
                  <a:moveTo>
                    <a:pt x="1847" y="109"/>
                  </a:moveTo>
                  <a:cubicBezTo>
                    <a:pt x="1836" y="107"/>
                    <a:pt x="1836" y="107"/>
                    <a:pt x="1836" y="107"/>
                  </a:cubicBezTo>
                  <a:cubicBezTo>
                    <a:pt x="1836" y="81"/>
                    <a:pt x="1836" y="81"/>
                    <a:pt x="1836" y="81"/>
                  </a:cubicBezTo>
                  <a:cubicBezTo>
                    <a:pt x="1838" y="81"/>
                    <a:pt x="1838" y="81"/>
                    <a:pt x="1838" y="81"/>
                  </a:cubicBezTo>
                  <a:cubicBezTo>
                    <a:pt x="1848" y="81"/>
                    <a:pt x="1851" y="86"/>
                    <a:pt x="1855" y="98"/>
                  </a:cubicBezTo>
                  <a:cubicBezTo>
                    <a:pt x="1863" y="116"/>
                    <a:pt x="1863" y="116"/>
                    <a:pt x="1863" y="116"/>
                  </a:cubicBezTo>
                  <a:cubicBezTo>
                    <a:pt x="1887" y="116"/>
                    <a:pt x="1887" y="116"/>
                    <a:pt x="1887" y="116"/>
                  </a:cubicBezTo>
                  <a:cubicBezTo>
                    <a:pt x="1887" y="109"/>
                    <a:pt x="1887" y="109"/>
                    <a:pt x="1887" y="109"/>
                  </a:cubicBezTo>
                  <a:cubicBezTo>
                    <a:pt x="1876" y="107"/>
                    <a:pt x="1876" y="107"/>
                    <a:pt x="1876" y="107"/>
                  </a:cubicBezTo>
                  <a:cubicBezTo>
                    <a:pt x="1873" y="99"/>
                    <a:pt x="1868" y="84"/>
                    <a:pt x="1861" y="79"/>
                  </a:cubicBezTo>
                  <a:cubicBezTo>
                    <a:pt x="1869" y="76"/>
                    <a:pt x="1875" y="68"/>
                    <a:pt x="1875" y="59"/>
                  </a:cubicBezTo>
                  <a:cubicBezTo>
                    <a:pt x="1875" y="54"/>
                    <a:pt x="1873" y="49"/>
                    <a:pt x="1869" y="45"/>
                  </a:cubicBezTo>
                  <a:cubicBezTo>
                    <a:pt x="1863" y="40"/>
                    <a:pt x="1854" y="39"/>
                    <a:pt x="1846" y="39"/>
                  </a:cubicBezTo>
                  <a:cubicBezTo>
                    <a:pt x="1807" y="39"/>
                    <a:pt x="1807" y="39"/>
                    <a:pt x="1807" y="39"/>
                  </a:cubicBezTo>
                  <a:cubicBezTo>
                    <a:pt x="1807" y="46"/>
                    <a:pt x="1807" y="46"/>
                    <a:pt x="1807" y="46"/>
                  </a:cubicBezTo>
                  <a:cubicBezTo>
                    <a:pt x="1819" y="48"/>
                    <a:pt x="1819" y="48"/>
                    <a:pt x="1819" y="48"/>
                  </a:cubicBezTo>
                  <a:cubicBezTo>
                    <a:pt x="1819" y="107"/>
                    <a:pt x="1819" y="107"/>
                    <a:pt x="1819" y="107"/>
                  </a:cubicBezTo>
                  <a:cubicBezTo>
                    <a:pt x="1807" y="109"/>
                    <a:pt x="1807" y="109"/>
                    <a:pt x="1807" y="109"/>
                  </a:cubicBezTo>
                  <a:cubicBezTo>
                    <a:pt x="1807" y="116"/>
                    <a:pt x="1807" y="116"/>
                    <a:pt x="1807" y="116"/>
                  </a:cubicBezTo>
                  <a:cubicBezTo>
                    <a:pt x="1847" y="116"/>
                    <a:pt x="1847" y="116"/>
                    <a:pt x="1847" y="116"/>
                  </a:cubicBezTo>
                  <a:lnTo>
                    <a:pt x="1847" y="109"/>
                  </a:lnTo>
                  <a:close/>
                  <a:moveTo>
                    <a:pt x="1836" y="48"/>
                  </a:moveTo>
                  <a:cubicBezTo>
                    <a:pt x="1841" y="48"/>
                    <a:pt x="1841" y="48"/>
                    <a:pt x="1841" y="48"/>
                  </a:cubicBezTo>
                  <a:cubicBezTo>
                    <a:pt x="1845" y="48"/>
                    <a:pt x="1852" y="48"/>
                    <a:pt x="1854" y="51"/>
                  </a:cubicBezTo>
                  <a:cubicBezTo>
                    <a:pt x="1857" y="53"/>
                    <a:pt x="1858" y="57"/>
                    <a:pt x="1858" y="60"/>
                  </a:cubicBezTo>
                  <a:cubicBezTo>
                    <a:pt x="1858" y="63"/>
                    <a:pt x="1857" y="66"/>
                    <a:pt x="1855" y="69"/>
                  </a:cubicBezTo>
                  <a:cubicBezTo>
                    <a:pt x="1851" y="73"/>
                    <a:pt x="1844" y="73"/>
                    <a:pt x="1839" y="73"/>
                  </a:cubicBezTo>
                  <a:cubicBezTo>
                    <a:pt x="1836" y="73"/>
                    <a:pt x="1836" y="73"/>
                    <a:pt x="1836" y="73"/>
                  </a:cubicBezTo>
                  <a:lnTo>
                    <a:pt x="1836" y="48"/>
                  </a:lnTo>
                  <a:close/>
                  <a:moveTo>
                    <a:pt x="1796" y="95"/>
                  </a:moveTo>
                  <a:cubicBezTo>
                    <a:pt x="1788" y="95"/>
                    <a:pt x="1788" y="95"/>
                    <a:pt x="1788" y="95"/>
                  </a:cubicBezTo>
                  <a:cubicBezTo>
                    <a:pt x="1787" y="106"/>
                    <a:pt x="1787" y="106"/>
                    <a:pt x="1787" y="106"/>
                  </a:cubicBezTo>
                  <a:cubicBezTo>
                    <a:pt x="1759" y="106"/>
                    <a:pt x="1759" y="106"/>
                    <a:pt x="1759" y="106"/>
                  </a:cubicBezTo>
                  <a:cubicBezTo>
                    <a:pt x="1759" y="80"/>
                    <a:pt x="1759" y="80"/>
                    <a:pt x="1759" y="80"/>
                  </a:cubicBezTo>
                  <a:cubicBezTo>
                    <a:pt x="1776" y="80"/>
                    <a:pt x="1776" y="80"/>
                    <a:pt x="1776" y="80"/>
                  </a:cubicBezTo>
                  <a:cubicBezTo>
                    <a:pt x="1778" y="90"/>
                    <a:pt x="1778" y="90"/>
                    <a:pt x="1778" y="90"/>
                  </a:cubicBezTo>
                  <a:cubicBezTo>
                    <a:pt x="1784" y="90"/>
                    <a:pt x="1784" y="90"/>
                    <a:pt x="1784" y="90"/>
                  </a:cubicBezTo>
                  <a:cubicBezTo>
                    <a:pt x="1784" y="61"/>
                    <a:pt x="1784" y="61"/>
                    <a:pt x="1784" y="61"/>
                  </a:cubicBezTo>
                  <a:cubicBezTo>
                    <a:pt x="1778" y="61"/>
                    <a:pt x="1778" y="61"/>
                    <a:pt x="1778" y="61"/>
                  </a:cubicBezTo>
                  <a:cubicBezTo>
                    <a:pt x="1776" y="71"/>
                    <a:pt x="1776" y="71"/>
                    <a:pt x="1776" y="71"/>
                  </a:cubicBezTo>
                  <a:cubicBezTo>
                    <a:pt x="1759" y="71"/>
                    <a:pt x="1759" y="71"/>
                    <a:pt x="1759" y="71"/>
                  </a:cubicBezTo>
                  <a:cubicBezTo>
                    <a:pt x="1759" y="49"/>
                    <a:pt x="1759" y="49"/>
                    <a:pt x="1759" y="49"/>
                  </a:cubicBezTo>
                  <a:cubicBezTo>
                    <a:pt x="1787" y="49"/>
                    <a:pt x="1787" y="49"/>
                    <a:pt x="1787" y="49"/>
                  </a:cubicBezTo>
                  <a:cubicBezTo>
                    <a:pt x="1788" y="59"/>
                    <a:pt x="1788" y="59"/>
                    <a:pt x="1788" y="59"/>
                  </a:cubicBezTo>
                  <a:cubicBezTo>
                    <a:pt x="1796" y="59"/>
                    <a:pt x="1796" y="59"/>
                    <a:pt x="1796" y="59"/>
                  </a:cubicBezTo>
                  <a:cubicBezTo>
                    <a:pt x="1796" y="39"/>
                    <a:pt x="1796" y="39"/>
                    <a:pt x="1796" y="39"/>
                  </a:cubicBezTo>
                  <a:cubicBezTo>
                    <a:pt x="1730" y="39"/>
                    <a:pt x="1730" y="39"/>
                    <a:pt x="1730" y="39"/>
                  </a:cubicBezTo>
                  <a:cubicBezTo>
                    <a:pt x="1730" y="46"/>
                    <a:pt x="1730" y="46"/>
                    <a:pt x="1730" y="46"/>
                  </a:cubicBezTo>
                  <a:cubicBezTo>
                    <a:pt x="1741" y="48"/>
                    <a:pt x="1741" y="48"/>
                    <a:pt x="1741" y="48"/>
                  </a:cubicBezTo>
                  <a:cubicBezTo>
                    <a:pt x="1741" y="107"/>
                    <a:pt x="1741" y="107"/>
                    <a:pt x="1741" y="107"/>
                  </a:cubicBezTo>
                  <a:cubicBezTo>
                    <a:pt x="1730" y="109"/>
                    <a:pt x="1730" y="109"/>
                    <a:pt x="1730" y="109"/>
                  </a:cubicBezTo>
                  <a:cubicBezTo>
                    <a:pt x="1730" y="116"/>
                    <a:pt x="1730" y="116"/>
                    <a:pt x="1730" y="116"/>
                  </a:cubicBezTo>
                  <a:cubicBezTo>
                    <a:pt x="1796" y="116"/>
                    <a:pt x="1796" y="116"/>
                    <a:pt x="1796" y="116"/>
                  </a:cubicBezTo>
                  <a:lnTo>
                    <a:pt x="1796" y="95"/>
                  </a:lnTo>
                  <a:close/>
                  <a:moveTo>
                    <a:pt x="1342" y="95"/>
                  </a:moveTo>
                  <a:cubicBezTo>
                    <a:pt x="1335" y="95"/>
                    <a:pt x="1335" y="95"/>
                    <a:pt x="1335" y="95"/>
                  </a:cubicBezTo>
                  <a:cubicBezTo>
                    <a:pt x="1333" y="106"/>
                    <a:pt x="1333" y="106"/>
                    <a:pt x="1333" y="106"/>
                  </a:cubicBezTo>
                  <a:cubicBezTo>
                    <a:pt x="1305" y="106"/>
                    <a:pt x="1305" y="106"/>
                    <a:pt x="1305" y="106"/>
                  </a:cubicBezTo>
                  <a:cubicBezTo>
                    <a:pt x="1305" y="80"/>
                    <a:pt x="1305" y="80"/>
                    <a:pt x="1305" y="80"/>
                  </a:cubicBezTo>
                  <a:cubicBezTo>
                    <a:pt x="1323" y="80"/>
                    <a:pt x="1323" y="80"/>
                    <a:pt x="1323" y="80"/>
                  </a:cubicBezTo>
                  <a:cubicBezTo>
                    <a:pt x="1325" y="90"/>
                    <a:pt x="1325" y="90"/>
                    <a:pt x="1325" y="90"/>
                  </a:cubicBezTo>
                  <a:cubicBezTo>
                    <a:pt x="1331" y="90"/>
                    <a:pt x="1331" y="90"/>
                    <a:pt x="1331" y="90"/>
                  </a:cubicBezTo>
                  <a:cubicBezTo>
                    <a:pt x="1331" y="61"/>
                    <a:pt x="1331" y="61"/>
                    <a:pt x="1331" y="61"/>
                  </a:cubicBezTo>
                  <a:cubicBezTo>
                    <a:pt x="1325" y="61"/>
                    <a:pt x="1325" y="61"/>
                    <a:pt x="1325" y="61"/>
                  </a:cubicBezTo>
                  <a:cubicBezTo>
                    <a:pt x="1323" y="71"/>
                    <a:pt x="1323" y="71"/>
                    <a:pt x="1323" y="71"/>
                  </a:cubicBezTo>
                  <a:cubicBezTo>
                    <a:pt x="1305" y="71"/>
                    <a:pt x="1305" y="71"/>
                    <a:pt x="1305" y="71"/>
                  </a:cubicBezTo>
                  <a:cubicBezTo>
                    <a:pt x="1305" y="49"/>
                    <a:pt x="1305" y="49"/>
                    <a:pt x="1305" y="49"/>
                  </a:cubicBezTo>
                  <a:cubicBezTo>
                    <a:pt x="1333" y="49"/>
                    <a:pt x="1333" y="49"/>
                    <a:pt x="1333" y="49"/>
                  </a:cubicBezTo>
                  <a:cubicBezTo>
                    <a:pt x="1335" y="59"/>
                    <a:pt x="1335" y="59"/>
                    <a:pt x="1335" y="59"/>
                  </a:cubicBezTo>
                  <a:cubicBezTo>
                    <a:pt x="1342" y="59"/>
                    <a:pt x="1342" y="59"/>
                    <a:pt x="1342" y="59"/>
                  </a:cubicBezTo>
                  <a:cubicBezTo>
                    <a:pt x="1342" y="39"/>
                    <a:pt x="1342" y="39"/>
                    <a:pt x="1342" y="39"/>
                  </a:cubicBezTo>
                  <a:cubicBezTo>
                    <a:pt x="1277" y="39"/>
                    <a:pt x="1277" y="39"/>
                    <a:pt x="1277" y="39"/>
                  </a:cubicBezTo>
                  <a:cubicBezTo>
                    <a:pt x="1277" y="46"/>
                    <a:pt x="1277" y="46"/>
                    <a:pt x="1277" y="46"/>
                  </a:cubicBezTo>
                  <a:cubicBezTo>
                    <a:pt x="1288" y="48"/>
                    <a:pt x="1288" y="48"/>
                    <a:pt x="1288" y="48"/>
                  </a:cubicBezTo>
                  <a:cubicBezTo>
                    <a:pt x="1288" y="107"/>
                    <a:pt x="1288" y="107"/>
                    <a:pt x="1288" y="107"/>
                  </a:cubicBezTo>
                  <a:cubicBezTo>
                    <a:pt x="1277" y="109"/>
                    <a:pt x="1277" y="109"/>
                    <a:pt x="1277" y="109"/>
                  </a:cubicBezTo>
                  <a:cubicBezTo>
                    <a:pt x="1277" y="116"/>
                    <a:pt x="1277" y="116"/>
                    <a:pt x="1277" y="116"/>
                  </a:cubicBezTo>
                  <a:cubicBezTo>
                    <a:pt x="1342" y="116"/>
                    <a:pt x="1342" y="116"/>
                    <a:pt x="1342" y="116"/>
                  </a:cubicBezTo>
                  <a:lnTo>
                    <a:pt x="1342" y="95"/>
                  </a:lnTo>
                  <a:close/>
                  <a:moveTo>
                    <a:pt x="566" y="95"/>
                  </a:moveTo>
                  <a:cubicBezTo>
                    <a:pt x="559" y="95"/>
                    <a:pt x="559" y="95"/>
                    <a:pt x="559" y="95"/>
                  </a:cubicBezTo>
                  <a:cubicBezTo>
                    <a:pt x="557" y="106"/>
                    <a:pt x="557" y="106"/>
                    <a:pt x="557" y="106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29" y="80"/>
                    <a:pt x="529" y="80"/>
                    <a:pt x="529" y="80"/>
                  </a:cubicBezTo>
                  <a:cubicBezTo>
                    <a:pt x="546" y="80"/>
                    <a:pt x="546" y="80"/>
                    <a:pt x="546" y="80"/>
                  </a:cubicBezTo>
                  <a:cubicBezTo>
                    <a:pt x="548" y="90"/>
                    <a:pt x="548" y="90"/>
                    <a:pt x="548" y="90"/>
                  </a:cubicBezTo>
                  <a:cubicBezTo>
                    <a:pt x="555" y="90"/>
                    <a:pt x="555" y="90"/>
                    <a:pt x="555" y="90"/>
                  </a:cubicBezTo>
                  <a:cubicBezTo>
                    <a:pt x="555" y="61"/>
                    <a:pt x="555" y="61"/>
                    <a:pt x="555" y="61"/>
                  </a:cubicBezTo>
                  <a:cubicBezTo>
                    <a:pt x="548" y="61"/>
                    <a:pt x="548" y="61"/>
                    <a:pt x="548" y="61"/>
                  </a:cubicBezTo>
                  <a:cubicBezTo>
                    <a:pt x="546" y="71"/>
                    <a:pt x="546" y="71"/>
                    <a:pt x="546" y="71"/>
                  </a:cubicBezTo>
                  <a:cubicBezTo>
                    <a:pt x="529" y="71"/>
                    <a:pt x="529" y="71"/>
                    <a:pt x="529" y="71"/>
                  </a:cubicBezTo>
                  <a:cubicBezTo>
                    <a:pt x="529" y="49"/>
                    <a:pt x="529" y="49"/>
                    <a:pt x="529" y="49"/>
                  </a:cubicBezTo>
                  <a:cubicBezTo>
                    <a:pt x="557" y="49"/>
                    <a:pt x="557" y="49"/>
                    <a:pt x="557" y="49"/>
                  </a:cubicBezTo>
                  <a:cubicBezTo>
                    <a:pt x="559" y="59"/>
                    <a:pt x="559" y="59"/>
                    <a:pt x="559" y="59"/>
                  </a:cubicBezTo>
                  <a:cubicBezTo>
                    <a:pt x="566" y="59"/>
                    <a:pt x="566" y="59"/>
                    <a:pt x="566" y="59"/>
                  </a:cubicBezTo>
                  <a:cubicBezTo>
                    <a:pt x="566" y="39"/>
                    <a:pt x="566" y="39"/>
                    <a:pt x="566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00" y="46"/>
                    <a:pt x="500" y="46"/>
                    <a:pt x="500" y="46"/>
                  </a:cubicBezTo>
                  <a:cubicBezTo>
                    <a:pt x="511" y="48"/>
                    <a:pt x="511" y="48"/>
                    <a:pt x="511" y="48"/>
                  </a:cubicBezTo>
                  <a:cubicBezTo>
                    <a:pt x="511" y="107"/>
                    <a:pt x="511" y="107"/>
                    <a:pt x="511" y="107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16"/>
                    <a:pt x="500" y="116"/>
                    <a:pt x="500" y="116"/>
                  </a:cubicBezTo>
                  <a:cubicBezTo>
                    <a:pt x="566" y="116"/>
                    <a:pt x="566" y="116"/>
                    <a:pt x="566" y="116"/>
                  </a:cubicBezTo>
                  <a:lnTo>
                    <a:pt x="566" y="95"/>
                  </a:lnTo>
                  <a:close/>
                  <a:moveTo>
                    <a:pt x="659" y="117"/>
                  </a:moveTo>
                  <a:cubicBezTo>
                    <a:pt x="689" y="117"/>
                    <a:pt x="702" y="100"/>
                    <a:pt x="702" y="67"/>
                  </a:cubicBezTo>
                  <a:cubicBezTo>
                    <a:pt x="702" y="34"/>
                    <a:pt x="689" y="16"/>
                    <a:pt x="659" y="16"/>
                  </a:cubicBezTo>
                  <a:cubicBezTo>
                    <a:pt x="629" y="16"/>
                    <a:pt x="615" y="34"/>
                    <a:pt x="615" y="67"/>
                  </a:cubicBezTo>
                  <a:cubicBezTo>
                    <a:pt x="615" y="99"/>
                    <a:pt x="628" y="117"/>
                    <a:pt x="659" y="117"/>
                  </a:cubicBezTo>
                  <a:close/>
                  <a:moveTo>
                    <a:pt x="659" y="27"/>
                  </a:moveTo>
                  <a:cubicBezTo>
                    <a:pt x="675" y="27"/>
                    <a:pt x="683" y="40"/>
                    <a:pt x="683" y="67"/>
                  </a:cubicBezTo>
                  <a:cubicBezTo>
                    <a:pt x="683" y="94"/>
                    <a:pt x="675" y="107"/>
                    <a:pt x="659" y="107"/>
                  </a:cubicBezTo>
                  <a:cubicBezTo>
                    <a:pt x="642" y="107"/>
                    <a:pt x="634" y="94"/>
                    <a:pt x="634" y="67"/>
                  </a:cubicBezTo>
                  <a:cubicBezTo>
                    <a:pt x="634" y="40"/>
                    <a:pt x="643" y="27"/>
                    <a:pt x="659" y="27"/>
                  </a:cubicBezTo>
                  <a:close/>
                  <a:moveTo>
                    <a:pt x="327" y="28"/>
                  </a:moveTo>
                  <a:cubicBezTo>
                    <a:pt x="349" y="28"/>
                    <a:pt x="349" y="28"/>
                    <a:pt x="349" y="28"/>
                  </a:cubicBezTo>
                  <a:cubicBezTo>
                    <a:pt x="349" y="106"/>
                    <a:pt x="349" y="106"/>
                    <a:pt x="349" y="106"/>
                  </a:cubicBezTo>
                  <a:cubicBezTo>
                    <a:pt x="337" y="108"/>
                    <a:pt x="337" y="108"/>
                    <a:pt x="337" y="108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79" y="116"/>
                    <a:pt x="379" y="116"/>
                    <a:pt x="379" y="116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67" y="106"/>
                    <a:pt x="367" y="106"/>
                    <a:pt x="367" y="106"/>
                  </a:cubicBezTo>
                  <a:cubicBezTo>
                    <a:pt x="367" y="28"/>
                    <a:pt x="367" y="28"/>
                    <a:pt x="367" y="28"/>
                  </a:cubicBezTo>
                  <a:cubicBezTo>
                    <a:pt x="390" y="28"/>
                    <a:pt x="390" y="28"/>
                    <a:pt x="390" y="28"/>
                  </a:cubicBezTo>
                  <a:cubicBezTo>
                    <a:pt x="391" y="40"/>
                    <a:pt x="391" y="40"/>
                    <a:pt x="391" y="40"/>
                  </a:cubicBezTo>
                  <a:cubicBezTo>
                    <a:pt x="399" y="40"/>
                    <a:pt x="399" y="40"/>
                    <a:pt x="399" y="40"/>
                  </a:cubicBezTo>
                  <a:cubicBezTo>
                    <a:pt x="399" y="18"/>
                    <a:pt x="399" y="18"/>
                    <a:pt x="399" y="18"/>
                  </a:cubicBezTo>
                  <a:cubicBezTo>
                    <a:pt x="317" y="18"/>
                    <a:pt x="317" y="18"/>
                    <a:pt x="317" y="18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25" y="40"/>
                    <a:pt x="325" y="40"/>
                    <a:pt x="325" y="40"/>
                  </a:cubicBezTo>
                  <a:lnTo>
                    <a:pt x="327" y="28"/>
                  </a:lnTo>
                  <a:close/>
                  <a:moveTo>
                    <a:pt x="750" y="109"/>
                  </a:moveTo>
                  <a:cubicBezTo>
                    <a:pt x="739" y="107"/>
                    <a:pt x="739" y="107"/>
                    <a:pt x="739" y="107"/>
                  </a:cubicBezTo>
                  <a:cubicBezTo>
                    <a:pt x="739" y="80"/>
                    <a:pt x="739" y="80"/>
                    <a:pt x="739" y="80"/>
                  </a:cubicBezTo>
                  <a:cubicBezTo>
                    <a:pt x="768" y="80"/>
                    <a:pt x="768" y="80"/>
                    <a:pt x="768" y="80"/>
                  </a:cubicBezTo>
                  <a:cubicBezTo>
                    <a:pt x="768" y="107"/>
                    <a:pt x="768" y="107"/>
                    <a:pt x="768" y="107"/>
                  </a:cubicBezTo>
                  <a:cubicBezTo>
                    <a:pt x="757" y="109"/>
                    <a:pt x="757" y="109"/>
                    <a:pt x="757" y="109"/>
                  </a:cubicBezTo>
                  <a:cubicBezTo>
                    <a:pt x="757" y="116"/>
                    <a:pt x="757" y="116"/>
                    <a:pt x="757" y="116"/>
                  </a:cubicBezTo>
                  <a:cubicBezTo>
                    <a:pt x="797" y="116"/>
                    <a:pt x="797" y="116"/>
                    <a:pt x="797" y="116"/>
                  </a:cubicBezTo>
                  <a:cubicBezTo>
                    <a:pt x="797" y="109"/>
                    <a:pt x="797" y="109"/>
                    <a:pt x="797" y="109"/>
                  </a:cubicBezTo>
                  <a:cubicBezTo>
                    <a:pt x="786" y="107"/>
                    <a:pt x="786" y="107"/>
                    <a:pt x="786" y="107"/>
                  </a:cubicBezTo>
                  <a:cubicBezTo>
                    <a:pt x="786" y="48"/>
                    <a:pt x="786" y="48"/>
                    <a:pt x="786" y="48"/>
                  </a:cubicBezTo>
                  <a:cubicBezTo>
                    <a:pt x="797" y="46"/>
                    <a:pt x="797" y="46"/>
                    <a:pt x="797" y="46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57" y="39"/>
                    <a:pt x="757" y="39"/>
                    <a:pt x="757" y="39"/>
                  </a:cubicBezTo>
                  <a:cubicBezTo>
                    <a:pt x="757" y="46"/>
                    <a:pt x="757" y="46"/>
                    <a:pt x="757" y="46"/>
                  </a:cubicBezTo>
                  <a:cubicBezTo>
                    <a:pt x="768" y="48"/>
                    <a:pt x="768" y="48"/>
                    <a:pt x="768" y="48"/>
                  </a:cubicBezTo>
                  <a:cubicBezTo>
                    <a:pt x="768" y="71"/>
                    <a:pt x="768" y="71"/>
                    <a:pt x="768" y="71"/>
                  </a:cubicBezTo>
                  <a:cubicBezTo>
                    <a:pt x="739" y="71"/>
                    <a:pt x="739" y="71"/>
                    <a:pt x="739" y="71"/>
                  </a:cubicBezTo>
                  <a:cubicBezTo>
                    <a:pt x="739" y="48"/>
                    <a:pt x="739" y="48"/>
                    <a:pt x="739" y="48"/>
                  </a:cubicBezTo>
                  <a:cubicBezTo>
                    <a:pt x="750" y="46"/>
                    <a:pt x="750" y="46"/>
                    <a:pt x="750" y="46"/>
                  </a:cubicBezTo>
                  <a:cubicBezTo>
                    <a:pt x="750" y="39"/>
                    <a:pt x="750" y="39"/>
                    <a:pt x="750" y="39"/>
                  </a:cubicBezTo>
                  <a:cubicBezTo>
                    <a:pt x="710" y="39"/>
                    <a:pt x="710" y="39"/>
                    <a:pt x="710" y="39"/>
                  </a:cubicBezTo>
                  <a:cubicBezTo>
                    <a:pt x="710" y="46"/>
                    <a:pt x="710" y="46"/>
                    <a:pt x="710" y="46"/>
                  </a:cubicBezTo>
                  <a:cubicBezTo>
                    <a:pt x="722" y="48"/>
                    <a:pt x="722" y="48"/>
                    <a:pt x="722" y="48"/>
                  </a:cubicBezTo>
                  <a:cubicBezTo>
                    <a:pt x="722" y="107"/>
                    <a:pt x="722" y="107"/>
                    <a:pt x="722" y="107"/>
                  </a:cubicBezTo>
                  <a:cubicBezTo>
                    <a:pt x="710" y="109"/>
                    <a:pt x="710" y="109"/>
                    <a:pt x="710" y="109"/>
                  </a:cubicBezTo>
                  <a:cubicBezTo>
                    <a:pt x="710" y="116"/>
                    <a:pt x="710" y="116"/>
                    <a:pt x="710" y="116"/>
                  </a:cubicBezTo>
                  <a:cubicBezTo>
                    <a:pt x="750" y="116"/>
                    <a:pt x="750" y="116"/>
                    <a:pt x="750" y="116"/>
                  </a:cubicBezTo>
                  <a:lnTo>
                    <a:pt x="750" y="109"/>
                  </a:lnTo>
                  <a:close/>
                  <a:moveTo>
                    <a:pt x="445" y="109"/>
                  </a:moveTo>
                  <a:cubicBezTo>
                    <a:pt x="434" y="107"/>
                    <a:pt x="434" y="107"/>
                    <a:pt x="434" y="107"/>
                  </a:cubicBezTo>
                  <a:cubicBezTo>
                    <a:pt x="434" y="80"/>
                    <a:pt x="434" y="80"/>
                    <a:pt x="434" y="80"/>
                  </a:cubicBezTo>
                  <a:cubicBezTo>
                    <a:pt x="463" y="80"/>
                    <a:pt x="463" y="80"/>
                    <a:pt x="463" y="80"/>
                  </a:cubicBezTo>
                  <a:cubicBezTo>
                    <a:pt x="463" y="107"/>
                    <a:pt x="463" y="107"/>
                    <a:pt x="463" y="107"/>
                  </a:cubicBezTo>
                  <a:cubicBezTo>
                    <a:pt x="452" y="109"/>
                    <a:pt x="452" y="109"/>
                    <a:pt x="452" y="109"/>
                  </a:cubicBezTo>
                  <a:cubicBezTo>
                    <a:pt x="452" y="116"/>
                    <a:pt x="452" y="116"/>
                    <a:pt x="452" y="116"/>
                  </a:cubicBezTo>
                  <a:cubicBezTo>
                    <a:pt x="492" y="116"/>
                    <a:pt x="492" y="116"/>
                    <a:pt x="492" y="116"/>
                  </a:cubicBezTo>
                  <a:cubicBezTo>
                    <a:pt x="492" y="109"/>
                    <a:pt x="492" y="109"/>
                    <a:pt x="492" y="109"/>
                  </a:cubicBezTo>
                  <a:cubicBezTo>
                    <a:pt x="480" y="107"/>
                    <a:pt x="480" y="107"/>
                    <a:pt x="480" y="107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492" y="46"/>
                    <a:pt x="492" y="46"/>
                    <a:pt x="492" y="46"/>
                  </a:cubicBezTo>
                  <a:cubicBezTo>
                    <a:pt x="492" y="39"/>
                    <a:pt x="492" y="39"/>
                    <a:pt x="492" y="39"/>
                  </a:cubicBezTo>
                  <a:cubicBezTo>
                    <a:pt x="452" y="39"/>
                    <a:pt x="452" y="39"/>
                    <a:pt x="452" y="39"/>
                  </a:cubicBezTo>
                  <a:cubicBezTo>
                    <a:pt x="452" y="46"/>
                    <a:pt x="452" y="46"/>
                    <a:pt x="452" y="46"/>
                  </a:cubicBezTo>
                  <a:cubicBezTo>
                    <a:pt x="463" y="48"/>
                    <a:pt x="463" y="48"/>
                    <a:pt x="463" y="48"/>
                  </a:cubicBezTo>
                  <a:cubicBezTo>
                    <a:pt x="463" y="71"/>
                    <a:pt x="463" y="71"/>
                    <a:pt x="463" y="71"/>
                  </a:cubicBezTo>
                  <a:cubicBezTo>
                    <a:pt x="434" y="71"/>
                    <a:pt x="434" y="71"/>
                    <a:pt x="434" y="71"/>
                  </a:cubicBezTo>
                  <a:cubicBezTo>
                    <a:pt x="434" y="48"/>
                    <a:pt x="434" y="48"/>
                    <a:pt x="434" y="48"/>
                  </a:cubicBezTo>
                  <a:cubicBezTo>
                    <a:pt x="445" y="46"/>
                    <a:pt x="445" y="46"/>
                    <a:pt x="445" y="46"/>
                  </a:cubicBezTo>
                  <a:cubicBezTo>
                    <a:pt x="445" y="39"/>
                    <a:pt x="445" y="39"/>
                    <a:pt x="445" y="39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46"/>
                    <a:pt x="405" y="46"/>
                    <a:pt x="405" y="46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107"/>
                    <a:pt x="416" y="107"/>
                    <a:pt x="416" y="107"/>
                  </a:cubicBezTo>
                  <a:cubicBezTo>
                    <a:pt x="405" y="109"/>
                    <a:pt x="405" y="109"/>
                    <a:pt x="405" y="109"/>
                  </a:cubicBezTo>
                  <a:cubicBezTo>
                    <a:pt x="405" y="116"/>
                    <a:pt x="405" y="116"/>
                    <a:pt x="405" y="116"/>
                  </a:cubicBezTo>
                  <a:cubicBezTo>
                    <a:pt x="445" y="116"/>
                    <a:pt x="445" y="116"/>
                    <a:pt x="445" y="116"/>
                  </a:cubicBezTo>
                  <a:lnTo>
                    <a:pt x="445" y="109"/>
                  </a:lnTo>
                  <a:close/>
                  <a:moveTo>
                    <a:pt x="1209" y="49"/>
                  </a:moveTo>
                  <a:cubicBezTo>
                    <a:pt x="1226" y="49"/>
                    <a:pt x="1226" y="49"/>
                    <a:pt x="1226" y="49"/>
                  </a:cubicBezTo>
                  <a:cubicBezTo>
                    <a:pt x="1226" y="107"/>
                    <a:pt x="1226" y="107"/>
                    <a:pt x="1226" y="107"/>
                  </a:cubicBezTo>
                  <a:cubicBezTo>
                    <a:pt x="1215" y="109"/>
                    <a:pt x="1215" y="109"/>
                    <a:pt x="1215" y="109"/>
                  </a:cubicBezTo>
                  <a:cubicBezTo>
                    <a:pt x="1215" y="116"/>
                    <a:pt x="1215" y="116"/>
                    <a:pt x="1215" y="116"/>
                  </a:cubicBezTo>
                  <a:cubicBezTo>
                    <a:pt x="1255" y="116"/>
                    <a:pt x="1255" y="116"/>
                    <a:pt x="1255" y="116"/>
                  </a:cubicBezTo>
                  <a:cubicBezTo>
                    <a:pt x="1255" y="109"/>
                    <a:pt x="1255" y="109"/>
                    <a:pt x="1255" y="109"/>
                  </a:cubicBezTo>
                  <a:cubicBezTo>
                    <a:pt x="1244" y="107"/>
                    <a:pt x="1244" y="107"/>
                    <a:pt x="1244" y="107"/>
                  </a:cubicBezTo>
                  <a:cubicBezTo>
                    <a:pt x="1244" y="49"/>
                    <a:pt x="1244" y="49"/>
                    <a:pt x="1244" y="49"/>
                  </a:cubicBezTo>
                  <a:cubicBezTo>
                    <a:pt x="1261" y="49"/>
                    <a:pt x="1261" y="49"/>
                    <a:pt x="1261" y="49"/>
                  </a:cubicBezTo>
                  <a:cubicBezTo>
                    <a:pt x="1262" y="60"/>
                    <a:pt x="1262" y="60"/>
                    <a:pt x="1262" y="60"/>
                  </a:cubicBezTo>
                  <a:cubicBezTo>
                    <a:pt x="1270" y="60"/>
                    <a:pt x="1270" y="60"/>
                    <a:pt x="1270" y="60"/>
                  </a:cubicBezTo>
                  <a:cubicBezTo>
                    <a:pt x="1270" y="39"/>
                    <a:pt x="1270" y="39"/>
                    <a:pt x="1270" y="39"/>
                  </a:cubicBezTo>
                  <a:cubicBezTo>
                    <a:pt x="1200" y="39"/>
                    <a:pt x="1200" y="39"/>
                    <a:pt x="1200" y="39"/>
                  </a:cubicBezTo>
                  <a:cubicBezTo>
                    <a:pt x="1200" y="60"/>
                    <a:pt x="1200" y="60"/>
                    <a:pt x="1200" y="60"/>
                  </a:cubicBezTo>
                  <a:cubicBezTo>
                    <a:pt x="1208" y="60"/>
                    <a:pt x="1208" y="60"/>
                    <a:pt x="1208" y="60"/>
                  </a:cubicBezTo>
                  <a:lnTo>
                    <a:pt x="1209" y="49"/>
                  </a:lnTo>
                  <a:close/>
                  <a:moveTo>
                    <a:pt x="1058" y="49"/>
                  </a:moveTo>
                  <a:cubicBezTo>
                    <a:pt x="1075" y="49"/>
                    <a:pt x="1075" y="49"/>
                    <a:pt x="1075" y="49"/>
                  </a:cubicBezTo>
                  <a:cubicBezTo>
                    <a:pt x="1075" y="107"/>
                    <a:pt x="1075" y="107"/>
                    <a:pt x="1075" y="107"/>
                  </a:cubicBezTo>
                  <a:cubicBezTo>
                    <a:pt x="1064" y="109"/>
                    <a:pt x="1064" y="109"/>
                    <a:pt x="1064" y="109"/>
                  </a:cubicBezTo>
                  <a:cubicBezTo>
                    <a:pt x="1064" y="116"/>
                    <a:pt x="1064" y="116"/>
                    <a:pt x="1064" y="116"/>
                  </a:cubicBezTo>
                  <a:cubicBezTo>
                    <a:pt x="1104" y="116"/>
                    <a:pt x="1104" y="116"/>
                    <a:pt x="1104" y="116"/>
                  </a:cubicBezTo>
                  <a:cubicBezTo>
                    <a:pt x="1104" y="109"/>
                    <a:pt x="1104" y="109"/>
                    <a:pt x="1104" y="109"/>
                  </a:cubicBezTo>
                  <a:cubicBezTo>
                    <a:pt x="1093" y="107"/>
                    <a:pt x="1093" y="107"/>
                    <a:pt x="1093" y="107"/>
                  </a:cubicBezTo>
                  <a:cubicBezTo>
                    <a:pt x="1093" y="49"/>
                    <a:pt x="1093" y="49"/>
                    <a:pt x="1093" y="49"/>
                  </a:cubicBezTo>
                  <a:cubicBezTo>
                    <a:pt x="1110" y="49"/>
                    <a:pt x="1110" y="49"/>
                    <a:pt x="1110" y="49"/>
                  </a:cubicBezTo>
                  <a:cubicBezTo>
                    <a:pt x="1111" y="60"/>
                    <a:pt x="1111" y="60"/>
                    <a:pt x="1111" y="60"/>
                  </a:cubicBezTo>
                  <a:cubicBezTo>
                    <a:pt x="1119" y="60"/>
                    <a:pt x="1119" y="60"/>
                    <a:pt x="1119" y="60"/>
                  </a:cubicBezTo>
                  <a:cubicBezTo>
                    <a:pt x="1119" y="39"/>
                    <a:pt x="1119" y="39"/>
                    <a:pt x="1119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60"/>
                    <a:pt x="1049" y="60"/>
                    <a:pt x="1049" y="60"/>
                  </a:cubicBezTo>
                  <a:cubicBezTo>
                    <a:pt x="1057" y="60"/>
                    <a:pt x="1057" y="60"/>
                    <a:pt x="1057" y="60"/>
                  </a:cubicBezTo>
                  <a:lnTo>
                    <a:pt x="1058" y="49"/>
                  </a:lnTo>
                  <a:close/>
                  <a:moveTo>
                    <a:pt x="1114" y="116"/>
                  </a:moveTo>
                  <a:cubicBezTo>
                    <a:pt x="1147" y="116"/>
                    <a:pt x="1147" y="116"/>
                    <a:pt x="1147" y="116"/>
                  </a:cubicBezTo>
                  <a:cubicBezTo>
                    <a:pt x="1147" y="109"/>
                    <a:pt x="1147" y="109"/>
                    <a:pt x="1147" y="109"/>
                  </a:cubicBezTo>
                  <a:cubicBezTo>
                    <a:pt x="1136" y="107"/>
                    <a:pt x="1136" y="107"/>
                    <a:pt x="1136" y="107"/>
                  </a:cubicBezTo>
                  <a:cubicBezTo>
                    <a:pt x="1142" y="93"/>
                    <a:pt x="1142" y="93"/>
                    <a:pt x="1142" y="93"/>
                  </a:cubicBezTo>
                  <a:cubicBezTo>
                    <a:pt x="1171" y="93"/>
                    <a:pt x="1171" y="93"/>
                    <a:pt x="1171" y="93"/>
                  </a:cubicBezTo>
                  <a:cubicBezTo>
                    <a:pt x="1176" y="107"/>
                    <a:pt x="1176" y="107"/>
                    <a:pt x="1176" y="107"/>
                  </a:cubicBezTo>
                  <a:cubicBezTo>
                    <a:pt x="1165" y="109"/>
                    <a:pt x="1165" y="109"/>
                    <a:pt x="1165" y="109"/>
                  </a:cubicBezTo>
                  <a:cubicBezTo>
                    <a:pt x="1165" y="116"/>
                    <a:pt x="1165" y="116"/>
                    <a:pt x="1165" y="116"/>
                  </a:cubicBezTo>
                  <a:cubicBezTo>
                    <a:pt x="1205" y="116"/>
                    <a:pt x="1205" y="116"/>
                    <a:pt x="1205" y="116"/>
                  </a:cubicBezTo>
                  <a:cubicBezTo>
                    <a:pt x="1205" y="109"/>
                    <a:pt x="1205" y="109"/>
                    <a:pt x="1205" y="109"/>
                  </a:cubicBezTo>
                  <a:cubicBezTo>
                    <a:pt x="1194" y="107"/>
                    <a:pt x="1194" y="107"/>
                    <a:pt x="1194" y="107"/>
                  </a:cubicBezTo>
                  <a:cubicBezTo>
                    <a:pt x="1168" y="39"/>
                    <a:pt x="1168" y="39"/>
                    <a:pt x="1168" y="39"/>
                  </a:cubicBezTo>
                  <a:cubicBezTo>
                    <a:pt x="1151" y="39"/>
                    <a:pt x="1151" y="39"/>
                    <a:pt x="1151" y="39"/>
                  </a:cubicBezTo>
                  <a:cubicBezTo>
                    <a:pt x="1125" y="107"/>
                    <a:pt x="1125" y="107"/>
                    <a:pt x="1125" y="107"/>
                  </a:cubicBezTo>
                  <a:cubicBezTo>
                    <a:pt x="1114" y="109"/>
                    <a:pt x="1114" y="109"/>
                    <a:pt x="1114" y="109"/>
                  </a:cubicBezTo>
                  <a:lnTo>
                    <a:pt x="1114" y="116"/>
                  </a:lnTo>
                  <a:close/>
                  <a:moveTo>
                    <a:pt x="1156" y="54"/>
                  </a:moveTo>
                  <a:cubicBezTo>
                    <a:pt x="1167" y="84"/>
                    <a:pt x="1167" y="84"/>
                    <a:pt x="1167" y="84"/>
                  </a:cubicBezTo>
                  <a:cubicBezTo>
                    <a:pt x="1145" y="84"/>
                    <a:pt x="1145" y="84"/>
                    <a:pt x="1145" y="84"/>
                  </a:cubicBezTo>
                  <a:lnTo>
                    <a:pt x="1156" y="54"/>
                  </a:lnTo>
                  <a:close/>
                  <a:moveTo>
                    <a:pt x="1042" y="88"/>
                  </a:moveTo>
                  <a:cubicBezTo>
                    <a:pt x="1042" y="49"/>
                    <a:pt x="993" y="65"/>
                    <a:pt x="993" y="41"/>
                  </a:cubicBezTo>
                  <a:cubicBezTo>
                    <a:pt x="993" y="30"/>
                    <a:pt x="1002" y="27"/>
                    <a:pt x="1011" y="27"/>
                  </a:cubicBezTo>
                  <a:cubicBezTo>
                    <a:pt x="1019" y="27"/>
                    <a:pt x="1028" y="29"/>
                    <a:pt x="1028" y="29"/>
                  </a:cubicBezTo>
                  <a:cubicBezTo>
                    <a:pt x="1030" y="41"/>
                    <a:pt x="1030" y="41"/>
                    <a:pt x="1030" y="41"/>
                  </a:cubicBezTo>
                  <a:cubicBezTo>
                    <a:pt x="1038" y="41"/>
                    <a:pt x="1038" y="41"/>
                    <a:pt x="1038" y="41"/>
                  </a:cubicBezTo>
                  <a:cubicBezTo>
                    <a:pt x="1038" y="22"/>
                    <a:pt x="1038" y="22"/>
                    <a:pt x="1038" y="22"/>
                  </a:cubicBezTo>
                  <a:cubicBezTo>
                    <a:pt x="1030" y="19"/>
                    <a:pt x="1019" y="16"/>
                    <a:pt x="1009" y="16"/>
                  </a:cubicBezTo>
                  <a:cubicBezTo>
                    <a:pt x="987" y="16"/>
                    <a:pt x="976" y="27"/>
                    <a:pt x="976" y="44"/>
                  </a:cubicBezTo>
                  <a:cubicBezTo>
                    <a:pt x="976" y="65"/>
                    <a:pt x="992" y="69"/>
                    <a:pt x="1007" y="74"/>
                  </a:cubicBezTo>
                  <a:cubicBezTo>
                    <a:pt x="1017" y="77"/>
                    <a:pt x="1025" y="79"/>
                    <a:pt x="1025" y="90"/>
                  </a:cubicBezTo>
                  <a:cubicBezTo>
                    <a:pt x="1025" y="102"/>
                    <a:pt x="1015" y="106"/>
                    <a:pt x="1003" y="106"/>
                  </a:cubicBezTo>
                  <a:cubicBezTo>
                    <a:pt x="992" y="106"/>
                    <a:pt x="986" y="104"/>
                    <a:pt x="986" y="104"/>
                  </a:cubicBezTo>
                  <a:cubicBezTo>
                    <a:pt x="984" y="91"/>
                    <a:pt x="984" y="91"/>
                    <a:pt x="984" y="91"/>
                  </a:cubicBezTo>
                  <a:cubicBezTo>
                    <a:pt x="976" y="91"/>
                    <a:pt x="976" y="91"/>
                    <a:pt x="976" y="91"/>
                  </a:cubicBezTo>
                  <a:cubicBezTo>
                    <a:pt x="976" y="112"/>
                    <a:pt x="976" y="112"/>
                    <a:pt x="976" y="112"/>
                  </a:cubicBezTo>
                  <a:cubicBezTo>
                    <a:pt x="976" y="112"/>
                    <a:pt x="989" y="117"/>
                    <a:pt x="1006" y="117"/>
                  </a:cubicBezTo>
                  <a:cubicBezTo>
                    <a:pt x="1030" y="117"/>
                    <a:pt x="1042" y="107"/>
                    <a:pt x="1042" y="88"/>
                  </a:cubicBezTo>
                  <a:close/>
                  <a:moveTo>
                    <a:pt x="847" y="109"/>
                  </a:moveTo>
                  <a:cubicBezTo>
                    <a:pt x="835" y="107"/>
                    <a:pt x="835" y="107"/>
                    <a:pt x="835" y="107"/>
                  </a:cubicBezTo>
                  <a:cubicBezTo>
                    <a:pt x="835" y="48"/>
                    <a:pt x="835" y="48"/>
                    <a:pt x="835" y="48"/>
                  </a:cubicBezTo>
                  <a:cubicBezTo>
                    <a:pt x="847" y="46"/>
                    <a:pt x="847" y="46"/>
                    <a:pt x="847" y="46"/>
                  </a:cubicBezTo>
                  <a:cubicBezTo>
                    <a:pt x="847" y="39"/>
                    <a:pt x="847" y="39"/>
                    <a:pt x="847" y="39"/>
                  </a:cubicBezTo>
                  <a:cubicBezTo>
                    <a:pt x="806" y="39"/>
                    <a:pt x="806" y="39"/>
                    <a:pt x="806" y="39"/>
                  </a:cubicBezTo>
                  <a:cubicBezTo>
                    <a:pt x="806" y="46"/>
                    <a:pt x="806" y="46"/>
                    <a:pt x="806" y="46"/>
                  </a:cubicBezTo>
                  <a:cubicBezTo>
                    <a:pt x="818" y="48"/>
                    <a:pt x="818" y="48"/>
                    <a:pt x="818" y="48"/>
                  </a:cubicBezTo>
                  <a:cubicBezTo>
                    <a:pt x="818" y="107"/>
                    <a:pt x="818" y="107"/>
                    <a:pt x="818" y="107"/>
                  </a:cubicBezTo>
                  <a:cubicBezTo>
                    <a:pt x="806" y="109"/>
                    <a:pt x="806" y="109"/>
                    <a:pt x="806" y="109"/>
                  </a:cubicBezTo>
                  <a:cubicBezTo>
                    <a:pt x="806" y="116"/>
                    <a:pt x="806" y="116"/>
                    <a:pt x="806" y="116"/>
                  </a:cubicBezTo>
                  <a:cubicBezTo>
                    <a:pt x="847" y="116"/>
                    <a:pt x="847" y="116"/>
                    <a:pt x="847" y="116"/>
                  </a:cubicBezTo>
                  <a:lnTo>
                    <a:pt x="847" y="109"/>
                  </a:lnTo>
                  <a:close/>
                  <a:moveTo>
                    <a:pt x="890" y="117"/>
                  </a:moveTo>
                  <a:cubicBezTo>
                    <a:pt x="915" y="117"/>
                    <a:pt x="927" y="103"/>
                    <a:pt x="927" y="78"/>
                  </a:cubicBezTo>
                  <a:cubicBezTo>
                    <a:pt x="927" y="52"/>
                    <a:pt x="915" y="38"/>
                    <a:pt x="890" y="38"/>
                  </a:cubicBezTo>
                  <a:cubicBezTo>
                    <a:pt x="864" y="38"/>
                    <a:pt x="853" y="52"/>
                    <a:pt x="853" y="77"/>
                  </a:cubicBezTo>
                  <a:cubicBezTo>
                    <a:pt x="853" y="103"/>
                    <a:pt x="864" y="117"/>
                    <a:pt x="890" y="117"/>
                  </a:cubicBezTo>
                  <a:close/>
                  <a:moveTo>
                    <a:pt x="890" y="48"/>
                  </a:moveTo>
                  <a:cubicBezTo>
                    <a:pt x="902" y="48"/>
                    <a:pt x="908" y="57"/>
                    <a:pt x="908" y="78"/>
                  </a:cubicBezTo>
                  <a:cubicBezTo>
                    <a:pt x="908" y="98"/>
                    <a:pt x="902" y="107"/>
                    <a:pt x="889" y="107"/>
                  </a:cubicBezTo>
                  <a:cubicBezTo>
                    <a:pt x="877" y="107"/>
                    <a:pt x="871" y="98"/>
                    <a:pt x="871" y="77"/>
                  </a:cubicBezTo>
                  <a:cubicBezTo>
                    <a:pt x="871" y="57"/>
                    <a:pt x="877" y="48"/>
                    <a:pt x="890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4828880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search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itle 41"/>
          <p:cNvSpPr>
            <a:spLocks noGrp="1"/>
          </p:cNvSpPr>
          <p:nvPr>
            <p:ph type="title"/>
          </p:nvPr>
        </p:nvSpPr>
        <p:spPr>
          <a:xfrm>
            <a:off x="2245608" y="4703085"/>
            <a:ext cx="8447315" cy="920559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733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3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45608" y="5765272"/>
            <a:ext cx="5170632" cy="428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spcBef>
                <a:spcPct val="0"/>
              </a:spcBef>
              <a:buFont typeface="Wingdings" pitchFamily="2" charset="2"/>
              <a:buNone/>
              <a:defRPr sz="2667"/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>
          <a:xfrm>
            <a:off x="1853170" y="4061327"/>
            <a:ext cx="3457207" cy="496575"/>
            <a:chOff x="487363" y="2840038"/>
            <a:chExt cx="8167687" cy="1173162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487363" y="2843213"/>
              <a:ext cx="8167687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531813" y="2892425"/>
              <a:ext cx="803275" cy="1068387"/>
            </a:xfrm>
            <a:custGeom>
              <a:avLst/>
              <a:gdLst>
                <a:gd name="T0" fmla="*/ 126 w 506"/>
                <a:gd name="T1" fmla="*/ 172 h 673"/>
                <a:gd name="T2" fmla="*/ 175 w 506"/>
                <a:gd name="T3" fmla="*/ 125 h 673"/>
                <a:gd name="T4" fmla="*/ 333 w 506"/>
                <a:gd name="T5" fmla="*/ 125 h 673"/>
                <a:gd name="T6" fmla="*/ 383 w 506"/>
                <a:gd name="T7" fmla="*/ 172 h 673"/>
                <a:gd name="T8" fmla="*/ 383 w 506"/>
                <a:gd name="T9" fmla="*/ 500 h 673"/>
                <a:gd name="T10" fmla="*/ 333 w 506"/>
                <a:gd name="T11" fmla="*/ 548 h 673"/>
                <a:gd name="T12" fmla="*/ 175 w 506"/>
                <a:gd name="T13" fmla="*/ 548 h 673"/>
                <a:gd name="T14" fmla="*/ 126 w 506"/>
                <a:gd name="T15" fmla="*/ 500 h 673"/>
                <a:gd name="T16" fmla="*/ 126 w 506"/>
                <a:gd name="T17" fmla="*/ 172 h 673"/>
                <a:gd name="T18" fmla="*/ 126 w 506"/>
                <a:gd name="T19" fmla="*/ 172 h 673"/>
                <a:gd name="T20" fmla="*/ 506 w 506"/>
                <a:gd name="T21" fmla="*/ 120 h 673"/>
                <a:gd name="T22" fmla="*/ 385 w 506"/>
                <a:gd name="T23" fmla="*/ 0 h 673"/>
                <a:gd name="T24" fmla="*/ 123 w 506"/>
                <a:gd name="T25" fmla="*/ 0 h 673"/>
                <a:gd name="T26" fmla="*/ 0 w 506"/>
                <a:gd name="T27" fmla="*/ 120 h 673"/>
                <a:gd name="T28" fmla="*/ 0 w 506"/>
                <a:gd name="T29" fmla="*/ 552 h 673"/>
                <a:gd name="T30" fmla="*/ 123 w 506"/>
                <a:gd name="T31" fmla="*/ 673 h 673"/>
                <a:gd name="T32" fmla="*/ 385 w 506"/>
                <a:gd name="T33" fmla="*/ 673 h 673"/>
                <a:gd name="T34" fmla="*/ 506 w 506"/>
                <a:gd name="T35" fmla="*/ 552 h 673"/>
                <a:gd name="T36" fmla="*/ 506 w 506"/>
                <a:gd name="T37" fmla="*/ 120 h 673"/>
                <a:gd name="T38" fmla="*/ 506 w 506"/>
                <a:gd name="T39" fmla="*/ 12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6" h="673">
                  <a:moveTo>
                    <a:pt x="126" y="172"/>
                  </a:moveTo>
                  <a:lnTo>
                    <a:pt x="175" y="125"/>
                  </a:lnTo>
                  <a:lnTo>
                    <a:pt x="333" y="125"/>
                  </a:lnTo>
                  <a:lnTo>
                    <a:pt x="383" y="172"/>
                  </a:lnTo>
                  <a:lnTo>
                    <a:pt x="383" y="500"/>
                  </a:lnTo>
                  <a:lnTo>
                    <a:pt x="333" y="548"/>
                  </a:lnTo>
                  <a:lnTo>
                    <a:pt x="175" y="548"/>
                  </a:lnTo>
                  <a:lnTo>
                    <a:pt x="126" y="500"/>
                  </a:lnTo>
                  <a:lnTo>
                    <a:pt x="126" y="172"/>
                  </a:lnTo>
                  <a:lnTo>
                    <a:pt x="126" y="172"/>
                  </a:lnTo>
                  <a:close/>
                  <a:moveTo>
                    <a:pt x="506" y="120"/>
                  </a:moveTo>
                  <a:lnTo>
                    <a:pt x="385" y="0"/>
                  </a:lnTo>
                  <a:lnTo>
                    <a:pt x="123" y="0"/>
                  </a:lnTo>
                  <a:lnTo>
                    <a:pt x="0" y="120"/>
                  </a:lnTo>
                  <a:lnTo>
                    <a:pt x="0" y="552"/>
                  </a:lnTo>
                  <a:lnTo>
                    <a:pt x="123" y="673"/>
                  </a:lnTo>
                  <a:lnTo>
                    <a:pt x="385" y="673"/>
                  </a:lnTo>
                  <a:lnTo>
                    <a:pt x="506" y="552"/>
                  </a:lnTo>
                  <a:lnTo>
                    <a:pt x="506" y="120"/>
                  </a:lnTo>
                  <a:lnTo>
                    <a:pt x="506" y="120"/>
                  </a:lnTo>
                  <a:close/>
                </a:path>
              </a:pathLst>
            </a:custGeom>
            <a:solidFill>
              <a:srgbClr val="BB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87363" y="2840038"/>
              <a:ext cx="8167687" cy="1169989"/>
            </a:xfrm>
            <a:custGeom>
              <a:avLst/>
              <a:gdLst>
                <a:gd name="T0" fmla="*/ 397 w 2178"/>
                <a:gd name="T1" fmla="*/ 289 h 312"/>
                <a:gd name="T2" fmla="*/ 430 w 2178"/>
                <a:gd name="T3" fmla="*/ 253 h 312"/>
                <a:gd name="T4" fmla="*/ 493 w 2178"/>
                <a:gd name="T5" fmla="*/ 256 h 312"/>
                <a:gd name="T6" fmla="*/ 535 w 2178"/>
                <a:gd name="T7" fmla="*/ 289 h 312"/>
                <a:gd name="T8" fmla="*/ 608 w 2178"/>
                <a:gd name="T9" fmla="*/ 282 h 312"/>
                <a:gd name="T10" fmla="*/ 678 w 2178"/>
                <a:gd name="T11" fmla="*/ 225 h 312"/>
                <a:gd name="T12" fmla="*/ 660 w 2178"/>
                <a:gd name="T13" fmla="*/ 232 h 312"/>
                <a:gd name="T14" fmla="*/ 761 w 2178"/>
                <a:gd name="T15" fmla="*/ 289 h 312"/>
                <a:gd name="T16" fmla="*/ 814 w 2178"/>
                <a:gd name="T17" fmla="*/ 282 h 312"/>
                <a:gd name="T18" fmla="*/ 858 w 2178"/>
                <a:gd name="T19" fmla="*/ 225 h 312"/>
                <a:gd name="T20" fmla="*/ 923 w 2178"/>
                <a:gd name="T21" fmla="*/ 289 h 312"/>
                <a:gd name="T22" fmla="*/ 941 w 2178"/>
                <a:gd name="T23" fmla="*/ 257 h 312"/>
                <a:gd name="T24" fmla="*/ 1061 w 2178"/>
                <a:gd name="T25" fmla="*/ 289 h 312"/>
                <a:gd name="T26" fmla="*/ 1103 w 2178"/>
                <a:gd name="T27" fmla="*/ 282 h 312"/>
                <a:gd name="T28" fmla="*/ 1182 w 2178"/>
                <a:gd name="T29" fmla="*/ 277 h 312"/>
                <a:gd name="T30" fmla="*/ 1197 w 2178"/>
                <a:gd name="T31" fmla="*/ 232 h 312"/>
                <a:gd name="T32" fmla="*/ 1287 w 2178"/>
                <a:gd name="T33" fmla="*/ 289 h 312"/>
                <a:gd name="T34" fmla="*/ 1351 w 2178"/>
                <a:gd name="T35" fmla="*/ 225 h 312"/>
                <a:gd name="T36" fmla="*/ 1367 w 2178"/>
                <a:gd name="T37" fmla="*/ 232 h 312"/>
                <a:gd name="T38" fmla="*/ 1433 w 2178"/>
                <a:gd name="T39" fmla="*/ 264 h 312"/>
                <a:gd name="T40" fmla="*/ 59 w 2178"/>
                <a:gd name="T41" fmla="*/ 0 h 312"/>
                <a:gd name="T42" fmla="*/ 61 w 2178"/>
                <a:gd name="T43" fmla="*/ 307 h 312"/>
                <a:gd name="T44" fmla="*/ 150 w 2178"/>
                <a:gd name="T45" fmla="*/ 238 h 312"/>
                <a:gd name="T46" fmla="*/ 147 w 2178"/>
                <a:gd name="T47" fmla="*/ 80 h 312"/>
                <a:gd name="T48" fmla="*/ 1628 w 2178"/>
                <a:gd name="T49" fmla="*/ 46 h 312"/>
                <a:gd name="T50" fmla="*/ 1515 w 2178"/>
                <a:gd name="T51" fmla="*/ 107 h 312"/>
                <a:gd name="T52" fmla="*/ 1518 w 2178"/>
                <a:gd name="T53" fmla="*/ 39 h 312"/>
                <a:gd name="T54" fmla="*/ 1438 w 2178"/>
                <a:gd name="T55" fmla="*/ 117 h 312"/>
                <a:gd name="T56" fmla="*/ 1441 w 2178"/>
                <a:gd name="T57" fmla="*/ 107 h 312"/>
                <a:gd name="T58" fmla="*/ 1713 w 2178"/>
                <a:gd name="T59" fmla="*/ 48 h 312"/>
                <a:gd name="T60" fmla="*/ 1634 w 2178"/>
                <a:gd name="T61" fmla="*/ 46 h 312"/>
                <a:gd name="T62" fmla="*/ 1974 w 2178"/>
                <a:gd name="T63" fmla="*/ 107 h 312"/>
                <a:gd name="T64" fmla="*/ 2066 w 2178"/>
                <a:gd name="T65" fmla="*/ 109 h 312"/>
                <a:gd name="T66" fmla="*/ 2122 w 2178"/>
                <a:gd name="T67" fmla="*/ 82 h 312"/>
                <a:gd name="T68" fmla="*/ 2138 w 2178"/>
                <a:gd name="T69" fmla="*/ 39 h 312"/>
                <a:gd name="T70" fmla="*/ 1953 w 2178"/>
                <a:gd name="T71" fmla="*/ 94 h 312"/>
                <a:gd name="T72" fmla="*/ 1920 w 2178"/>
                <a:gd name="T73" fmla="*/ 107 h 312"/>
                <a:gd name="T74" fmla="*/ 1855 w 2178"/>
                <a:gd name="T75" fmla="*/ 98 h 312"/>
                <a:gd name="T76" fmla="*/ 1819 w 2178"/>
                <a:gd name="T77" fmla="*/ 48 h 312"/>
                <a:gd name="T78" fmla="*/ 1839 w 2178"/>
                <a:gd name="T79" fmla="*/ 73 h 312"/>
                <a:gd name="T80" fmla="*/ 1784 w 2178"/>
                <a:gd name="T81" fmla="*/ 61 h 312"/>
                <a:gd name="T82" fmla="*/ 1741 w 2178"/>
                <a:gd name="T83" fmla="*/ 48 h 312"/>
                <a:gd name="T84" fmla="*/ 1323 w 2178"/>
                <a:gd name="T85" fmla="*/ 80 h 312"/>
                <a:gd name="T86" fmla="*/ 1342 w 2178"/>
                <a:gd name="T87" fmla="*/ 39 h 312"/>
                <a:gd name="T88" fmla="*/ 557 w 2178"/>
                <a:gd name="T89" fmla="*/ 106 h 312"/>
                <a:gd name="T90" fmla="*/ 557 w 2178"/>
                <a:gd name="T91" fmla="*/ 49 h 312"/>
                <a:gd name="T92" fmla="*/ 566 w 2178"/>
                <a:gd name="T93" fmla="*/ 95 h 312"/>
                <a:gd name="T94" fmla="*/ 327 w 2178"/>
                <a:gd name="T95" fmla="*/ 28 h 312"/>
                <a:gd name="T96" fmla="*/ 399 w 2178"/>
                <a:gd name="T97" fmla="*/ 40 h 312"/>
                <a:gd name="T98" fmla="*/ 757 w 2178"/>
                <a:gd name="T99" fmla="*/ 109 h 312"/>
                <a:gd name="T100" fmla="*/ 768 w 2178"/>
                <a:gd name="T101" fmla="*/ 71 h 312"/>
                <a:gd name="T102" fmla="*/ 750 w 2178"/>
                <a:gd name="T103" fmla="*/ 116 h 312"/>
                <a:gd name="T104" fmla="*/ 480 w 2178"/>
                <a:gd name="T105" fmla="*/ 107 h 312"/>
                <a:gd name="T106" fmla="*/ 445 w 2178"/>
                <a:gd name="T107" fmla="*/ 39 h 312"/>
                <a:gd name="T108" fmla="*/ 1226 w 2178"/>
                <a:gd name="T109" fmla="*/ 107 h 312"/>
                <a:gd name="T110" fmla="*/ 1200 w 2178"/>
                <a:gd name="T111" fmla="*/ 39 h 312"/>
                <a:gd name="T112" fmla="*/ 1093 w 2178"/>
                <a:gd name="T113" fmla="*/ 107 h 312"/>
                <a:gd name="T114" fmla="*/ 1147 w 2178"/>
                <a:gd name="T115" fmla="*/ 116 h 312"/>
                <a:gd name="T116" fmla="*/ 1168 w 2178"/>
                <a:gd name="T117" fmla="*/ 39 h 312"/>
                <a:gd name="T118" fmla="*/ 1011 w 2178"/>
                <a:gd name="T119" fmla="*/ 27 h 312"/>
                <a:gd name="T120" fmla="*/ 984 w 2178"/>
                <a:gd name="T121" fmla="*/ 91 h 312"/>
                <a:gd name="T122" fmla="*/ 806 w 2178"/>
                <a:gd name="T123" fmla="*/ 46 h 312"/>
                <a:gd name="T124" fmla="*/ 890 w 2178"/>
                <a:gd name="T125" fmla="*/ 1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8" h="312">
                  <a:moveTo>
                    <a:pt x="393" y="278"/>
                  </a:moveTo>
                  <a:cubicBezTo>
                    <a:pt x="378" y="225"/>
                    <a:pt x="378" y="225"/>
                    <a:pt x="378" y="225"/>
                  </a:cubicBezTo>
                  <a:cubicBezTo>
                    <a:pt x="371" y="225"/>
                    <a:pt x="371" y="225"/>
                    <a:pt x="371" y="225"/>
                  </a:cubicBezTo>
                  <a:cubicBezTo>
                    <a:pt x="357" y="278"/>
                    <a:pt x="357" y="278"/>
                    <a:pt x="357" y="278"/>
                  </a:cubicBezTo>
                  <a:cubicBezTo>
                    <a:pt x="343" y="225"/>
                    <a:pt x="343" y="225"/>
                    <a:pt x="343" y="225"/>
                  </a:cubicBezTo>
                  <a:cubicBezTo>
                    <a:pt x="334" y="225"/>
                    <a:pt x="334" y="225"/>
                    <a:pt x="334" y="225"/>
                  </a:cubicBezTo>
                  <a:cubicBezTo>
                    <a:pt x="352" y="289"/>
                    <a:pt x="352" y="289"/>
                    <a:pt x="352" y="289"/>
                  </a:cubicBezTo>
                  <a:cubicBezTo>
                    <a:pt x="361" y="289"/>
                    <a:pt x="361" y="289"/>
                    <a:pt x="361" y="289"/>
                  </a:cubicBezTo>
                  <a:cubicBezTo>
                    <a:pt x="375" y="237"/>
                    <a:pt x="375" y="237"/>
                    <a:pt x="375" y="237"/>
                  </a:cubicBezTo>
                  <a:cubicBezTo>
                    <a:pt x="389" y="289"/>
                    <a:pt x="389" y="289"/>
                    <a:pt x="389" y="289"/>
                  </a:cubicBezTo>
                  <a:cubicBezTo>
                    <a:pt x="397" y="289"/>
                    <a:pt x="397" y="289"/>
                    <a:pt x="397" y="289"/>
                  </a:cubicBezTo>
                  <a:cubicBezTo>
                    <a:pt x="416" y="225"/>
                    <a:pt x="416" y="225"/>
                    <a:pt x="416" y="225"/>
                  </a:cubicBezTo>
                  <a:cubicBezTo>
                    <a:pt x="407" y="225"/>
                    <a:pt x="407" y="225"/>
                    <a:pt x="407" y="225"/>
                  </a:cubicBezTo>
                  <a:lnTo>
                    <a:pt x="393" y="278"/>
                  </a:lnTo>
                  <a:close/>
                  <a:moveTo>
                    <a:pt x="422" y="289"/>
                  </a:moveTo>
                  <a:cubicBezTo>
                    <a:pt x="464" y="289"/>
                    <a:pt x="464" y="289"/>
                    <a:pt x="464" y="289"/>
                  </a:cubicBezTo>
                  <a:cubicBezTo>
                    <a:pt x="464" y="282"/>
                    <a:pt x="464" y="282"/>
                    <a:pt x="464" y="282"/>
                  </a:cubicBezTo>
                  <a:cubicBezTo>
                    <a:pt x="430" y="282"/>
                    <a:pt x="430" y="282"/>
                    <a:pt x="430" y="282"/>
                  </a:cubicBezTo>
                  <a:cubicBezTo>
                    <a:pt x="430" y="260"/>
                    <a:pt x="430" y="260"/>
                    <a:pt x="430" y="260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63" y="253"/>
                    <a:pt x="463" y="253"/>
                    <a:pt x="463" y="253"/>
                  </a:cubicBezTo>
                  <a:cubicBezTo>
                    <a:pt x="430" y="253"/>
                    <a:pt x="430" y="253"/>
                    <a:pt x="430" y="253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464" y="232"/>
                    <a:pt x="464" y="232"/>
                    <a:pt x="464" y="232"/>
                  </a:cubicBezTo>
                  <a:cubicBezTo>
                    <a:pt x="464" y="225"/>
                    <a:pt x="464" y="225"/>
                    <a:pt x="464" y="225"/>
                  </a:cubicBezTo>
                  <a:cubicBezTo>
                    <a:pt x="422" y="225"/>
                    <a:pt x="422" y="225"/>
                    <a:pt x="422" y="225"/>
                  </a:cubicBezTo>
                  <a:lnTo>
                    <a:pt x="422" y="289"/>
                  </a:lnTo>
                  <a:close/>
                  <a:moveTo>
                    <a:pt x="527" y="225"/>
                  </a:moveTo>
                  <a:cubicBezTo>
                    <a:pt x="517" y="225"/>
                    <a:pt x="517" y="225"/>
                    <a:pt x="517" y="225"/>
                  </a:cubicBezTo>
                  <a:cubicBezTo>
                    <a:pt x="498" y="251"/>
                    <a:pt x="498" y="251"/>
                    <a:pt x="498" y="251"/>
                  </a:cubicBezTo>
                  <a:cubicBezTo>
                    <a:pt x="479" y="225"/>
                    <a:pt x="479" y="225"/>
                    <a:pt x="479" y="225"/>
                  </a:cubicBezTo>
                  <a:cubicBezTo>
                    <a:pt x="470" y="225"/>
                    <a:pt x="470" y="225"/>
                    <a:pt x="470" y="225"/>
                  </a:cubicBezTo>
                  <a:cubicBezTo>
                    <a:pt x="493" y="256"/>
                    <a:pt x="493" y="256"/>
                    <a:pt x="493" y="256"/>
                  </a:cubicBezTo>
                  <a:cubicBezTo>
                    <a:pt x="468" y="289"/>
                    <a:pt x="468" y="289"/>
                    <a:pt x="468" y="289"/>
                  </a:cubicBezTo>
                  <a:cubicBezTo>
                    <a:pt x="478" y="289"/>
                    <a:pt x="478" y="289"/>
                    <a:pt x="478" y="289"/>
                  </a:cubicBezTo>
                  <a:cubicBezTo>
                    <a:pt x="498" y="262"/>
                    <a:pt x="498" y="262"/>
                    <a:pt x="498" y="262"/>
                  </a:cubicBezTo>
                  <a:cubicBezTo>
                    <a:pt x="519" y="289"/>
                    <a:pt x="519" y="289"/>
                    <a:pt x="519" y="289"/>
                  </a:cubicBezTo>
                  <a:cubicBezTo>
                    <a:pt x="528" y="289"/>
                    <a:pt x="528" y="289"/>
                    <a:pt x="528" y="289"/>
                  </a:cubicBezTo>
                  <a:cubicBezTo>
                    <a:pt x="503" y="256"/>
                    <a:pt x="503" y="256"/>
                    <a:pt x="503" y="256"/>
                  </a:cubicBezTo>
                  <a:lnTo>
                    <a:pt x="527" y="225"/>
                  </a:lnTo>
                  <a:close/>
                  <a:moveTo>
                    <a:pt x="580" y="275"/>
                  </a:moveTo>
                  <a:cubicBezTo>
                    <a:pt x="543" y="225"/>
                    <a:pt x="543" y="225"/>
                    <a:pt x="543" y="225"/>
                  </a:cubicBezTo>
                  <a:cubicBezTo>
                    <a:pt x="535" y="225"/>
                    <a:pt x="535" y="225"/>
                    <a:pt x="535" y="225"/>
                  </a:cubicBezTo>
                  <a:cubicBezTo>
                    <a:pt x="535" y="289"/>
                    <a:pt x="535" y="289"/>
                    <a:pt x="535" y="289"/>
                  </a:cubicBezTo>
                  <a:cubicBezTo>
                    <a:pt x="543" y="289"/>
                    <a:pt x="543" y="289"/>
                    <a:pt x="543" y="289"/>
                  </a:cubicBezTo>
                  <a:cubicBezTo>
                    <a:pt x="543" y="238"/>
                    <a:pt x="543" y="238"/>
                    <a:pt x="543" y="238"/>
                  </a:cubicBezTo>
                  <a:cubicBezTo>
                    <a:pt x="580" y="289"/>
                    <a:pt x="580" y="289"/>
                    <a:pt x="580" y="289"/>
                  </a:cubicBezTo>
                  <a:cubicBezTo>
                    <a:pt x="588" y="289"/>
                    <a:pt x="588" y="289"/>
                    <a:pt x="588" y="289"/>
                  </a:cubicBezTo>
                  <a:cubicBezTo>
                    <a:pt x="588" y="225"/>
                    <a:pt x="588" y="225"/>
                    <a:pt x="588" y="225"/>
                  </a:cubicBezTo>
                  <a:cubicBezTo>
                    <a:pt x="580" y="225"/>
                    <a:pt x="580" y="225"/>
                    <a:pt x="580" y="225"/>
                  </a:cubicBezTo>
                  <a:lnTo>
                    <a:pt x="580" y="275"/>
                  </a:lnTo>
                  <a:close/>
                  <a:moveTo>
                    <a:pt x="600" y="289"/>
                  </a:moveTo>
                  <a:cubicBezTo>
                    <a:pt x="642" y="289"/>
                    <a:pt x="642" y="289"/>
                    <a:pt x="642" y="289"/>
                  </a:cubicBezTo>
                  <a:cubicBezTo>
                    <a:pt x="642" y="282"/>
                    <a:pt x="642" y="282"/>
                    <a:pt x="642" y="282"/>
                  </a:cubicBezTo>
                  <a:cubicBezTo>
                    <a:pt x="608" y="282"/>
                    <a:pt x="608" y="282"/>
                    <a:pt x="608" y="282"/>
                  </a:cubicBezTo>
                  <a:cubicBezTo>
                    <a:pt x="608" y="260"/>
                    <a:pt x="608" y="260"/>
                    <a:pt x="608" y="260"/>
                  </a:cubicBezTo>
                  <a:cubicBezTo>
                    <a:pt x="641" y="260"/>
                    <a:pt x="641" y="260"/>
                    <a:pt x="641" y="260"/>
                  </a:cubicBezTo>
                  <a:cubicBezTo>
                    <a:pt x="641" y="253"/>
                    <a:pt x="641" y="253"/>
                    <a:pt x="641" y="253"/>
                  </a:cubicBezTo>
                  <a:cubicBezTo>
                    <a:pt x="608" y="253"/>
                    <a:pt x="608" y="253"/>
                    <a:pt x="608" y="253"/>
                  </a:cubicBezTo>
                  <a:cubicBezTo>
                    <a:pt x="608" y="232"/>
                    <a:pt x="608" y="232"/>
                    <a:pt x="608" y="232"/>
                  </a:cubicBezTo>
                  <a:cubicBezTo>
                    <a:pt x="642" y="232"/>
                    <a:pt x="642" y="232"/>
                    <a:pt x="642" y="232"/>
                  </a:cubicBezTo>
                  <a:cubicBezTo>
                    <a:pt x="642" y="225"/>
                    <a:pt x="642" y="225"/>
                    <a:pt x="642" y="225"/>
                  </a:cubicBezTo>
                  <a:cubicBezTo>
                    <a:pt x="600" y="225"/>
                    <a:pt x="600" y="225"/>
                    <a:pt x="600" y="225"/>
                  </a:cubicBezTo>
                  <a:lnTo>
                    <a:pt x="600" y="289"/>
                  </a:lnTo>
                  <a:close/>
                  <a:moveTo>
                    <a:pt x="698" y="244"/>
                  </a:moveTo>
                  <a:cubicBezTo>
                    <a:pt x="698" y="233"/>
                    <a:pt x="690" y="225"/>
                    <a:pt x="678" y="225"/>
                  </a:cubicBezTo>
                  <a:cubicBezTo>
                    <a:pt x="652" y="225"/>
                    <a:pt x="652" y="225"/>
                    <a:pt x="652" y="225"/>
                  </a:cubicBezTo>
                  <a:cubicBezTo>
                    <a:pt x="652" y="289"/>
                    <a:pt x="652" y="289"/>
                    <a:pt x="652" y="289"/>
                  </a:cubicBezTo>
                  <a:cubicBezTo>
                    <a:pt x="660" y="289"/>
                    <a:pt x="660" y="289"/>
                    <a:pt x="660" y="289"/>
                  </a:cubicBezTo>
                  <a:cubicBezTo>
                    <a:pt x="660" y="264"/>
                    <a:pt x="660" y="264"/>
                    <a:pt x="660" y="264"/>
                  </a:cubicBezTo>
                  <a:cubicBezTo>
                    <a:pt x="673" y="264"/>
                    <a:pt x="673" y="264"/>
                    <a:pt x="673" y="264"/>
                  </a:cubicBezTo>
                  <a:cubicBezTo>
                    <a:pt x="689" y="289"/>
                    <a:pt x="689" y="289"/>
                    <a:pt x="689" y="289"/>
                  </a:cubicBezTo>
                  <a:cubicBezTo>
                    <a:pt x="699" y="289"/>
                    <a:pt x="699" y="289"/>
                    <a:pt x="699" y="289"/>
                  </a:cubicBezTo>
                  <a:cubicBezTo>
                    <a:pt x="682" y="263"/>
                    <a:pt x="682" y="263"/>
                    <a:pt x="682" y="263"/>
                  </a:cubicBezTo>
                  <a:cubicBezTo>
                    <a:pt x="690" y="262"/>
                    <a:pt x="698" y="256"/>
                    <a:pt x="698" y="244"/>
                  </a:cubicBezTo>
                  <a:close/>
                  <a:moveTo>
                    <a:pt x="660" y="257"/>
                  </a:moveTo>
                  <a:cubicBezTo>
                    <a:pt x="660" y="232"/>
                    <a:pt x="660" y="232"/>
                    <a:pt x="660" y="232"/>
                  </a:cubicBezTo>
                  <a:cubicBezTo>
                    <a:pt x="677" y="232"/>
                    <a:pt x="677" y="232"/>
                    <a:pt x="677" y="232"/>
                  </a:cubicBezTo>
                  <a:cubicBezTo>
                    <a:pt x="685" y="232"/>
                    <a:pt x="690" y="237"/>
                    <a:pt x="690" y="244"/>
                  </a:cubicBezTo>
                  <a:cubicBezTo>
                    <a:pt x="690" y="252"/>
                    <a:pt x="685" y="257"/>
                    <a:pt x="677" y="257"/>
                  </a:cubicBezTo>
                  <a:lnTo>
                    <a:pt x="660" y="257"/>
                  </a:lnTo>
                  <a:close/>
                  <a:moveTo>
                    <a:pt x="762" y="274"/>
                  </a:moveTo>
                  <a:cubicBezTo>
                    <a:pt x="742" y="225"/>
                    <a:pt x="742" y="225"/>
                    <a:pt x="742" y="225"/>
                  </a:cubicBezTo>
                  <a:cubicBezTo>
                    <a:pt x="731" y="225"/>
                    <a:pt x="731" y="225"/>
                    <a:pt x="731" y="225"/>
                  </a:cubicBezTo>
                  <a:cubicBezTo>
                    <a:pt x="731" y="289"/>
                    <a:pt x="731" y="289"/>
                    <a:pt x="731" y="289"/>
                  </a:cubicBezTo>
                  <a:cubicBezTo>
                    <a:pt x="739" y="289"/>
                    <a:pt x="739" y="289"/>
                    <a:pt x="739" y="289"/>
                  </a:cubicBezTo>
                  <a:cubicBezTo>
                    <a:pt x="739" y="235"/>
                    <a:pt x="739" y="235"/>
                    <a:pt x="739" y="235"/>
                  </a:cubicBezTo>
                  <a:cubicBezTo>
                    <a:pt x="761" y="289"/>
                    <a:pt x="761" y="289"/>
                    <a:pt x="761" y="289"/>
                  </a:cubicBezTo>
                  <a:cubicBezTo>
                    <a:pt x="764" y="289"/>
                    <a:pt x="764" y="289"/>
                    <a:pt x="764" y="289"/>
                  </a:cubicBezTo>
                  <a:cubicBezTo>
                    <a:pt x="786" y="235"/>
                    <a:pt x="786" y="235"/>
                    <a:pt x="786" y="235"/>
                  </a:cubicBezTo>
                  <a:cubicBezTo>
                    <a:pt x="786" y="289"/>
                    <a:pt x="786" y="289"/>
                    <a:pt x="786" y="289"/>
                  </a:cubicBezTo>
                  <a:cubicBezTo>
                    <a:pt x="794" y="289"/>
                    <a:pt x="794" y="289"/>
                    <a:pt x="794" y="289"/>
                  </a:cubicBezTo>
                  <a:cubicBezTo>
                    <a:pt x="794" y="225"/>
                    <a:pt x="794" y="225"/>
                    <a:pt x="794" y="225"/>
                  </a:cubicBezTo>
                  <a:cubicBezTo>
                    <a:pt x="782" y="225"/>
                    <a:pt x="782" y="225"/>
                    <a:pt x="782" y="225"/>
                  </a:cubicBezTo>
                  <a:lnTo>
                    <a:pt x="762" y="274"/>
                  </a:lnTo>
                  <a:close/>
                  <a:moveTo>
                    <a:pt x="806" y="289"/>
                  </a:moveTo>
                  <a:cubicBezTo>
                    <a:pt x="848" y="289"/>
                    <a:pt x="848" y="289"/>
                    <a:pt x="848" y="289"/>
                  </a:cubicBezTo>
                  <a:cubicBezTo>
                    <a:pt x="848" y="282"/>
                    <a:pt x="848" y="282"/>
                    <a:pt x="848" y="282"/>
                  </a:cubicBezTo>
                  <a:cubicBezTo>
                    <a:pt x="814" y="282"/>
                    <a:pt x="814" y="282"/>
                    <a:pt x="814" y="282"/>
                  </a:cubicBezTo>
                  <a:cubicBezTo>
                    <a:pt x="814" y="260"/>
                    <a:pt x="814" y="260"/>
                    <a:pt x="814" y="260"/>
                  </a:cubicBezTo>
                  <a:cubicBezTo>
                    <a:pt x="847" y="260"/>
                    <a:pt x="847" y="260"/>
                    <a:pt x="847" y="260"/>
                  </a:cubicBezTo>
                  <a:cubicBezTo>
                    <a:pt x="847" y="253"/>
                    <a:pt x="847" y="253"/>
                    <a:pt x="847" y="253"/>
                  </a:cubicBezTo>
                  <a:cubicBezTo>
                    <a:pt x="814" y="253"/>
                    <a:pt x="814" y="253"/>
                    <a:pt x="814" y="253"/>
                  </a:cubicBezTo>
                  <a:cubicBezTo>
                    <a:pt x="814" y="232"/>
                    <a:pt x="814" y="232"/>
                    <a:pt x="814" y="232"/>
                  </a:cubicBezTo>
                  <a:cubicBezTo>
                    <a:pt x="848" y="232"/>
                    <a:pt x="848" y="232"/>
                    <a:pt x="848" y="232"/>
                  </a:cubicBezTo>
                  <a:cubicBezTo>
                    <a:pt x="848" y="225"/>
                    <a:pt x="848" y="225"/>
                    <a:pt x="848" y="225"/>
                  </a:cubicBezTo>
                  <a:cubicBezTo>
                    <a:pt x="806" y="225"/>
                    <a:pt x="806" y="225"/>
                    <a:pt x="806" y="225"/>
                  </a:cubicBezTo>
                  <a:lnTo>
                    <a:pt x="806" y="289"/>
                  </a:lnTo>
                  <a:close/>
                  <a:moveTo>
                    <a:pt x="880" y="225"/>
                  </a:moveTo>
                  <a:cubicBezTo>
                    <a:pt x="858" y="225"/>
                    <a:pt x="858" y="225"/>
                    <a:pt x="858" y="225"/>
                  </a:cubicBezTo>
                  <a:cubicBezTo>
                    <a:pt x="858" y="289"/>
                    <a:pt x="858" y="289"/>
                    <a:pt x="858" y="289"/>
                  </a:cubicBezTo>
                  <a:cubicBezTo>
                    <a:pt x="880" y="289"/>
                    <a:pt x="880" y="289"/>
                    <a:pt x="880" y="289"/>
                  </a:cubicBezTo>
                  <a:cubicBezTo>
                    <a:pt x="900" y="289"/>
                    <a:pt x="913" y="275"/>
                    <a:pt x="913" y="257"/>
                  </a:cubicBezTo>
                  <a:cubicBezTo>
                    <a:pt x="913" y="239"/>
                    <a:pt x="900" y="225"/>
                    <a:pt x="880" y="225"/>
                  </a:cubicBezTo>
                  <a:close/>
                  <a:moveTo>
                    <a:pt x="880" y="282"/>
                  </a:moveTo>
                  <a:cubicBezTo>
                    <a:pt x="866" y="282"/>
                    <a:pt x="866" y="282"/>
                    <a:pt x="866" y="282"/>
                  </a:cubicBezTo>
                  <a:cubicBezTo>
                    <a:pt x="866" y="232"/>
                    <a:pt x="866" y="232"/>
                    <a:pt x="866" y="232"/>
                  </a:cubicBezTo>
                  <a:cubicBezTo>
                    <a:pt x="880" y="232"/>
                    <a:pt x="880" y="232"/>
                    <a:pt x="880" y="232"/>
                  </a:cubicBezTo>
                  <a:cubicBezTo>
                    <a:pt x="896" y="232"/>
                    <a:pt x="905" y="243"/>
                    <a:pt x="905" y="257"/>
                  </a:cubicBezTo>
                  <a:cubicBezTo>
                    <a:pt x="905" y="271"/>
                    <a:pt x="896" y="282"/>
                    <a:pt x="880" y="282"/>
                  </a:cubicBezTo>
                  <a:close/>
                  <a:moveTo>
                    <a:pt x="923" y="289"/>
                  </a:moveTo>
                  <a:cubicBezTo>
                    <a:pt x="931" y="289"/>
                    <a:pt x="931" y="289"/>
                    <a:pt x="931" y="289"/>
                  </a:cubicBezTo>
                  <a:cubicBezTo>
                    <a:pt x="931" y="225"/>
                    <a:pt x="931" y="225"/>
                    <a:pt x="931" y="225"/>
                  </a:cubicBezTo>
                  <a:cubicBezTo>
                    <a:pt x="923" y="225"/>
                    <a:pt x="923" y="225"/>
                    <a:pt x="923" y="225"/>
                  </a:cubicBezTo>
                  <a:lnTo>
                    <a:pt x="923" y="289"/>
                  </a:lnTo>
                  <a:close/>
                  <a:moveTo>
                    <a:pt x="974" y="283"/>
                  </a:moveTo>
                  <a:cubicBezTo>
                    <a:pt x="960" y="283"/>
                    <a:pt x="949" y="272"/>
                    <a:pt x="949" y="257"/>
                  </a:cubicBezTo>
                  <a:cubicBezTo>
                    <a:pt x="949" y="242"/>
                    <a:pt x="960" y="231"/>
                    <a:pt x="974" y="231"/>
                  </a:cubicBezTo>
                  <a:cubicBezTo>
                    <a:pt x="981" y="231"/>
                    <a:pt x="988" y="235"/>
                    <a:pt x="992" y="240"/>
                  </a:cubicBezTo>
                  <a:cubicBezTo>
                    <a:pt x="998" y="237"/>
                    <a:pt x="998" y="237"/>
                    <a:pt x="998" y="237"/>
                  </a:cubicBezTo>
                  <a:cubicBezTo>
                    <a:pt x="993" y="229"/>
                    <a:pt x="985" y="224"/>
                    <a:pt x="974" y="224"/>
                  </a:cubicBezTo>
                  <a:cubicBezTo>
                    <a:pt x="956" y="224"/>
                    <a:pt x="941" y="237"/>
                    <a:pt x="941" y="257"/>
                  </a:cubicBezTo>
                  <a:cubicBezTo>
                    <a:pt x="941" y="277"/>
                    <a:pt x="956" y="290"/>
                    <a:pt x="974" y="290"/>
                  </a:cubicBezTo>
                  <a:cubicBezTo>
                    <a:pt x="985" y="290"/>
                    <a:pt x="993" y="285"/>
                    <a:pt x="998" y="277"/>
                  </a:cubicBezTo>
                  <a:cubicBezTo>
                    <a:pt x="992" y="274"/>
                    <a:pt x="992" y="274"/>
                    <a:pt x="992" y="274"/>
                  </a:cubicBezTo>
                  <a:cubicBezTo>
                    <a:pt x="988" y="279"/>
                    <a:pt x="981" y="283"/>
                    <a:pt x="974" y="283"/>
                  </a:cubicBezTo>
                  <a:close/>
                  <a:moveTo>
                    <a:pt x="1025" y="225"/>
                  </a:moveTo>
                  <a:cubicBezTo>
                    <a:pt x="999" y="289"/>
                    <a:pt x="999" y="289"/>
                    <a:pt x="999" y="289"/>
                  </a:cubicBezTo>
                  <a:cubicBezTo>
                    <a:pt x="1008" y="289"/>
                    <a:pt x="1008" y="289"/>
                    <a:pt x="1008" y="289"/>
                  </a:cubicBezTo>
                  <a:cubicBezTo>
                    <a:pt x="1014" y="275"/>
                    <a:pt x="1014" y="275"/>
                    <a:pt x="1014" y="275"/>
                  </a:cubicBezTo>
                  <a:cubicBezTo>
                    <a:pt x="1046" y="275"/>
                    <a:pt x="1046" y="275"/>
                    <a:pt x="1046" y="275"/>
                  </a:cubicBezTo>
                  <a:cubicBezTo>
                    <a:pt x="1052" y="289"/>
                    <a:pt x="1052" y="289"/>
                    <a:pt x="1052" y="289"/>
                  </a:cubicBezTo>
                  <a:cubicBezTo>
                    <a:pt x="1061" y="289"/>
                    <a:pt x="1061" y="289"/>
                    <a:pt x="1061" y="289"/>
                  </a:cubicBezTo>
                  <a:cubicBezTo>
                    <a:pt x="1035" y="225"/>
                    <a:pt x="1035" y="225"/>
                    <a:pt x="1035" y="225"/>
                  </a:cubicBezTo>
                  <a:lnTo>
                    <a:pt x="1025" y="225"/>
                  </a:lnTo>
                  <a:close/>
                  <a:moveTo>
                    <a:pt x="1017" y="268"/>
                  </a:moveTo>
                  <a:cubicBezTo>
                    <a:pt x="1030" y="233"/>
                    <a:pt x="1030" y="233"/>
                    <a:pt x="1030" y="233"/>
                  </a:cubicBezTo>
                  <a:cubicBezTo>
                    <a:pt x="1044" y="268"/>
                    <a:pt x="1044" y="268"/>
                    <a:pt x="1044" y="268"/>
                  </a:cubicBezTo>
                  <a:lnTo>
                    <a:pt x="1017" y="268"/>
                  </a:lnTo>
                  <a:close/>
                  <a:moveTo>
                    <a:pt x="1074" y="225"/>
                  </a:moveTo>
                  <a:cubicBezTo>
                    <a:pt x="1066" y="225"/>
                    <a:pt x="1066" y="225"/>
                    <a:pt x="1066" y="225"/>
                  </a:cubicBezTo>
                  <a:cubicBezTo>
                    <a:pt x="1066" y="289"/>
                    <a:pt x="1066" y="289"/>
                    <a:pt x="1066" y="289"/>
                  </a:cubicBezTo>
                  <a:cubicBezTo>
                    <a:pt x="1103" y="289"/>
                    <a:pt x="1103" y="289"/>
                    <a:pt x="1103" y="289"/>
                  </a:cubicBezTo>
                  <a:cubicBezTo>
                    <a:pt x="1103" y="282"/>
                    <a:pt x="1103" y="282"/>
                    <a:pt x="1103" y="282"/>
                  </a:cubicBezTo>
                  <a:cubicBezTo>
                    <a:pt x="1074" y="282"/>
                    <a:pt x="1074" y="282"/>
                    <a:pt x="1074" y="282"/>
                  </a:cubicBezTo>
                  <a:lnTo>
                    <a:pt x="1074" y="225"/>
                  </a:lnTo>
                  <a:close/>
                  <a:moveTo>
                    <a:pt x="1157" y="283"/>
                  </a:moveTo>
                  <a:cubicBezTo>
                    <a:pt x="1143" y="283"/>
                    <a:pt x="1133" y="272"/>
                    <a:pt x="1133" y="257"/>
                  </a:cubicBezTo>
                  <a:cubicBezTo>
                    <a:pt x="1133" y="242"/>
                    <a:pt x="1143" y="231"/>
                    <a:pt x="1157" y="231"/>
                  </a:cubicBezTo>
                  <a:cubicBezTo>
                    <a:pt x="1165" y="231"/>
                    <a:pt x="1171" y="235"/>
                    <a:pt x="1175" y="240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76" y="229"/>
                    <a:pt x="1169" y="224"/>
                    <a:pt x="1157" y="224"/>
                  </a:cubicBezTo>
                  <a:cubicBezTo>
                    <a:pt x="1139" y="224"/>
                    <a:pt x="1124" y="237"/>
                    <a:pt x="1124" y="257"/>
                  </a:cubicBezTo>
                  <a:cubicBezTo>
                    <a:pt x="1124" y="277"/>
                    <a:pt x="1139" y="290"/>
                    <a:pt x="1157" y="290"/>
                  </a:cubicBezTo>
                  <a:cubicBezTo>
                    <a:pt x="1169" y="290"/>
                    <a:pt x="1176" y="285"/>
                    <a:pt x="1182" y="277"/>
                  </a:cubicBezTo>
                  <a:cubicBezTo>
                    <a:pt x="1175" y="274"/>
                    <a:pt x="1175" y="274"/>
                    <a:pt x="1175" y="274"/>
                  </a:cubicBezTo>
                  <a:cubicBezTo>
                    <a:pt x="1171" y="279"/>
                    <a:pt x="1165" y="283"/>
                    <a:pt x="1157" y="283"/>
                  </a:cubicBezTo>
                  <a:close/>
                  <a:moveTo>
                    <a:pt x="1189" y="289"/>
                  </a:moveTo>
                  <a:cubicBezTo>
                    <a:pt x="1231" y="289"/>
                    <a:pt x="1231" y="289"/>
                    <a:pt x="1231" y="289"/>
                  </a:cubicBezTo>
                  <a:cubicBezTo>
                    <a:pt x="1231" y="282"/>
                    <a:pt x="1231" y="282"/>
                    <a:pt x="1231" y="282"/>
                  </a:cubicBezTo>
                  <a:cubicBezTo>
                    <a:pt x="1197" y="282"/>
                    <a:pt x="1197" y="282"/>
                    <a:pt x="1197" y="282"/>
                  </a:cubicBezTo>
                  <a:cubicBezTo>
                    <a:pt x="1197" y="260"/>
                    <a:pt x="1197" y="260"/>
                    <a:pt x="1197" y="260"/>
                  </a:cubicBezTo>
                  <a:cubicBezTo>
                    <a:pt x="1231" y="260"/>
                    <a:pt x="1231" y="260"/>
                    <a:pt x="1231" y="260"/>
                  </a:cubicBezTo>
                  <a:cubicBezTo>
                    <a:pt x="1231" y="253"/>
                    <a:pt x="1231" y="253"/>
                    <a:pt x="1231" y="253"/>
                  </a:cubicBezTo>
                  <a:cubicBezTo>
                    <a:pt x="1197" y="253"/>
                    <a:pt x="1197" y="253"/>
                    <a:pt x="1197" y="253"/>
                  </a:cubicBezTo>
                  <a:cubicBezTo>
                    <a:pt x="1197" y="232"/>
                    <a:pt x="1197" y="232"/>
                    <a:pt x="1197" y="232"/>
                  </a:cubicBezTo>
                  <a:cubicBezTo>
                    <a:pt x="1231" y="232"/>
                    <a:pt x="1231" y="232"/>
                    <a:pt x="1231" y="232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189" y="225"/>
                    <a:pt x="1189" y="225"/>
                    <a:pt x="1189" y="225"/>
                  </a:cubicBezTo>
                  <a:lnTo>
                    <a:pt x="1189" y="289"/>
                  </a:lnTo>
                  <a:close/>
                  <a:moveTo>
                    <a:pt x="1287" y="275"/>
                  </a:moveTo>
                  <a:cubicBezTo>
                    <a:pt x="1250" y="225"/>
                    <a:pt x="1250" y="225"/>
                    <a:pt x="1250" y="225"/>
                  </a:cubicBezTo>
                  <a:cubicBezTo>
                    <a:pt x="1242" y="225"/>
                    <a:pt x="1242" y="225"/>
                    <a:pt x="1242" y="225"/>
                  </a:cubicBezTo>
                  <a:cubicBezTo>
                    <a:pt x="1242" y="289"/>
                    <a:pt x="1242" y="289"/>
                    <a:pt x="1242" y="289"/>
                  </a:cubicBezTo>
                  <a:cubicBezTo>
                    <a:pt x="1250" y="289"/>
                    <a:pt x="1250" y="289"/>
                    <a:pt x="1250" y="289"/>
                  </a:cubicBezTo>
                  <a:cubicBezTo>
                    <a:pt x="1250" y="238"/>
                    <a:pt x="1250" y="238"/>
                    <a:pt x="1250" y="238"/>
                  </a:cubicBezTo>
                  <a:cubicBezTo>
                    <a:pt x="1287" y="289"/>
                    <a:pt x="1287" y="289"/>
                    <a:pt x="1287" y="289"/>
                  </a:cubicBezTo>
                  <a:cubicBezTo>
                    <a:pt x="1295" y="289"/>
                    <a:pt x="1295" y="289"/>
                    <a:pt x="1295" y="289"/>
                  </a:cubicBezTo>
                  <a:cubicBezTo>
                    <a:pt x="1295" y="225"/>
                    <a:pt x="1295" y="225"/>
                    <a:pt x="1295" y="225"/>
                  </a:cubicBezTo>
                  <a:cubicBezTo>
                    <a:pt x="1287" y="225"/>
                    <a:pt x="1287" y="225"/>
                    <a:pt x="1287" y="225"/>
                  </a:cubicBezTo>
                  <a:lnTo>
                    <a:pt x="1287" y="275"/>
                  </a:lnTo>
                  <a:close/>
                  <a:moveTo>
                    <a:pt x="1303" y="232"/>
                  </a:moveTo>
                  <a:cubicBezTo>
                    <a:pt x="1323" y="232"/>
                    <a:pt x="1323" y="232"/>
                    <a:pt x="1323" y="232"/>
                  </a:cubicBezTo>
                  <a:cubicBezTo>
                    <a:pt x="1323" y="289"/>
                    <a:pt x="1323" y="289"/>
                    <a:pt x="1323" y="289"/>
                  </a:cubicBezTo>
                  <a:cubicBezTo>
                    <a:pt x="1331" y="289"/>
                    <a:pt x="1331" y="289"/>
                    <a:pt x="1331" y="289"/>
                  </a:cubicBezTo>
                  <a:cubicBezTo>
                    <a:pt x="1331" y="232"/>
                    <a:pt x="1331" y="232"/>
                    <a:pt x="1331" y="232"/>
                  </a:cubicBezTo>
                  <a:cubicBezTo>
                    <a:pt x="1351" y="232"/>
                    <a:pt x="1351" y="232"/>
                    <a:pt x="1351" y="232"/>
                  </a:cubicBezTo>
                  <a:cubicBezTo>
                    <a:pt x="1351" y="225"/>
                    <a:pt x="1351" y="225"/>
                    <a:pt x="1351" y="225"/>
                  </a:cubicBezTo>
                  <a:cubicBezTo>
                    <a:pt x="1303" y="225"/>
                    <a:pt x="1303" y="225"/>
                    <a:pt x="1303" y="225"/>
                  </a:cubicBezTo>
                  <a:lnTo>
                    <a:pt x="1303" y="232"/>
                  </a:lnTo>
                  <a:close/>
                  <a:moveTo>
                    <a:pt x="1360" y="289"/>
                  </a:moveTo>
                  <a:cubicBezTo>
                    <a:pt x="1401" y="289"/>
                    <a:pt x="1401" y="289"/>
                    <a:pt x="1401" y="289"/>
                  </a:cubicBezTo>
                  <a:cubicBezTo>
                    <a:pt x="1401" y="282"/>
                    <a:pt x="1401" y="282"/>
                    <a:pt x="1401" y="282"/>
                  </a:cubicBezTo>
                  <a:cubicBezTo>
                    <a:pt x="1367" y="282"/>
                    <a:pt x="1367" y="282"/>
                    <a:pt x="1367" y="282"/>
                  </a:cubicBezTo>
                  <a:cubicBezTo>
                    <a:pt x="1367" y="260"/>
                    <a:pt x="1367" y="260"/>
                    <a:pt x="1367" y="260"/>
                  </a:cubicBezTo>
                  <a:cubicBezTo>
                    <a:pt x="1401" y="260"/>
                    <a:pt x="1401" y="260"/>
                    <a:pt x="1401" y="260"/>
                  </a:cubicBezTo>
                  <a:cubicBezTo>
                    <a:pt x="1401" y="253"/>
                    <a:pt x="1401" y="253"/>
                    <a:pt x="1401" y="253"/>
                  </a:cubicBezTo>
                  <a:cubicBezTo>
                    <a:pt x="1367" y="253"/>
                    <a:pt x="1367" y="253"/>
                    <a:pt x="1367" y="253"/>
                  </a:cubicBezTo>
                  <a:cubicBezTo>
                    <a:pt x="1367" y="232"/>
                    <a:pt x="1367" y="232"/>
                    <a:pt x="1367" y="232"/>
                  </a:cubicBezTo>
                  <a:cubicBezTo>
                    <a:pt x="1401" y="232"/>
                    <a:pt x="1401" y="232"/>
                    <a:pt x="1401" y="232"/>
                  </a:cubicBezTo>
                  <a:cubicBezTo>
                    <a:pt x="1401" y="225"/>
                    <a:pt x="1401" y="225"/>
                    <a:pt x="1401" y="225"/>
                  </a:cubicBezTo>
                  <a:cubicBezTo>
                    <a:pt x="1360" y="225"/>
                    <a:pt x="1360" y="225"/>
                    <a:pt x="1360" y="225"/>
                  </a:cubicBezTo>
                  <a:lnTo>
                    <a:pt x="1360" y="289"/>
                  </a:lnTo>
                  <a:close/>
                  <a:moveTo>
                    <a:pt x="1458" y="244"/>
                  </a:moveTo>
                  <a:cubicBezTo>
                    <a:pt x="1458" y="233"/>
                    <a:pt x="1449" y="225"/>
                    <a:pt x="1437" y="225"/>
                  </a:cubicBezTo>
                  <a:cubicBezTo>
                    <a:pt x="1412" y="225"/>
                    <a:pt x="1412" y="225"/>
                    <a:pt x="1412" y="225"/>
                  </a:cubicBezTo>
                  <a:cubicBezTo>
                    <a:pt x="1412" y="289"/>
                    <a:pt x="1412" y="289"/>
                    <a:pt x="1412" y="289"/>
                  </a:cubicBezTo>
                  <a:cubicBezTo>
                    <a:pt x="1420" y="289"/>
                    <a:pt x="1420" y="289"/>
                    <a:pt x="1420" y="289"/>
                  </a:cubicBezTo>
                  <a:cubicBezTo>
                    <a:pt x="1420" y="264"/>
                    <a:pt x="1420" y="264"/>
                    <a:pt x="1420" y="264"/>
                  </a:cubicBezTo>
                  <a:cubicBezTo>
                    <a:pt x="1433" y="264"/>
                    <a:pt x="1433" y="264"/>
                    <a:pt x="1433" y="264"/>
                  </a:cubicBezTo>
                  <a:cubicBezTo>
                    <a:pt x="1449" y="289"/>
                    <a:pt x="1449" y="289"/>
                    <a:pt x="1449" y="289"/>
                  </a:cubicBezTo>
                  <a:cubicBezTo>
                    <a:pt x="1458" y="289"/>
                    <a:pt x="1458" y="289"/>
                    <a:pt x="1458" y="289"/>
                  </a:cubicBezTo>
                  <a:cubicBezTo>
                    <a:pt x="1441" y="263"/>
                    <a:pt x="1441" y="263"/>
                    <a:pt x="1441" y="263"/>
                  </a:cubicBezTo>
                  <a:cubicBezTo>
                    <a:pt x="1450" y="262"/>
                    <a:pt x="1458" y="256"/>
                    <a:pt x="1458" y="244"/>
                  </a:cubicBezTo>
                  <a:close/>
                  <a:moveTo>
                    <a:pt x="1420" y="257"/>
                  </a:moveTo>
                  <a:cubicBezTo>
                    <a:pt x="1420" y="232"/>
                    <a:pt x="1420" y="232"/>
                    <a:pt x="1420" y="232"/>
                  </a:cubicBezTo>
                  <a:cubicBezTo>
                    <a:pt x="1437" y="232"/>
                    <a:pt x="1437" y="232"/>
                    <a:pt x="1437" y="232"/>
                  </a:cubicBezTo>
                  <a:cubicBezTo>
                    <a:pt x="1444" y="232"/>
                    <a:pt x="1449" y="237"/>
                    <a:pt x="1449" y="244"/>
                  </a:cubicBezTo>
                  <a:cubicBezTo>
                    <a:pt x="1449" y="252"/>
                    <a:pt x="1444" y="257"/>
                    <a:pt x="1437" y="257"/>
                  </a:cubicBezTo>
                  <a:lnTo>
                    <a:pt x="1420" y="257"/>
                  </a:lnTo>
                  <a:close/>
                  <a:moveTo>
                    <a:pt x="59" y="0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58" y="312"/>
                    <a:pt x="58" y="312"/>
                    <a:pt x="58" y="312"/>
                  </a:cubicBezTo>
                  <a:cubicBezTo>
                    <a:pt x="180" y="312"/>
                    <a:pt x="180" y="312"/>
                    <a:pt x="180" y="312"/>
                  </a:cubicBezTo>
                  <a:cubicBezTo>
                    <a:pt x="239" y="253"/>
                    <a:pt x="239" y="253"/>
                    <a:pt x="239" y="25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180" y="0"/>
                    <a:pt x="180" y="0"/>
                    <a:pt x="180" y="0"/>
                  </a:cubicBezTo>
                  <a:lnTo>
                    <a:pt x="59" y="0"/>
                  </a:lnTo>
                  <a:close/>
                  <a:moveTo>
                    <a:pt x="233" y="251"/>
                  </a:moveTo>
                  <a:cubicBezTo>
                    <a:pt x="178" y="307"/>
                    <a:pt x="178" y="307"/>
                    <a:pt x="178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5" y="251"/>
                    <a:pt x="5" y="251"/>
                    <a:pt x="5" y="25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233" y="60"/>
                    <a:pt x="233" y="60"/>
                    <a:pt x="233" y="60"/>
                  </a:cubicBezTo>
                  <a:lnTo>
                    <a:pt x="233" y="251"/>
                  </a:lnTo>
                  <a:close/>
                  <a:moveTo>
                    <a:pt x="89" y="75"/>
                  </a:moveTo>
                  <a:cubicBezTo>
                    <a:pt x="73" y="91"/>
                    <a:pt x="73" y="91"/>
                    <a:pt x="73" y="91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89" y="238"/>
                    <a:pt x="89" y="238"/>
                    <a:pt x="89" y="238"/>
                  </a:cubicBezTo>
                  <a:cubicBezTo>
                    <a:pt x="150" y="238"/>
                    <a:pt x="150" y="238"/>
                    <a:pt x="150" y="238"/>
                  </a:cubicBezTo>
                  <a:cubicBezTo>
                    <a:pt x="165" y="222"/>
                    <a:pt x="165" y="222"/>
                    <a:pt x="165" y="222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49" y="75"/>
                    <a:pt x="149" y="75"/>
                    <a:pt x="149" y="75"/>
                  </a:cubicBezTo>
                  <a:lnTo>
                    <a:pt x="89" y="75"/>
                  </a:lnTo>
                  <a:close/>
                  <a:moveTo>
                    <a:pt x="160" y="220"/>
                  </a:moveTo>
                  <a:cubicBezTo>
                    <a:pt x="147" y="233"/>
                    <a:pt x="147" y="233"/>
                    <a:pt x="147" y="233"/>
                  </a:cubicBezTo>
                  <a:cubicBezTo>
                    <a:pt x="91" y="233"/>
                    <a:pt x="91" y="233"/>
                    <a:pt x="91" y="233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9" y="93"/>
                    <a:pt x="79" y="93"/>
                    <a:pt x="79" y="93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60" y="93"/>
                    <a:pt x="160" y="93"/>
                    <a:pt x="160" y="93"/>
                  </a:cubicBezTo>
                  <a:lnTo>
                    <a:pt x="160" y="220"/>
                  </a:lnTo>
                  <a:close/>
                  <a:moveTo>
                    <a:pt x="318" y="169"/>
                  </a:moveTo>
                  <a:cubicBezTo>
                    <a:pt x="318" y="174"/>
                    <a:pt x="318" y="174"/>
                    <a:pt x="318" y="174"/>
                  </a:cubicBezTo>
                  <a:cubicBezTo>
                    <a:pt x="2178" y="174"/>
                    <a:pt x="2178" y="174"/>
                    <a:pt x="2178" y="174"/>
                  </a:cubicBezTo>
                  <a:cubicBezTo>
                    <a:pt x="2178" y="169"/>
                    <a:pt x="2178" y="169"/>
                    <a:pt x="2178" y="169"/>
                  </a:cubicBezTo>
                  <a:lnTo>
                    <a:pt x="318" y="169"/>
                  </a:lnTo>
                  <a:close/>
                  <a:moveTo>
                    <a:pt x="1628" y="109"/>
                  </a:moveTo>
                  <a:cubicBezTo>
                    <a:pt x="1616" y="107"/>
                    <a:pt x="1616" y="107"/>
                    <a:pt x="1616" y="107"/>
                  </a:cubicBezTo>
                  <a:cubicBezTo>
                    <a:pt x="1616" y="48"/>
                    <a:pt x="1616" y="48"/>
                    <a:pt x="1616" y="48"/>
                  </a:cubicBezTo>
                  <a:cubicBezTo>
                    <a:pt x="1628" y="46"/>
                    <a:pt x="1628" y="46"/>
                    <a:pt x="1628" y="46"/>
                  </a:cubicBezTo>
                  <a:cubicBezTo>
                    <a:pt x="1628" y="39"/>
                    <a:pt x="1628" y="39"/>
                    <a:pt x="1628" y="39"/>
                  </a:cubicBezTo>
                  <a:cubicBezTo>
                    <a:pt x="1587" y="39"/>
                    <a:pt x="1587" y="39"/>
                    <a:pt x="1587" y="39"/>
                  </a:cubicBezTo>
                  <a:cubicBezTo>
                    <a:pt x="1587" y="46"/>
                    <a:pt x="1587" y="46"/>
                    <a:pt x="1587" y="46"/>
                  </a:cubicBezTo>
                  <a:cubicBezTo>
                    <a:pt x="1599" y="48"/>
                    <a:pt x="1599" y="48"/>
                    <a:pt x="1599" y="48"/>
                  </a:cubicBezTo>
                  <a:cubicBezTo>
                    <a:pt x="1599" y="107"/>
                    <a:pt x="1599" y="107"/>
                    <a:pt x="1599" y="107"/>
                  </a:cubicBezTo>
                  <a:cubicBezTo>
                    <a:pt x="1587" y="109"/>
                    <a:pt x="1587" y="109"/>
                    <a:pt x="1587" y="109"/>
                  </a:cubicBezTo>
                  <a:cubicBezTo>
                    <a:pt x="1587" y="116"/>
                    <a:pt x="1587" y="116"/>
                    <a:pt x="1587" y="116"/>
                  </a:cubicBezTo>
                  <a:cubicBezTo>
                    <a:pt x="1628" y="116"/>
                    <a:pt x="1628" y="116"/>
                    <a:pt x="1628" y="116"/>
                  </a:cubicBezTo>
                  <a:lnTo>
                    <a:pt x="1628" y="109"/>
                  </a:lnTo>
                  <a:close/>
                  <a:moveTo>
                    <a:pt x="1526" y="109"/>
                  </a:moveTo>
                  <a:cubicBezTo>
                    <a:pt x="1515" y="107"/>
                    <a:pt x="1515" y="107"/>
                    <a:pt x="1515" y="107"/>
                  </a:cubicBezTo>
                  <a:cubicBezTo>
                    <a:pt x="1515" y="61"/>
                    <a:pt x="1515" y="61"/>
                    <a:pt x="1515" y="61"/>
                  </a:cubicBezTo>
                  <a:cubicBezTo>
                    <a:pt x="1553" y="116"/>
                    <a:pt x="1553" y="116"/>
                    <a:pt x="1553" y="116"/>
                  </a:cubicBezTo>
                  <a:cubicBezTo>
                    <a:pt x="1567" y="116"/>
                    <a:pt x="1567" y="116"/>
                    <a:pt x="1567" y="116"/>
                  </a:cubicBezTo>
                  <a:cubicBezTo>
                    <a:pt x="1567" y="48"/>
                    <a:pt x="1567" y="48"/>
                    <a:pt x="1567" y="48"/>
                  </a:cubicBezTo>
                  <a:cubicBezTo>
                    <a:pt x="1578" y="46"/>
                    <a:pt x="1578" y="46"/>
                    <a:pt x="1578" y="46"/>
                  </a:cubicBezTo>
                  <a:cubicBezTo>
                    <a:pt x="1578" y="39"/>
                    <a:pt x="1578" y="39"/>
                    <a:pt x="1578" y="39"/>
                  </a:cubicBezTo>
                  <a:cubicBezTo>
                    <a:pt x="1544" y="39"/>
                    <a:pt x="1544" y="39"/>
                    <a:pt x="1544" y="39"/>
                  </a:cubicBezTo>
                  <a:cubicBezTo>
                    <a:pt x="1544" y="46"/>
                    <a:pt x="1544" y="46"/>
                    <a:pt x="1544" y="46"/>
                  </a:cubicBezTo>
                  <a:cubicBezTo>
                    <a:pt x="1556" y="48"/>
                    <a:pt x="1556" y="48"/>
                    <a:pt x="1556" y="48"/>
                  </a:cubicBezTo>
                  <a:cubicBezTo>
                    <a:pt x="1556" y="91"/>
                    <a:pt x="1556" y="91"/>
                    <a:pt x="1556" y="91"/>
                  </a:cubicBezTo>
                  <a:cubicBezTo>
                    <a:pt x="1518" y="39"/>
                    <a:pt x="1518" y="39"/>
                    <a:pt x="1518" y="39"/>
                  </a:cubicBezTo>
                  <a:cubicBezTo>
                    <a:pt x="1492" y="39"/>
                    <a:pt x="1492" y="39"/>
                    <a:pt x="1492" y="39"/>
                  </a:cubicBezTo>
                  <a:cubicBezTo>
                    <a:pt x="1492" y="46"/>
                    <a:pt x="1492" y="46"/>
                    <a:pt x="1492" y="46"/>
                  </a:cubicBezTo>
                  <a:cubicBezTo>
                    <a:pt x="1503" y="48"/>
                    <a:pt x="1503" y="48"/>
                    <a:pt x="1503" y="48"/>
                  </a:cubicBezTo>
                  <a:cubicBezTo>
                    <a:pt x="1503" y="107"/>
                    <a:pt x="1503" y="107"/>
                    <a:pt x="1503" y="107"/>
                  </a:cubicBezTo>
                  <a:cubicBezTo>
                    <a:pt x="1492" y="109"/>
                    <a:pt x="1492" y="109"/>
                    <a:pt x="1492" y="109"/>
                  </a:cubicBezTo>
                  <a:cubicBezTo>
                    <a:pt x="1492" y="116"/>
                    <a:pt x="1492" y="116"/>
                    <a:pt x="1492" y="116"/>
                  </a:cubicBezTo>
                  <a:cubicBezTo>
                    <a:pt x="1526" y="116"/>
                    <a:pt x="1526" y="116"/>
                    <a:pt x="1526" y="116"/>
                  </a:cubicBezTo>
                  <a:lnTo>
                    <a:pt x="1526" y="109"/>
                  </a:lnTo>
                  <a:close/>
                  <a:moveTo>
                    <a:pt x="1400" y="76"/>
                  </a:moveTo>
                  <a:cubicBezTo>
                    <a:pt x="1400" y="86"/>
                    <a:pt x="1399" y="99"/>
                    <a:pt x="1407" y="107"/>
                  </a:cubicBezTo>
                  <a:cubicBezTo>
                    <a:pt x="1414" y="114"/>
                    <a:pt x="1424" y="117"/>
                    <a:pt x="1438" y="117"/>
                  </a:cubicBezTo>
                  <a:cubicBezTo>
                    <a:pt x="1451" y="117"/>
                    <a:pt x="1461" y="115"/>
                    <a:pt x="1466" y="109"/>
                  </a:cubicBezTo>
                  <a:cubicBezTo>
                    <a:pt x="1474" y="101"/>
                    <a:pt x="1475" y="94"/>
                    <a:pt x="1475" y="77"/>
                  </a:cubicBezTo>
                  <a:cubicBezTo>
                    <a:pt x="1475" y="27"/>
                    <a:pt x="1475" y="27"/>
                    <a:pt x="1475" y="27"/>
                  </a:cubicBezTo>
                  <a:cubicBezTo>
                    <a:pt x="1487" y="26"/>
                    <a:pt x="1487" y="26"/>
                    <a:pt x="1487" y="26"/>
                  </a:cubicBezTo>
                  <a:cubicBezTo>
                    <a:pt x="1487" y="18"/>
                    <a:pt x="1487" y="18"/>
                    <a:pt x="1487" y="18"/>
                  </a:cubicBezTo>
                  <a:cubicBezTo>
                    <a:pt x="1452" y="18"/>
                    <a:pt x="1452" y="18"/>
                    <a:pt x="1452" y="18"/>
                  </a:cubicBezTo>
                  <a:cubicBezTo>
                    <a:pt x="1452" y="26"/>
                    <a:pt x="1452" y="26"/>
                    <a:pt x="1452" y="26"/>
                  </a:cubicBezTo>
                  <a:cubicBezTo>
                    <a:pt x="1463" y="27"/>
                    <a:pt x="1463" y="27"/>
                    <a:pt x="1463" y="27"/>
                  </a:cubicBezTo>
                  <a:cubicBezTo>
                    <a:pt x="1463" y="84"/>
                    <a:pt x="1463" y="84"/>
                    <a:pt x="1463" y="84"/>
                  </a:cubicBezTo>
                  <a:cubicBezTo>
                    <a:pt x="1463" y="92"/>
                    <a:pt x="1461" y="97"/>
                    <a:pt x="1458" y="101"/>
                  </a:cubicBezTo>
                  <a:cubicBezTo>
                    <a:pt x="1454" y="105"/>
                    <a:pt x="1448" y="107"/>
                    <a:pt x="1441" y="107"/>
                  </a:cubicBezTo>
                  <a:cubicBezTo>
                    <a:pt x="1427" y="107"/>
                    <a:pt x="1418" y="100"/>
                    <a:pt x="1418" y="84"/>
                  </a:cubicBezTo>
                  <a:cubicBezTo>
                    <a:pt x="1418" y="27"/>
                    <a:pt x="1418" y="27"/>
                    <a:pt x="1418" y="27"/>
                  </a:cubicBezTo>
                  <a:cubicBezTo>
                    <a:pt x="1430" y="26"/>
                    <a:pt x="1430" y="26"/>
                    <a:pt x="1430" y="26"/>
                  </a:cubicBezTo>
                  <a:cubicBezTo>
                    <a:pt x="1430" y="18"/>
                    <a:pt x="1430" y="18"/>
                    <a:pt x="1430" y="18"/>
                  </a:cubicBezTo>
                  <a:cubicBezTo>
                    <a:pt x="1388" y="18"/>
                    <a:pt x="1388" y="18"/>
                    <a:pt x="1388" y="18"/>
                  </a:cubicBezTo>
                  <a:cubicBezTo>
                    <a:pt x="1388" y="26"/>
                    <a:pt x="1388" y="26"/>
                    <a:pt x="1388" y="26"/>
                  </a:cubicBezTo>
                  <a:cubicBezTo>
                    <a:pt x="1400" y="27"/>
                    <a:pt x="1400" y="27"/>
                    <a:pt x="1400" y="27"/>
                  </a:cubicBezTo>
                  <a:lnTo>
                    <a:pt x="1400" y="76"/>
                  </a:lnTo>
                  <a:close/>
                  <a:moveTo>
                    <a:pt x="1671" y="116"/>
                  </a:moveTo>
                  <a:cubicBezTo>
                    <a:pt x="1687" y="116"/>
                    <a:pt x="1687" y="116"/>
                    <a:pt x="1687" y="116"/>
                  </a:cubicBezTo>
                  <a:cubicBezTo>
                    <a:pt x="1713" y="48"/>
                    <a:pt x="1713" y="48"/>
                    <a:pt x="1713" y="48"/>
                  </a:cubicBezTo>
                  <a:cubicBezTo>
                    <a:pt x="1724" y="46"/>
                    <a:pt x="1724" y="46"/>
                    <a:pt x="1724" y="46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690" y="39"/>
                    <a:pt x="1690" y="39"/>
                    <a:pt x="1690" y="39"/>
                  </a:cubicBezTo>
                  <a:cubicBezTo>
                    <a:pt x="1690" y="46"/>
                    <a:pt x="1690" y="46"/>
                    <a:pt x="1690" y="46"/>
                  </a:cubicBezTo>
                  <a:cubicBezTo>
                    <a:pt x="1701" y="48"/>
                    <a:pt x="1701" y="48"/>
                    <a:pt x="1701" y="48"/>
                  </a:cubicBezTo>
                  <a:cubicBezTo>
                    <a:pt x="1682" y="100"/>
                    <a:pt x="1682" y="100"/>
                    <a:pt x="1682" y="100"/>
                  </a:cubicBezTo>
                  <a:cubicBezTo>
                    <a:pt x="1663" y="48"/>
                    <a:pt x="1663" y="48"/>
                    <a:pt x="1663" y="48"/>
                  </a:cubicBezTo>
                  <a:cubicBezTo>
                    <a:pt x="1674" y="46"/>
                    <a:pt x="1674" y="46"/>
                    <a:pt x="1674" y="46"/>
                  </a:cubicBezTo>
                  <a:cubicBezTo>
                    <a:pt x="1674" y="39"/>
                    <a:pt x="1674" y="39"/>
                    <a:pt x="1674" y="39"/>
                  </a:cubicBezTo>
                  <a:cubicBezTo>
                    <a:pt x="1634" y="39"/>
                    <a:pt x="1634" y="39"/>
                    <a:pt x="1634" y="39"/>
                  </a:cubicBezTo>
                  <a:cubicBezTo>
                    <a:pt x="1634" y="46"/>
                    <a:pt x="1634" y="46"/>
                    <a:pt x="1634" y="46"/>
                  </a:cubicBezTo>
                  <a:cubicBezTo>
                    <a:pt x="1645" y="48"/>
                    <a:pt x="1645" y="48"/>
                    <a:pt x="1645" y="48"/>
                  </a:cubicBezTo>
                  <a:lnTo>
                    <a:pt x="1671" y="116"/>
                  </a:lnTo>
                  <a:close/>
                  <a:moveTo>
                    <a:pt x="2003" y="109"/>
                  </a:moveTo>
                  <a:cubicBezTo>
                    <a:pt x="1992" y="107"/>
                    <a:pt x="1992" y="107"/>
                    <a:pt x="1992" y="107"/>
                  </a:cubicBezTo>
                  <a:cubicBezTo>
                    <a:pt x="1992" y="48"/>
                    <a:pt x="1992" y="48"/>
                    <a:pt x="1992" y="48"/>
                  </a:cubicBezTo>
                  <a:cubicBezTo>
                    <a:pt x="2003" y="46"/>
                    <a:pt x="2003" y="46"/>
                    <a:pt x="2003" y="46"/>
                  </a:cubicBezTo>
                  <a:cubicBezTo>
                    <a:pt x="2003" y="39"/>
                    <a:pt x="2003" y="39"/>
                    <a:pt x="2003" y="39"/>
                  </a:cubicBezTo>
                  <a:cubicBezTo>
                    <a:pt x="1963" y="39"/>
                    <a:pt x="1963" y="39"/>
                    <a:pt x="1963" y="39"/>
                  </a:cubicBezTo>
                  <a:cubicBezTo>
                    <a:pt x="1963" y="46"/>
                    <a:pt x="1963" y="46"/>
                    <a:pt x="1963" y="46"/>
                  </a:cubicBezTo>
                  <a:cubicBezTo>
                    <a:pt x="1974" y="48"/>
                    <a:pt x="1974" y="48"/>
                    <a:pt x="1974" y="48"/>
                  </a:cubicBezTo>
                  <a:cubicBezTo>
                    <a:pt x="1974" y="107"/>
                    <a:pt x="1974" y="107"/>
                    <a:pt x="1974" y="107"/>
                  </a:cubicBezTo>
                  <a:cubicBezTo>
                    <a:pt x="1963" y="109"/>
                    <a:pt x="1963" y="109"/>
                    <a:pt x="1963" y="109"/>
                  </a:cubicBezTo>
                  <a:cubicBezTo>
                    <a:pt x="1963" y="116"/>
                    <a:pt x="1963" y="116"/>
                    <a:pt x="1963" y="116"/>
                  </a:cubicBezTo>
                  <a:cubicBezTo>
                    <a:pt x="2003" y="116"/>
                    <a:pt x="2003" y="116"/>
                    <a:pt x="2003" y="116"/>
                  </a:cubicBezTo>
                  <a:lnTo>
                    <a:pt x="2003" y="109"/>
                  </a:lnTo>
                  <a:close/>
                  <a:moveTo>
                    <a:pt x="2021" y="49"/>
                  </a:moveTo>
                  <a:cubicBezTo>
                    <a:pt x="2037" y="49"/>
                    <a:pt x="2037" y="49"/>
                    <a:pt x="2037" y="49"/>
                  </a:cubicBezTo>
                  <a:cubicBezTo>
                    <a:pt x="2037" y="107"/>
                    <a:pt x="2037" y="107"/>
                    <a:pt x="2037" y="107"/>
                  </a:cubicBezTo>
                  <a:cubicBezTo>
                    <a:pt x="2026" y="109"/>
                    <a:pt x="2026" y="109"/>
                    <a:pt x="2026" y="109"/>
                  </a:cubicBezTo>
                  <a:cubicBezTo>
                    <a:pt x="2026" y="116"/>
                    <a:pt x="2026" y="116"/>
                    <a:pt x="2026" y="116"/>
                  </a:cubicBezTo>
                  <a:cubicBezTo>
                    <a:pt x="2066" y="116"/>
                    <a:pt x="2066" y="116"/>
                    <a:pt x="2066" y="116"/>
                  </a:cubicBezTo>
                  <a:cubicBezTo>
                    <a:pt x="2066" y="109"/>
                    <a:pt x="2066" y="109"/>
                    <a:pt x="2066" y="109"/>
                  </a:cubicBezTo>
                  <a:cubicBezTo>
                    <a:pt x="2055" y="107"/>
                    <a:pt x="2055" y="107"/>
                    <a:pt x="2055" y="107"/>
                  </a:cubicBezTo>
                  <a:cubicBezTo>
                    <a:pt x="2055" y="49"/>
                    <a:pt x="2055" y="49"/>
                    <a:pt x="2055" y="49"/>
                  </a:cubicBezTo>
                  <a:cubicBezTo>
                    <a:pt x="2072" y="49"/>
                    <a:pt x="2072" y="49"/>
                    <a:pt x="2072" y="49"/>
                  </a:cubicBezTo>
                  <a:cubicBezTo>
                    <a:pt x="2074" y="60"/>
                    <a:pt x="2074" y="60"/>
                    <a:pt x="2074" y="60"/>
                  </a:cubicBezTo>
                  <a:cubicBezTo>
                    <a:pt x="2081" y="60"/>
                    <a:pt x="2081" y="60"/>
                    <a:pt x="2081" y="60"/>
                  </a:cubicBezTo>
                  <a:cubicBezTo>
                    <a:pt x="2081" y="39"/>
                    <a:pt x="2081" y="39"/>
                    <a:pt x="2081" y="39"/>
                  </a:cubicBezTo>
                  <a:cubicBezTo>
                    <a:pt x="2011" y="39"/>
                    <a:pt x="2011" y="39"/>
                    <a:pt x="2011" y="39"/>
                  </a:cubicBezTo>
                  <a:cubicBezTo>
                    <a:pt x="2011" y="60"/>
                    <a:pt x="2011" y="60"/>
                    <a:pt x="2011" y="60"/>
                  </a:cubicBezTo>
                  <a:cubicBezTo>
                    <a:pt x="2019" y="60"/>
                    <a:pt x="2019" y="60"/>
                    <a:pt x="2019" y="60"/>
                  </a:cubicBezTo>
                  <a:lnTo>
                    <a:pt x="2021" y="49"/>
                  </a:lnTo>
                  <a:close/>
                  <a:moveTo>
                    <a:pt x="2122" y="82"/>
                  </a:moveTo>
                  <a:cubicBezTo>
                    <a:pt x="2122" y="107"/>
                    <a:pt x="2122" y="107"/>
                    <a:pt x="2122" y="107"/>
                  </a:cubicBezTo>
                  <a:cubicBezTo>
                    <a:pt x="2110" y="109"/>
                    <a:pt x="2110" y="109"/>
                    <a:pt x="2110" y="109"/>
                  </a:cubicBezTo>
                  <a:cubicBezTo>
                    <a:pt x="2110" y="116"/>
                    <a:pt x="2110" y="116"/>
                    <a:pt x="2110" y="116"/>
                  </a:cubicBezTo>
                  <a:cubicBezTo>
                    <a:pt x="2150" y="116"/>
                    <a:pt x="2150" y="116"/>
                    <a:pt x="2150" y="116"/>
                  </a:cubicBezTo>
                  <a:cubicBezTo>
                    <a:pt x="2150" y="109"/>
                    <a:pt x="2150" y="109"/>
                    <a:pt x="2150" y="109"/>
                  </a:cubicBezTo>
                  <a:cubicBezTo>
                    <a:pt x="2139" y="107"/>
                    <a:pt x="2139" y="107"/>
                    <a:pt x="2139" y="107"/>
                  </a:cubicBezTo>
                  <a:cubicBezTo>
                    <a:pt x="2139" y="82"/>
                    <a:pt x="2139" y="82"/>
                    <a:pt x="2139" y="82"/>
                  </a:cubicBezTo>
                  <a:cubicBezTo>
                    <a:pt x="2161" y="48"/>
                    <a:pt x="2161" y="48"/>
                    <a:pt x="2161" y="48"/>
                  </a:cubicBezTo>
                  <a:cubicBezTo>
                    <a:pt x="2172" y="46"/>
                    <a:pt x="2172" y="46"/>
                    <a:pt x="2172" y="46"/>
                  </a:cubicBezTo>
                  <a:cubicBezTo>
                    <a:pt x="2172" y="39"/>
                    <a:pt x="2172" y="39"/>
                    <a:pt x="2172" y="39"/>
                  </a:cubicBezTo>
                  <a:cubicBezTo>
                    <a:pt x="2138" y="39"/>
                    <a:pt x="2138" y="39"/>
                    <a:pt x="2138" y="39"/>
                  </a:cubicBezTo>
                  <a:cubicBezTo>
                    <a:pt x="2138" y="46"/>
                    <a:pt x="2138" y="46"/>
                    <a:pt x="2138" y="46"/>
                  </a:cubicBezTo>
                  <a:cubicBezTo>
                    <a:pt x="2149" y="48"/>
                    <a:pt x="2149" y="48"/>
                    <a:pt x="2149" y="48"/>
                  </a:cubicBezTo>
                  <a:cubicBezTo>
                    <a:pt x="2133" y="73"/>
                    <a:pt x="2133" y="73"/>
                    <a:pt x="2133" y="73"/>
                  </a:cubicBezTo>
                  <a:cubicBezTo>
                    <a:pt x="2118" y="48"/>
                    <a:pt x="2118" y="48"/>
                    <a:pt x="2118" y="48"/>
                  </a:cubicBezTo>
                  <a:cubicBezTo>
                    <a:pt x="2129" y="46"/>
                    <a:pt x="2129" y="46"/>
                    <a:pt x="2129" y="46"/>
                  </a:cubicBezTo>
                  <a:cubicBezTo>
                    <a:pt x="2129" y="39"/>
                    <a:pt x="2129" y="39"/>
                    <a:pt x="2129" y="39"/>
                  </a:cubicBezTo>
                  <a:cubicBezTo>
                    <a:pt x="2088" y="39"/>
                    <a:pt x="2088" y="39"/>
                    <a:pt x="2088" y="39"/>
                  </a:cubicBezTo>
                  <a:cubicBezTo>
                    <a:pt x="2088" y="46"/>
                    <a:pt x="2088" y="46"/>
                    <a:pt x="2088" y="46"/>
                  </a:cubicBezTo>
                  <a:cubicBezTo>
                    <a:pt x="2099" y="48"/>
                    <a:pt x="2099" y="48"/>
                    <a:pt x="2099" y="48"/>
                  </a:cubicBezTo>
                  <a:lnTo>
                    <a:pt x="2122" y="82"/>
                  </a:lnTo>
                  <a:close/>
                  <a:moveTo>
                    <a:pt x="1953" y="94"/>
                  </a:moveTo>
                  <a:cubicBezTo>
                    <a:pt x="1953" y="63"/>
                    <a:pt x="1913" y="75"/>
                    <a:pt x="1913" y="58"/>
                  </a:cubicBezTo>
                  <a:cubicBezTo>
                    <a:pt x="1913" y="50"/>
                    <a:pt x="1919" y="48"/>
                    <a:pt x="1926" y="48"/>
                  </a:cubicBezTo>
                  <a:cubicBezTo>
                    <a:pt x="1933" y="48"/>
                    <a:pt x="1939" y="49"/>
                    <a:pt x="1939" y="49"/>
                  </a:cubicBezTo>
                  <a:cubicBezTo>
                    <a:pt x="1941" y="61"/>
                    <a:pt x="1941" y="61"/>
                    <a:pt x="1941" y="61"/>
                  </a:cubicBezTo>
                  <a:cubicBezTo>
                    <a:pt x="1949" y="61"/>
                    <a:pt x="1949" y="61"/>
                    <a:pt x="1949" y="61"/>
                  </a:cubicBezTo>
                  <a:cubicBezTo>
                    <a:pt x="1949" y="42"/>
                    <a:pt x="1949" y="42"/>
                    <a:pt x="1949" y="42"/>
                  </a:cubicBezTo>
                  <a:cubicBezTo>
                    <a:pt x="1941" y="40"/>
                    <a:pt x="1933" y="38"/>
                    <a:pt x="1924" y="38"/>
                  </a:cubicBezTo>
                  <a:cubicBezTo>
                    <a:pt x="1905" y="38"/>
                    <a:pt x="1896" y="46"/>
                    <a:pt x="1896" y="60"/>
                  </a:cubicBezTo>
                  <a:cubicBezTo>
                    <a:pt x="1896" y="79"/>
                    <a:pt x="1914" y="81"/>
                    <a:pt x="1928" y="86"/>
                  </a:cubicBezTo>
                  <a:cubicBezTo>
                    <a:pt x="1933" y="87"/>
                    <a:pt x="1936" y="89"/>
                    <a:pt x="1936" y="95"/>
                  </a:cubicBezTo>
                  <a:cubicBezTo>
                    <a:pt x="1936" y="104"/>
                    <a:pt x="1929" y="107"/>
                    <a:pt x="1920" y="107"/>
                  </a:cubicBezTo>
                  <a:cubicBezTo>
                    <a:pt x="1911" y="107"/>
                    <a:pt x="1905" y="105"/>
                    <a:pt x="1905" y="105"/>
                  </a:cubicBezTo>
                  <a:cubicBezTo>
                    <a:pt x="1903" y="92"/>
                    <a:pt x="1903" y="92"/>
                    <a:pt x="1903" y="92"/>
                  </a:cubicBezTo>
                  <a:cubicBezTo>
                    <a:pt x="1896" y="92"/>
                    <a:pt x="1896" y="92"/>
                    <a:pt x="1896" y="92"/>
                  </a:cubicBezTo>
                  <a:cubicBezTo>
                    <a:pt x="1896" y="112"/>
                    <a:pt x="1896" y="112"/>
                    <a:pt x="1896" y="112"/>
                  </a:cubicBezTo>
                  <a:cubicBezTo>
                    <a:pt x="1896" y="112"/>
                    <a:pt x="1908" y="117"/>
                    <a:pt x="1922" y="117"/>
                  </a:cubicBezTo>
                  <a:cubicBezTo>
                    <a:pt x="1942" y="117"/>
                    <a:pt x="1953" y="109"/>
                    <a:pt x="1953" y="94"/>
                  </a:cubicBezTo>
                  <a:close/>
                  <a:moveTo>
                    <a:pt x="1847" y="109"/>
                  </a:moveTo>
                  <a:cubicBezTo>
                    <a:pt x="1836" y="107"/>
                    <a:pt x="1836" y="107"/>
                    <a:pt x="1836" y="107"/>
                  </a:cubicBezTo>
                  <a:cubicBezTo>
                    <a:pt x="1836" y="81"/>
                    <a:pt x="1836" y="81"/>
                    <a:pt x="1836" y="81"/>
                  </a:cubicBezTo>
                  <a:cubicBezTo>
                    <a:pt x="1838" y="81"/>
                    <a:pt x="1838" y="81"/>
                    <a:pt x="1838" y="81"/>
                  </a:cubicBezTo>
                  <a:cubicBezTo>
                    <a:pt x="1848" y="81"/>
                    <a:pt x="1851" y="86"/>
                    <a:pt x="1855" y="98"/>
                  </a:cubicBezTo>
                  <a:cubicBezTo>
                    <a:pt x="1863" y="116"/>
                    <a:pt x="1863" y="116"/>
                    <a:pt x="1863" y="116"/>
                  </a:cubicBezTo>
                  <a:cubicBezTo>
                    <a:pt x="1887" y="116"/>
                    <a:pt x="1887" y="116"/>
                    <a:pt x="1887" y="116"/>
                  </a:cubicBezTo>
                  <a:cubicBezTo>
                    <a:pt x="1887" y="109"/>
                    <a:pt x="1887" y="109"/>
                    <a:pt x="1887" y="109"/>
                  </a:cubicBezTo>
                  <a:cubicBezTo>
                    <a:pt x="1876" y="107"/>
                    <a:pt x="1876" y="107"/>
                    <a:pt x="1876" y="107"/>
                  </a:cubicBezTo>
                  <a:cubicBezTo>
                    <a:pt x="1873" y="99"/>
                    <a:pt x="1868" y="84"/>
                    <a:pt x="1861" y="79"/>
                  </a:cubicBezTo>
                  <a:cubicBezTo>
                    <a:pt x="1869" y="76"/>
                    <a:pt x="1875" y="68"/>
                    <a:pt x="1875" y="59"/>
                  </a:cubicBezTo>
                  <a:cubicBezTo>
                    <a:pt x="1875" y="54"/>
                    <a:pt x="1873" y="49"/>
                    <a:pt x="1869" y="45"/>
                  </a:cubicBezTo>
                  <a:cubicBezTo>
                    <a:pt x="1863" y="40"/>
                    <a:pt x="1854" y="39"/>
                    <a:pt x="1846" y="39"/>
                  </a:cubicBezTo>
                  <a:cubicBezTo>
                    <a:pt x="1807" y="39"/>
                    <a:pt x="1807" y="39"/>
                    <a:pt x="1807" y="39"/>
                  </a:cubicBezTo>
                  <a:cubicBezTo>
                    <a:pt x="1807" y="46"/>
                    <a:pt x="1807" y="46"/>
                    <a:pt x="1807" y="46"/>
                  </a:cubicBezTo>
                  <a:cubicBezTo>
                    <a:pt x="1819" y="48"/>
                    <a:pt x="1819" y="48"/>
                    <a:pt x="1819" y="48"/>
                  </a:cubicBezTo>
                  <a:cubicBezTo>
                    <a:pt x="1819" y="107"/>
                    <a:pt x="1819" y="107"/>
                    <a:pt x="1819" y="107"/>
                  </a:cubicBezTo>
                  <a:cubicBezTo>
                    <a:pt x="1807" y="109"/>
                    <a:pt x="1807" y="109"/>
                    <a:pt x="1807" y="109"/>
                  </a:cubicBezTo>
                  <a:cubicBezTo>
                    <a:pt x="1807" y="116"/>
                    <a:pt x="1807" y="116"/>
                    <a:pt x="1807" y="116"/>
                  </a:cubicBezTo>
                  <a:cubicBezTo>
                    <a:pt x="1847" y="116"/>
                    <a:pt x="1847" y="116"/>
                    <a:pt x="1847" y="116"/>
                  </a:cubicBezTo>
                  <a:lnTo>
                    <a:pt x="1847" y="109"/>
                  </a:lnTo>
                  <a:close/>
                  <a:moveTo>
                    <a:pt x="1836" y="48"/>
                  </a:moveTo>
                  <a:cubicBezTo>
                    <a:pt x="1841" y="48"/>
                    <a:pt x="1841" y="48"/>
                    <a:pt x="1841" y="48"/>
                  </a:cubicBezTo>
                  <a:cubicBezTo>
                    <a:pt x="1845" y="48"/>
                    <a:pt x="1852" y="48"/>
                    <a:pt x="1854" y="51"/>
                  </a:cubicBezTo>
                  <a:cubicBezTo>
                    <a:pt x="1857" y="53"/>
                    <a:pt x="1858" y="57"/>
                    <a:pt x="1858" y="60"/>
                  </a:cubicBezTo>
                  <a:cubicBezTo>
                    <a:pt x="1858" y="63"/>
                    <a:pt x="1857" y="66"/>
                    <a:pt x="1855" y="69"/>
                  </a:cubicBezTo>
                  <a:cubicBezTo>
                    <a:pt x="1851" y="73"/>
                    <a:pt x="1844" y="73"/>
                    <a:pt x="1839" y="73"/>
                  </a:cubicBezTo>
                  <a:cubicBezTo>
                    <a:pt x="1836" y="73"/>
                    <a:pt x="1836" y="73"/>
                    <a:pt x="1836" y="73"/>
                  </a:cubicBezTo>
                  <a:lnTo>
                    <a:pt x="1836" y="48"/>
                  </a:lnTo>
                  <a:close/>
                  <a:moveTo>
                    <a:pt x="1796" y="95"/>
                  </a:moveTo>
                  <a:cubicBezTo>
                    <a:pt x="1788" y="95"/>
                    <a:pt x="1788" y="95"/>
                    <a:pt x="1788" y="95"/>
                  </a:cubicBezTo>
                  <a:cubicBezTo>
                    <a:pt x="1787" y="106"/>
                    <a:pt x="1787" y="106"/>
                    <a:pt x="1787" y="106"/>
                  </a:cubicBezTo>
                  <a:cubicBezTo>
                    <a:pt x="1759" y="106"/>
                    <a:pt x="1759" y="106"/>
                    <a:pt x="1759" y="106"/>
                  </a:cubicBezTo>
                  <a:cubicBezTo>
                    <a:pt x="1759" y="80"/>
                    <a:pt x="1759" y="80"/>
                    <a:pt x="1759" y="80"/>
                  </a:cubicBezTo>
                  <a:cubicBezTo>
                    <a:pt x="1776" y="80"/>
                    <a:pt x="1776" y="80"/>
                    <a:pt x="1776" y="80"/>
                  </a:cubicBezTo>
                  <a:cubicBezTo>
                    <a:pt x="1778" y="90"/>
                    <a:pt x="1778" y="90"/>
                    <a:pt x="1778" y="90"/>
                  </a:cubicBezTo>
                  <a:cubicBezTo>
                    <a:pt x="1784" y="90"/>
                    <a:pt x="1784" y="90"/>
                    <a:pt x="1784" y="90"/>
                  </a:cubicBezTo>
                  <a:cubicBezTo>
                    <a:pt x="1784" y="61"/>
                    <a:pt x="1784" y="61"/>
                    <a:pt x="1784" y="61"/>
                  </a:cubicBezTo>
                  <a:cubicBezTo>
                    <a:pt x="1778" y="61"/>
                    <a:pt x="1778" y="61"/>
                    <a:pt x="1778" y="61"/>
                  </a:cubicBezTo>
                  <a:cubicBezTo>
                    <a:pt x="1776" y="71"/>
                    <a:pt x="1776" y="71"/>
                    <a:pt x="1776" y="71"/>
                  </a:cubicBezTo>
                  <a:cubicBezTo>
                    <a:pt x="1759" y="71"/>
                    <a:pt x="1759" y="71"/>
                    <a:pt x="1759" y="71"/>
                  </a:cubicBezTo>
                  <a:cubicBezTo>
                    <a:pt x="1759" y="49"/>
                    <a:pt x="1759" y="49"/>
                    <a:pt x="1759" y="49"/>
                  </a:cubicBezTo>
                  <a:cubicBezTo>
                    <a:pt x="1787" y="49"/>
                    <a:pt x="1787" y="49"/>
                    <a:pt x="1787" y="49"/>
                  </a:cubicBezTo>
                  <a:cubicBezTo>
                    <a:pt x="1788" y="59"/>
                    <a:pt x="1788" y="59"/>
                    <a:pt x="1788" y="59"/>
                  </a:cubicBezTo>
                  <a:cubicBezTo>
                    <a:pt x="1796" y="59"/>
                    <a:pt x="1796" y="59"/>
                    <a:pt x="1796" y="59"/>
                  </a:cubicBezTo>
                  <a:cubicBezTo>
                    <a:pt x="1796" y="39"/>
                    <a:pt x="1796" y="39"/>
                    <a:pt x="1796" y="39"/>
                  </a:cubicBezTo>
                  <a:cubicBezTo>
                    <a:pt x="1730" y="39"/>
                    <a:pt x="1730" y="39"/>
                    <a:pt x="1730" y="39"/>
                  </a:cubicBezTo>
                  <a:cubicBezTo>
                    <a:pt x="1730" y="46"/>
                    <a:pt x="1730" y="46"/>
                    <a:pt x="1730" y="46"/>
                  </a:cubicBezTo>
                  <a:cubicBezTo>
                    <a:pt x="1741" y="48"/>
                    <a:pt x="1741" y="48"/>
                    <a:pt x="1741" y="48"/>
                  </a:cubicBezTo>
                  <a:cubicBezTo>
                    <a:pt x="1741" y="107"/>
                    <a:pt x="1741" y="107"/>
                    <a:pt x="1741" y="107"/>
                  </a:cubicBezTo>
                  <a:cubicBezTo>
                    <a:pt x="1730" y="109"/>
                    <a:pt x="1730" y="109"/>
                    <a:pt x="1730" y="109"/>
                  </a:cubicBezTo>
                  <a:cubicBezTo>
                    <a:pt x="1730" y="116"/>
                    <a:pt x="1730" y="116"/>
                    <a:pt x="1730" y="116"/>
                  </a:cubicBezTo>
                  <a:cubicBezTo>
                    <a:pt x="1796" y="116"/>
                    <a:pt x="1796" y="116"/>
                    <a:pt x="1796" y="116"/>
                  </a:cubicBezTo>
                  <a:lnTo>
                    <a:pt x="1796" y="95"/>
                  </a:lnTo>
                  <a:close/>
                  <a:moveTo>
                    <a:pt x="1342" y="95"/>
                  </a:moveTo>
                  <a:cubicBezTo>
                    <a:pt x="1335" y="95"/>
                    <a:pt x="1335" y="95"/>
                    <a:pt x="1335" y="95"/>
                  </a:cubicBezTo>
                  <a:cubicBezTo>
                    <a:pt x="1333" y="106"/>
                    <a:pt x="1333" y="106"/>
                    <a:pt x="1333" y="106"/>
                  </a:cubicBezTo>
                  <a:cubicBezTo>
                    <a:pt x="1305" y="106"/>
                    <a:pt x="1305" y="106"/>
                    <a:pt x="1305" y="106"/>
                  </a:cubicBezTo>
                  <a:cubicBezTo>
                    <a:pt x="1305" y="80"/>
                    <a:pt x="1305" y="80"/>
                    <a:pt x="1305" y="80"/>
                  </a:cubicBezTo>
                  <a:cubicBezTo>
                    <a:pt x="1323" y="80"/>
                    <a:pt x="1323" y="80"/>
                    <a:pt x="1323" y="80"/>
                  </a:cubicBezTo>
                  <a:cubicBezTo>
                    <a:pt x="1325" y="90"/>
                    <a:pt x="1325" y="90"/>
                    <a:pt x="1325" y="90"/>
                  </a:cubicBezTo>
                  <a:cubicBezTo>
                    <a:pt x="1331" y="90"/>
                    <a:pt x="1331" y="90"/>
                    <a:pt x="1331" y="90"/>
                  </a:cubicBezTo>
                  <a:cubicBezTo>
                    <a:pt x="1331" y="61"/>
                    <a:pt x="1331" y="61"/>
                    <a:pt x="1331" y="61"/>
                  </a:cubicBezTo>
                  <a:cubicBezTo>
                    <a:pt x="1325" y="61"/>
                    <a:pt x="1325" y="61"/>
                    <a:pt x="1325" y="61"/>
                  </a:cubicBezTo>
                  <a:cubicBezTo>
                    <a:pt x="1323" y="71"/>
                    <a:pt x="1323" y="71"/>
                    <a:pt x="1323" y="71"/>
                  </a:cubicBezTo>
                  <a:cubicBezTo>
                    <a:pt x="1305" y="71"/>
                    <a:pt x="1305" y="71"/>
                    <a:pt x="1305" y="71"/>
                  </a:cubicBezTo>
                  <a:cubicBezTo>
                    <a:pt x="1305" y="49"/>
                    <a:pt x="1305" y="49"/>
                    <a:pt x="1305" y="49"/>
                  </a:cubicBezTo>
                  <a:cubicBezTo>
                    <a:pt x="1333" y="49"/>
                    <a:pt x="1333" y="49"/>
                    <a:pt x="1333" y="49"/>
                  </a:cubicBezTo>
                  <a:cubicBezTo>
                    <a:pt x="1335" y="59"/>
                    <a:pt x="1335" y="59"/>
                    <a:pt x="1335" y="59"/>
                  </a:cubicBezTo>
                  <a:cubicBezTo>
                    <a:pt x="1342" y="59"/>
                    <a:pt x="1342" y="59"/>
                    <a:pt x="1342" y="59"/>
                  </a:cubicBezTo>
                  <a:cubicBezTo>
                    <a:pt x="1342" y="39"/>
                    <a:pt x="1342" y="39"/>
                    <a:pt x="1342" y="39"/>
                  </a:cubicBezTo>
                  <a:cubicBezTo>
                    <a:pt x="1277" y="39"/>
                    <a:pt x="1277" y="39"/>
                    <a:pt x="1277" y="39"/>
                  </a:cubicBezTo>
                  <a:cubicBezTo>
                    <a:pt x="1277" y="46"/>
                    <a:pt x="1277" y="46"/>
                    <a:pt x="1277" y="46"/>
                  </a:cubicBezTo>
                  <a:cubicBezTo>
                    <a:pt x="1288" y="48"/>
                    <a:pt x="1288" y="48"/>
                    <a:pt x="1288" y="48"/>
                  </a:cubicBezTo>
                  <a:cubicBezTo>
                    <a:pt x="1288" y="107"/>
                    <a:pt x="1288" y="107"/>
                    <a:pt x="1288" y="107"/>
                  </a:cubicBezTo>
                  <a:cubicBezTo>
                    <a:pt x="1277" y="109"/>
                    <a:pt x="1277" y="109"/>
                    <a:pt x="1277" y="109"/>
                  </a:cubicBezTo>
                  <a:cubicBezTo>
                    <a:pt x="1277" y="116"/>
                    <a:pt x="1277" y="116"/>
                    <a:pt x="1277" y="116"/>
                  </a:cubicBezTo>
                  <a:cubicBezTo>
                    <a:pt x="1342" y="116"/>
                    <a:pt x="1342" y="116"/>
                    <a:pt x="1342" y="116"/>
                  </a:cubicBezTo>
                  <a:lnTo>
                    <a:pt x="1342" y="95"/>
                  </a:lnTo>
                  <a:close/>
                  <a:moveTo>
                    <a:pt x="566" y="95"/>
                  </a:moveTo>
                  <a:cubicBezTo>
                    <a:pt x="559" y="95"/>
                    <a:pt x="559" y="95"/>
                    <a:pt x="559" y="95"/>
                  </a:cubicBezTo>
                  <a:cubicBezTo>
                    <a:pt x="557" y="106"/>
                    <a:pt x="557" y="106"/>
                    <a:pt x="557" y="106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29" y="80"/>
                    <a:pt x="529" y="80"/>
                    <a:pt x="529" y="80"/>
                  </a:cubicBezTo>
                  <a:cubicBezTo>
                    <a:pt x="546" y="80"/>
                    <a:pt x="546" y="80"/>
                    <a:pt x="546" y="80"/>
                  </a:cubicBezTo>
                  <a:cubicBezTo>
                    <a:pt x="548" y="90"/>
                    <a:pt x="548" y="90"/>
                    <a:pt x="548" y="90"/>
                  </a:cubicBezTo>
                  <a:cubicBezTo>
                    <a:pt x="555" y="90"/>
                    <a:pt x="555" y="90"/>
                    <a:pt x="555" y="90"/>
                  </a:cubicBezTo>
                  <a:cubicBezTo>
                    <a:pt x="555" y="61"/>
                    <a:pt x="555" y="61"/>
                    <a:pt x="555" y="61"/>
                  </a:cubicBezTo>
                  <a:cubicBezTo>
                    <a:pt x="548" y="61"/>
                    <a:pt x="548" y="61"/>
                    <a:pt x="548" y="61"/>
                  </a:cubicBezTo>
                  <a:cubicBezTo>
                    <a:pt x="546" y="71"/>
                    <a:pt x="546" y="71"/>
                    <a:pt x="546" y="71"/>
                  </a:cubicBezTo>
                  <a:cubicBezTo>
                    <a:pt x="529" y="71"/>
                    <a:pt x="529" y="71"/>
                    <a:pt x="529" y="71"/>
                  </a:cubicBezTo>
                  <a:cubicBezTo>
                    <a:pt x="529" y="49"/>
                    <a:pt x="529" y="49"/>
                    <a:pt x="529" y="49"/>
                  </a:cubicBezTo>
                  <a:cubicBezTo>
                    <a:pt x="557" y="49"/>
                    <a:pt x="557" y="49"/>
                    <a:pt x="557" y="49"/>
                  </a:cubicBezTo>
                  <a:cubicBezTo>
                    <a:pt x="559" y="59"/>
                    <a:pt x="559" y="59"/>
                    <a:pt x="559" y="59"/>
                  </a:cubicBezTo>
                  <a:cubicBezTo>
                    <a:pt x="566" y="59"/>
                    <a:pt x="566" y="59"/>
                    <a:pt x="566" y="59"/>
                  </a:cubicBezTo>
                  <a:cubicBezTo>
                    <a:pt x="566" y="39"/>
                    <a:pt x="566" y="39"/>
                    <a:pt x="566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00" y="46"/>
                    <a:pt x="500" y="46"/>
                    <a:pt x="500" y="46"/>
                  </a:cubicBezTo>
                  <a:cubicBezTo>
                    <a:pt x="511" y="48"/>
                    <a:pt x="511" y="48"/>
                    <a:pt x="511" y="48"/>
                  </a:cubicBezTo>
                  <a:cubicBezTo>
                    <a:pt x="511" y="107"/>
                    <a:pt x="511" y="107"/>
                    <a:pt x="511" y="107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16"/>
                    <a:pt x="500" y="116"/>
                    <a:pt x="500" y="116"/>
                  </a:cubicBezTo>
                  <a:cubicBezTo>
                    <a:pt x="566" y="116"/>
                    <a:pt x="566" y="116"/>
                    <a:pt x="566" y="116"/>
                  </a:cubicBezTo>
                  <a:lnTo>
                    <a:pt x="566" y="95"/>
                  </a:lnTo>
                  <a:close/>
                  <a:moveTo>
                    <a:pt x="659" y="117"/>
                  </a:moveTo>
                  <a:cubicBezTo>
                    <a:pt x="689" y="117"/>
                    <a:pt x="702" y="100"/>
                    <a:pt x="702" y="67"/>
                  </a:cubicBezTo>
                  <a:cubicBezTo>
                    <a:pt x="702" y="34"/>
                    <a:pt x="689" y="16"/>
                    <a:pt x="659" y="16"/>
                  </a:cubicBezTo>
                  <a:cubicBezTo>
                    <a:pt x="629" y="16"/>
                    <a:pt x="615" y="34"/>
                    <a:pt x="615" y="67"/>
                  </a:cubicBezTo>
                  <a:cubicBezTo>
                    <a:pt x="615" y="99"/>
                    <a:pt x="628" y="117"/>
                    <a:pt x="659" y="117"/>
                  </a:cubicBezTo>
                  <a:close/>
                  <a:moveTo>
                    <a:pt x="659" y="27"/>
                  </a:moveTo>
                  <a:cubicBezTo>
                    <a:pt x="675" y="27"/>
                    <a:pt x="683" y="40"/>
                    <a:pt x="683" y="67"/>
                  </a:cubicBezTo>
                  <a:cubicBezTo>
                    <a:pt x="683" y="94"/>
                    <a:pt x="675" y="107"/>
                    <a:pt x="659" y="107"/>
                  </a:cubicBezTo>
                  <a:cubicBezTo>
                    <a:pt x="642" y="107"/>
                    <a:pt x="634" y="94"/>
                    <a:pt x="634" y="67"/>
                  </a:cubicBezTo>
                  <a:cubicBezTo>
                    <a:pt x="634" y="40"/>
                    <a:pt x="643" y="27"/>
                    <a:pt x="659" y="27"/>
                  </a:cubicBezTo>
                  <a:close/>
                  <a:moveTo>
                    <a:pt x="327" y="28"/>
                  </a:moveTo>
                  <a:cubicBezTo>
                    <a:pt x="349" y="28"/>
                    <a:pt x="349" y="28"/>
                    <a:pt x="349" y="28"/>
                  </a:cubicBezTo>
                  <a:cubicBezTo>
                    <a:pt x="349" y="106"/>
                    <a:pt x="349" y="106"/>
                    <a:pt x="349" y="106"/>
                  </a:cubicBezTo>
                  <a:cubicBezTo>
                    <a:pt x="337" y="108"/>
                    <a:pt x="337" y="108"/>
                    <a:pt x="337" y="108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79" y="116"/>
                    <a:pt x="379" y="116"/>
                    <a:pt x="379" y="116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67" y="106"/>
                    <a:pt x="367" y="106"/>
                    <a:pt x="367" y="106"/>
                  </a:cubicBezTo>
                  <a:cubicBezTo>
                    <a:pt x="367" y="28"/>
                    <a:pt x="367" y="28"/>
                    <a:pt x="367" y="28"/>
                  </a:cubicBezTo>
                  <a:cubicBezTo>
                    <a:pt x="390" y="28"/>
                    <a:pt x="390" y="28"/>
                    <a:pt x="390" y="28"/>
                  </a:cubicBezTo>
                  <a:cubicBezTo>
                    <a:pt x="391" y="40"/>
                    <a:pt x="391" y="40"/>
                    <a:pt x="391" y="40"/>
                  </a:cubicBezTo>
                  <a:cubicBezTo>
                    <a:pt x="399" y="40"/>
                    <a:pt x="399" y="40"/>
                    <a:pt x="399" y="40"/>
                  </a:cubicBezTo>
                  <a:cubicBezTo>
                    <a:pt x="399" y="18"/>
                    <a:pt x="399" y="18"/>
                    <a:pt x="399" y="18"/>
                  </a:cubicBezTo>
                  <a:cubicBezTo>
                    <a:pt x="317" y="18"/>
                    <a:pt x="317" y="18"/>
                    <a:pt x="317" y="18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25" y="40"/>
                    <a:pt x="325" y="40"/>
                    <a:pt x="325" y="40"/>
                  </a:cubicBezTo>
                  <a:lnTo>
                    <a:pt x="327" y="28"/>
                  </a:lnTo>
                  <a:close/>
                  <a:moveTo>
                    <a:pt x="750" y="109"/>
                  </a:moveTo>
                  <a:cubicBezTo>
                    <a:pt x="739" y="107"/>
                    <a:pt x="739" y="107"/>
                    <a:pt x="739" y="107"/>
                  </a:cubicBezTo>
                  <a:cubicBezTo>
                    <a:pt x="739" y="80"/>
                    <a:pt x="739" y="80"/>
                    <a:pt x="739" y="80"/>
                  </a:cubicBezTo>
                  <a:cubicBezTo>
                    <a:pt x="768" y="80"/>
                    <a:pt x="768" y="80"/>
                    <a:pt x="768" y="80"/>
                  </a:cubicBezTo>
                  <a:cubicBezTo>
                    <a:pt x="768" y="107"/>
                    <a:pt x="768" y="107"/>
                    <a:pt x="768" y="107"/>
                  </a:cubicBezTo>
                  <a:cubicBezTo>
                    <a:pt x="757" y="109"/>
                    <a:pt x="757" y="109"/>
                    <a:pt x="757" y="109"/>
                  </a:cubicBezTo>
                  <a:cubicBezTo>
                    <a:pt x="757" y="116"/>
                    <a:pt x="757" y="116"/>
                    <a:pt x="757" y="116"/>
                  </a:cubicBezTo>
                  <a:cubicBezTo>
                    <a:pt x="797" y="116"/>
                    <a:pt x="797" y="116"/>
                    <a:pt x="797" y="116"/>
                  </a:cubicBezTo>
                  <a:cubicBezTo>
                    <a:pt x="797" y="109"/>
                    <a:pt x="797" y="109"/>
                    <a:pt x="797" y="109"/>
                  </a:cubicBezTo>
                  <a:cubicBezTo>
                    <a:pt x="786" y="107"/>
                    <a:pt x="786" y="107"/>
                    <a:pt x="786" y="107"/>
                  </a:cubicBezTo>
                  <a:cubicBezTo>
                    <a:pt x="786" y="48"/>
                    <a:pt x="786" y="48"/>
                    <a:pt x="786" y="48"/>
                  </a:cubicBezTo>
                  <a:cubicBezTo>
                    <a:pt x="797" y="46"/>
                    <a:pt x="797" y="46"/>
                    <a:pt x="797" y="46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57" y="39"/>
                    <a:pt x="757" y="39"/>
                    <a:pt x="757" y="39"/>
                  </a:cubicBezTo>
                  <a:cubicBezTo>
                    <a:pt x="757" y="46"/>
                    <a:pt x="757" y="46"/>
                    <a:pt x="757" y="46"/>
                  </a:cubicBezTo>
                  <a:cubicBezTo>
                    <a:pt x="768" y="48"/>
                    <a:pt x="768" y="48"/>
                    <a:pt x="768" y="48"/>
                  </a:cubicBezTo>
                  <a:cubicBezTo>
                    <a:pt x="768" y="71"/>
                    <a:pt x="768" y="71"/>
                    <a:pt x="768" y="71"/>
                  </a:cubicBezTo>
                  <a:cubicBezTo>
                    <a:pt x="739" y="71"/>
                    <a:pt x="739" y="71"/>
                    <a:pt x="739" y="71"/>
                  </a:cubicBezTo>
                  <a:cubicBezTo>
                    <a:pt x="739" y="48"/>
                    <a:pt x="739" y="48"/>
                    <a:pt x="739" y="48"/>
                  </a:cubicBezTo>
                  <a:cubicBezTo>
                    <a:pt x="750" y="46"/>
                    <a:pt x="750" y="46"/>
                    <a:pt x="750" y="46"/>
                  </a:cubicBezTo>
                  <a:cubicBezTo>
                    <a:pt x="750" y="39"/>
                    <a:pt x="750" y="39"/>
                    <a:pt x="750" y="39"/>
                  </a:cubicBezTo>
                  <a:cubicBezTo>
                    <a:pt x="710" y="39"/>
                    <a:pt x="710" y="39"/>
                    <a:pt x="710" y="39"/>
                  </a:cubicBezTo>
                  <a:cubicBezTo>
                    <a:pt x="710" y="46"/>
                    <a:pt x="710" y="46"/>
                    <a:pt x="710" y="46"/>
                  </a:cubicBezTo>
                  <a:cubicBezTo>
                    <a:pt x="722" y="48"/>
                    <a:pt x="722" y="48"/>
                    <a:pt x="722" y="48"/>
                  </a:cubicBezTo>
                  <a:cubicBezTo>
                    <a:pt x="722" y="107"/>
                    <a:pt x="722" y="107"/>
                    <a:pt x="722" y="107"/>
                  </a:cubicBezTo>
                  <a:cubicBezTo>
                    <a:pt x="710" y="109"/>
                    <a:pt x="710" y="109"/>
                    <a:pt x="710" y="109"/>
                  </a:cubicBezTo>
                  <a:cubicBezTo>
                    <a:pt x="710" y="116"/>
                    <a:pt x="710" y="116"/>
                    <a:pt x="710" y="116"/>
                  </a:cubicBezTo>
                  <a:cubicBezTo>
                    <a:pt x="750" y="116"/>
                    <a:pt x="750" y="116"/>
                    <a:pt x="750" y="116"/>
                  </a:cubicBezTo>
                  <a:lnTo>
                    <a:pt x="750" y="109"/>
                  </a:lnTo>
                  <a:close/>
                  <a:moveTo>
                    <a:pt x="445" y="109"/>
                  </a:moveTo>
                  <a:cubicBezTo>
                    <a:pt x="434" y="107"/>
                    <a:pt x="434" y="107"/>
                    <a:pt x="434" y="107"/>
                  </a:cubicBezTo>
                  <a:cubicBezTo>
                    <a:pt x="434" y="80"/>
                    <a:pt x="434" y="80"/>
                    <a:pt x="434" y="80"/>
                  </a:cubicBezTo>
                  <a:cubicBezTo>
                    <a:pt x="463" y="80"/>
                    <a:pt x="463" y="80"/>
                    <a:pt x="463" y="80"/>
                  </a:cubicBezTo>
                  <a:cubicBezTo>
                    <a:pt x="463" y="107"/>
                    <a:pt x="463" y="107"/>
                    <a:pt x="463" y="107"/>
                  </a:cubicBezTo>
                  <a:cubicBezTo>
                    <a:pt x="452" y="109"/>
                    <a:pt x="452" y="109"/>
                    <a:pt x="452" y="109"/>
                  </a:cubicBezTo>
                  <a:cubicBezTo>
                    <a:pt x="452" y="116"/>
                    <a:pt x="452" y="116"/>
                    <a:pt x="452" y="116"/>
                  </a:cubicBezTo>
                  <a:cubicBezTo>
                    <a:pt x="492" y="116"/>
                    <a:pt x="492" y="116"/>
                    <a:pt x="492" y="116"/>
                  </a:cubicBezTo>
                  <a:cubicBezTo>
                    <a:pt x="492" y="109"/>
                    <a:pt x="492" y="109"/>
                    <a:pt x="492" y="109"/>
                  </a:cubicBezTo>
                  <a:cubicBezTo>
                    <a:pt x="480" y="107"/>
                    <a:pt x="480" y="107"/>
                    <a:pt x="480" y="107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492" y="46"/>
                    <a:pt x="492" y="46"/>
                    <a:pt x="492" y="46"/>
                  </a:cubicBezTo>
                  <a:cubicBezTo>
                    <a:pt x="492" y="39"/>
                    <a:pt x="492" y="39"/>
                    <a:pt x="492" y="39"/>
                  </a:cubicBezTo>
                  <a:cubicBezTo>
                    <a:pt x="452" y="39"/>
                    <a:pt x="452" y="39"/>
                    <a:pt x="452" y="39"/>
                  </a:cubicBezTo>
                  <a:cubicBezTo>
                    <a:pt x="452" y="46"/>
                    <a:pt x="452" y="46"/>
                    <a:pt x="452" y="46"/>
                  </a:cubicBezTo>
                  <a:cubicBezTo>
                    <a:pt x="463" y="48"/>
                    <a:pt x="463" y="48"/>
                    <a:pt x="463" y="48"/>
                  </a:cubicBezTo>
                  <a:cubicBezTo>
                    <a:pt x="463" y="71"/>
                    <a:pt x="463" y="71"/>
                    <a:pt x="463" y="71"/>
                  </a:cubicBezTo>
                  <a:cubicBezTo>
                    <a:pt x="434" y="71"/>
                    <a:pt x="434" y="71"/>
                    <a:pt x="434" y="71"/>
                  </a:cubicBezTo>
                  <a:cubicBezTo>
                    <a:pt x="434" y="48"/>
                    <a:pt x="434" y="48"/>
                    <a:pt x="434" y="48"/>
                  </a:cubicBezTo>
                  <a:cubicBezTo>
                    <a:pt x="445" y="46"/>
                    <a:pt x="445" y="46"/>
                    <a:pt x="445" y="46"/>
                  </a:cubicBezTo>
                  <a:cubicBezTo>
                    <a:pt x="445" y="39"/>
                    <a:pt x="445" y="39"/>
                    <a:pt x="445" y="39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46"/>
                    <a:pt x="405" y="46"/>
                    <a:pt x="405" y="46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107"/>
                    <a:pt x="416" y="107"/>
                    <a:pt x="416" y="107"/>
                  </a:cubicBezTo>
                  <a:cubicBezTo>
                    <a:pt x="405" y="109"/>
                    <a:pt x="405" y="109"/>
                    <a:pt x="405" y="109"/>
                  </a:cubicBezTo>
                  <a:cubicBezTo>
                    <a:pt x="405" y="116"/>
                    <a:pt x="405" y="116"/>
                    <a:pt x="405" y="116"/>
                  </a:cubicBezTo>
                  <a:cubicBezTo>
                    <a:pt x="445" y="116"/>
                    <a:pt x="445" y="116"/>
                    <a:pt x="445" y="116"/>
                  </a:cubicBezTo>
                  <a:lnTo>
                    <a:pt x="445" y="109"/>
                  </a:lnTo>
                  <a:close/>
                  <a:moveTo>
                    <a:pt x="1209" y="49"/>
                  </a:moveTo>
                  <a:cubicBezTo>
                    <a:pt x="1226" y="49"/>
                    <a:pt x="1226" y="49"/>
                    <a:pt x="1226" y="49"/>
                  </a:cubicBezTo>
                  <a:cubicBezTo>
                    <a:pt x="1226" y="107"/>
                    <a:pt x="1226" y="107"/>
                    <a:pt x="1226" y="107"/>
                  </a:cubicBezTo>
                  <a:cubicBezTo>
                    <a:pt x="1215" y="109"/>
                    <a:pt x="1215" y="109"/>
                    <a:pt x="1215" y="109"/>
                  </a:cubicBezTo>
                  <a:cubicBezTo>
                    <a:pt x="1215" y="116"/>
                    <a:pt x="1215" y="116"/>
                    <a:pt x="1215" y="116"/>
                  </a:cubicBezTo>
                  <a:cubicBezTo>
                    <a:pt x="1255" y="116"/>
                    <a:pt x="1255" y="116"/>
                    <a:pt x="1255" y="116"/>
                  </a:cubicBezTo>
                  <a:cubicBezTo>
                    <a:pt x="1255" y="109"/>
                    <a:pt x="1255" y="109"/>
                    <a:pt x="1255" y="109"/>
                  </a:cubicBezTo>
                  <a:cubicBezTo>
                    <a:pt x="1244" y="107"/>
                    <a:pt x="1244" y="107"/>
                    <a:pt x="1244" y="107"/>
                  </a:cubicBezTo>
                  <a:cubicBezTo>
                    <a:pt x="1244" y="49"/>
                    <a:pt x="1244" y="49"/>
                    <a:pt x="1244" y="49"/>
                  </a:cubicBezTo>
                  <a:cubicBezTo>
                    <a:pt x="1261" y="49"/>
                    <a:pt x="1261" y="49"/>
                    <a:pt x="1261" y="49"/>
                  </a:cubicBezTo>
                  <a:cubicBezTo>
                    <a:pt x="1262" y="60"/>
                    <a:pt x="1262" y="60"/>
                    <a:pt x="1262" y="60"/>
                  </a:cubicBezTo>
                  <a:cubicBezTo>
                    <a:pt x="1270" y="60"/>
                    <a:pt x="1270" y="60"/>
                    <a:pt x="1270" y="60"/>
                  </a:cubicBezTo>
                  <a:cubicBezTo>
                    <a:pt x="1270" y="39"/>
                    <a:pt x="1270" y="39"/>
                    <a:pt x="1270" y="39"/>
                  </a:cubicBezTo>
                  <a:cubicBezTo>
                    <a:pt x="1200" y="39"/>
                    <a:pt x="1200" y="39"/>
                    <a:pt x="1200" y="39"/>
                  </a:cubicBezTo>
                  <a:cubicBezTo>
                    <a:pt x="1200" y="60"/>
                    <a:pt x="1200" y="60"/>
                    <a:pt x="1200" y="60"/>
                  </a:cubicBezTo>
                  <a:cubicBezTo>
                    <a:pt x="1208" y="60"/>
                    <a:pt x="1208" y="60"/>
                    <a:pt x="1208" y="60"/>
                  </a:cubicBezTo>
                  <a:lnTo>
                    <a:pt x="1209" y="49"/>
                  </a:lnTo>
                  <a:close/>
                  <a:moveTo>
                    <a:pt x="1058" y="49"/>
                  </a:moveTo>
                  <a:cubicBezTo>
                    <a:pt x="1075" y="49"/>
                    <a:pt x="1075" y="49"/>
                    <a:pt x="1075" y="49"/>
                  </a:cubicBezTo>
                  <a:cubicBezTo>
                    <a:pt x="1075" y="107"/>
                    <a:pt x="1075" y="107"/>
                    <a:pt x="1075" y="107"/>
                  </a:cubicBezTo>
                  <a:cubicBezTo>
                    <a:pt x="1064" y="109"/>
                    <a:pt x="1064" y="109"/>
                    <a:pt x="1064" y="109"/>
                  </a:cubicBezTo>
                  <a:cubicBezTo>
                    <a:pt x="1064" y="116"/>
                    <a:pt x="1064" y="116"/>
                    <a:pt x="1064" y="116"/>
                  </a:cubicBezTo>
                  <a:cubicBezTo>
                    <a:pt x="1104" y="116"/>
                    <a:pt x="1104" y="116"/>
                    <a:pt x="1104" y="116"/>
                  </a:cubicBezTo>
                  <a:cubicBezTo>
                    <a:pt x="1104" y="109"/>
                    <a:pt x="1104" y="109"/>
                    <a:pt x="1104" y="109"/>
                  </a:cubicBezTo>
                  <a:cubicBezTo>
                    <a:pt x="1093" y="107"/>
                    <a:pt x="1093" y="107"/>
                    <a:pt x="1093" y="107"/>
                  </a:cubicBezTo>
                  <a:cubicBezTo>
                    <a:pt x="1093" y="49"/>
                    <a:pt x="1093" y="49"/>
                    <a:pt x="1093" y="49"/>
                  </a:cubicBezTo>
                  <a:cubicBezTo>
                    <a:pt x="1110" y="49"/>
                    <a:pt x="1110" y="49"/>
                    <a:pt x="1110" y="49"/>
                  </a:cubicBezTo>
                  <a:cubicBezTo>
                    <a:pt x="1111" y="60"/>
                    <a:pt x="1111" y="60"/>
                    <a:pt x="1111" y="60"/>
                  </a:cubicBezTo>
                  <a:cubicBezTo>
                    <a:pt x="1119" y="60"/>
                    <a:pt x="1119" y="60"/>
                    <a:pt x="1119" y="60"/>
                  </a:cubicBezTo>
                  <a:cubicBezTo>
                    <a:pt x="1119" y="39"/>
                    <a:pt x="1119" y="39"/>
                    <a:pt x="1119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60"/>
                    <a:pt x="1049" y="60"/>
                    <a:pt x="1049" y="60"/>
                  </a:cubicBezTo>
                  <a:cubicBezTo>
                    <a:pt x="1057" y="60"/>
                    <a:pt x="1057" y="60"/>
                    <a:pt x="1057" y="60"/>
                  </a:cubicBezTo>
                  <a:lnTo>
                    <a:pt x="1058" y="49"/>
                  </a:lnTo>
                  <a:close/>
                  <a:moveTo>
                    <a:pt x="1114" y="116"/>
                  </a:moveTo>
                  <a:cubicBezTo>
                    <a:pt x="1147" y="116"/>
                    <a:pt x="1147" y="116"/>
                    <a:pt x="1147" y="116"/>
                  </a:cubicBezTo>
                  <a:cubicBezTo>
                    <a:pt x="1147" y="109"/>
                    <a:pt x="1147" y="109"/>
                    <a:pt x="1147" y="109"/>
                  </a:cubicBezTo>
                  <a:cubicBezTo>
                    <a:pt x="1136" y="107"/>
                    <a:pt x="1136" y="107"/>
                    <a:pt x="1136" y="107"/>
                  </a:cubicBezTo>
                  <a:cubicBezTo>
                    <a:pt x="1142" y="93"/>
                    <a:pt x="1142" y="93"/>
                    <a:pt x="1142" y="93"/>
                  </a:cubicBezTo>
                  <a:cubicBezTo>
                    <a:pt x="1171" y="93"/>
                    <a:pt x="1171" y="93"/>
                    <a:pt x="1171" y="93"/>
                  </a:cubicBezTo>
                  <a:cubicBezTo>
                    <a:pt x="1176" y="107"/>
                    <a:pt x="1176" y="107"/>
                    <a:pt x="1176" y="107"/>
                  </a:cubicBezTo>
                  <a:cubicBezTo>
                    <a:pt x="1165" y="109"/>
                    <a:pt x="1165" y="109"/>
                    <a:pt x="1165" y="109"/>
                  </a:cubicBezTo>
                  <a:cubicBezTo>
                    <a:pt x="1165" y="116"/>
                    <a:pt x="1165" y="116"/>
                    <a:pt x="1165" y="116"/>
                  </a:cubicBezTo>
                  <a:cubicBezTo>
                    <a:pt x="1205" y="116"/>
                    <a:pt x="1205" y="116"/>
                    <a:pt x="1205" y="116"/>
                  </a:cubicBezTo>
                  <a:cubicBezTo>
                    <a:pt x="1205" y="109"/>
                    <a:pt x="1205" y="109"/>
                    <a:pt x="1205" y="109"/>
                  </a:cubicBezTo>
                  <a:cubicBezTo>
                    <a:pt x="1194" y="107"/>
                    <a:pt x="1194" y="107"/>
                    <a:pt x="1194" y="107"/>
                  </a:cubicBezTo>
                  <a:cubicBezTo>
                    <a:pt x="1168" y="39"/>
                    <a:pt x="1168" y="39"/>
                    <a:pt x="1168" y="39"/>
                  </a:cubicBezTo>
                  <a:cubicBezTo>
                    <a:pt x="1151" y="39"/>
                    <a:pt x="1151" y="39"/>
                    <a:pt x="1151" y="39"/>
                  </a:cubicBezTo>
                  <a:cubicBezTo>
                    <a:pt x="1125" y="107"/>
                    <a:pt x="1125" y="107"/>
                    <a:pt x="1125" y="107"/>
                  </a:cubicBezTo>
                  <a:cubicBezTo>
                    <a:pt x="1114" y="109"/>
                    <a:pt x="1114" y="109"/>
                    <a:pt x="1114" y="109"/>
                  </a:cubicBezTo>
                  <a:lnTo>
                    <a:pt x="1114" y="116"/>
                  </a:lnTo>
                  <a:close/>
                  <a:moveTo>
                    <a:pt x="1156" y="54"/>
                  </a:moveTo>
                  <a:cubicBezTo>
                    <a:pt x="1167" y="84"/>
                    <a:pt x="1167" y="84"/>
                    <a:pt x="1167" y="84"/>
                  </a:cubicBezTo>
                  <a:cubicBezTo>
                    <a:pt x="1145" y="84"/>
                    <a:pt x="1145" y="84"/>
                    <a:pt x="1145" y="84"/>
                  </a:cubicBezTo>
                  <a:lnTo>
                    <a:pt x="1156" y="54"/>
                  </a:lnTo>
                  <a:close/>
                  <a:moveTo>
                    <a:pt x="1042" y="88"/>
                  </a:moveTo>
                  <a:cubicBezTo>
                    <a:pt x="1042" y="49"/>
                    <a:pt x="993" y="65"/>
                    <a:pt x="993" y="41"/>
                  </a:cubicBezTo>
                  <a:cubicBezTo>
                    <a:pt x="993" y="30"/>
                    <a:pt x="1002" y="27"/>
                    <a:pt x="1011" y="27"/>
                  </a:cubicBezTo>
                  <a:cubicBezTo>
                    <a:pt x="1019" y="27"/>
                    <a:pt x="1028" y="29"/>
                    <a:pt x="1028" y="29"/>
                  </a:cubicBezTo>
                  <a:cubicBezTo>
                    <a:pt x="1030" y="41"/>
                    <a:pt x="1030" y="41"/>
                    <a:pt x="1030" y="41"/>
                  </a:cubicBezTo>
                  <a:cubicBezTo>
                    <a:pt x="1038" y="41"/>
                    <a:pt x="1038" y="41"/>
                    <a:pt x="1038" y="41"/>
                  </a:cubicBezTo>
                  <a:cubicBezTo>
                    <a:pt x="1038" y="22"/>
                    <a:pt x="1038" y="22"/>
                    <a:pt x="1038" y="22"/>
                  </a:cubicBezTo>
                  <a:cubicBezTo>
                    <a:pt x="1030" y="19"/>
                    <a:pt x="1019" y="16"/>
                    <a:pt x="1009" y="16"/>
                  </a:cubicBezTo>
                  <a:cubicBezTo>
                    <a:pt x="987" y="16"/>
                    <a:pt x="976" y="27"/>
                    <a:pt x="976" y="44"/>
                  </a:cubicBezTo>
                  <a:cubicBezTo>
                    <a:pt x="976" y="65"/>
                    <a:pt x="992" y="69"/>
                    <a:pt x="1007" y="74"/>
                  </a:cubicBezTo>
                  <a:cubicBezTo>
                    <a:pt x="1017" y="77"/>
                    <a:pt x="1025" y="79"/>
                    <a:pt x="1025" y="90"/>
                  </a:cubicBezTo>
                  <a:cubicBezTo>
                    <a:pt x="1025" y="102"/>
                    <a:pt x="1015" y="106"/>
                    <a:pt x="1003" y="106"/>
                  </a:cubicBezTo>
                  <a:cubicBezTo>
                    <a:pt x="992" y="106"/>
                    <a:pt x="986" y="104"/>
                    <a:pt x="986" y="104"/>
                  </a:cubicBezTo>
                  <a:cubicBezTo>
                    <a:pt x="984" y="91"/>
                    <a:pt x="984" y="91"/>
                    <a:pt x="984" y="91"/>
                  </a:cubicBezTo>
                  <a:cubicBezTo>
                    <a:pt x="976" y="91"/>
                    <a:pt x="976" y="91"/>
                    <a:pt x="976" y="91"/>
                  </a:cubicBezTo>
                  <a:cubicBezTo>
                    <a:pt x="976" y="112"/>
                    <a:pt x="976" y="112"/>
                    <a:pt x="976" y="112"/>
                  </a:cubicBezTo>
                  <a:cubicBezTo>
                    <a:pt x="976" y="112"/>
                    <a:pt x="989" y="117"/>
                    <a:pt x="1006" y="117"/>
                  </a:cubicBezTo>
                  <a:cubicBezTo>
                    <a:pt x="1030" y="117"/>
                    <a:pt x="1042" y="107"/>
                    <a:pt x="1042" y="88"/>
                  </a:cubicBezTo>
                  <a:close/>
                  <a:moveTo>
                    <a:pt x="847" y="109"/>
                  </a:moveTo>
                  <a:cubicBezTo>
                    <a:pt x="835" y="107"/>
                    <a:pt x="835" y="107"/>
                    <a:pt x="835" y="107"/>
                  </a:cubicBezTo>
                  <a:cubicBezTo>
                    <a:pt x="835" y="48"/>
                    <a:pt x="835" y="48"/>
                    <a:pt x="835" y="48"/>
                  </a:cubicBezTo>
                  <a:cubicBezTo>
                    <a:pt x="847" y="46"/>
                    <a:pt x="847" y="46"/>
                    <a:pt x="847" y="46"/>
                  </a:cubicBezTo>
                  <a:cubicBezTo>
                    <a:pt x="847" y="39"/>
                    <a:pt x="847" y="39"/>
                    <a:pt x="847" y="39"/>
                  </a:cubicBezTo>
                  <a:cubicBezTo>
                    <a:pt x="806" y="39"/>
                    <a:pt x="806" y="39"/>
                    <a:pt x="806" y="39"/>
                  </a:cubicBezTo>
                  <a:cubicBezTo>
                    <a:pt x="806" y="46"/>
                    <a:pt x="806" y="46"/>
                    <a:pt x="806" y="46"/>
                  </a:cubicBezTo>
                  <a:cubicBezTo>
                    <a:pt x="818" y="48"/>
                    <a:pt x="818" y="48"/>
                    <a:pt x="818" y="48"/>
                  </a:cubicBezTo>
                  <a:cubicBezTo>
                    <a:pt x="818" y="107"/>
                    <a:pt x="818" y="107"/>
                    <a:pt x="818" y="107"/>
                  </a:cubicBezTo>
                  <a:cubicBezTo>
                    <a:pt x="806" y="109"/>
                    <a:pt x="806" y="109"/>
                    <a:pt x="806" y="109"/>
                  </a:cubicBezTo>
                  <a:cubicBezTo>
                    <a:pt x="806" y="116"/>
                    <a:pt x="806" y="116"/>
                    <a:pt x="806" y="116"/>
                  </a:cubicBezTo>
                  <a:cubicBezTo>
                    <a:pt x="847" y="116"/>
                    <a:pt x="847" y="116"/>
                    <a:pt x="847" y="116"/>
                  </a:cubicBezTo>
                  <a:lnTo>
                    <a:pt x="847" y="109"/>
                  </a:lnTo>
                  <a:close/>
                  <a:moveTo>
                    <a:pt x="890" y="117"/>
                  </a:moveTo>
                  <a:cubicBezTo>
                    <a:pt x="915" y="117"/>
                    <a:pt x="927" y="103"/>
                    <a:pt x="927" y="78"/>
                  </a:cubicBezTo>
                  <a:cubicBezTo>
                    <a:pt x="927" y="52"/>
                    <a:pt x="915" y="38"/>
                    <a:pt x="890" y="38"/>
                  </a:cubicBezTo>
                  <a:cubicBezTo>
                    <a:pt x="864" y="38"/>
                    <a:pt x="853" y="52"/>
                    <a:pt x="853" y="77"/>
                  </a:cubicBezTo>
                  <a:cubicBezTo>
                    <a:pt x="853" y="103"/>
                    <a:pt x="864" y="117"/>
                    <a:pt x="890" y="117"/>
                  </a:cubicBezTo>
                  <a:close/>
                  <a:moveTo>
                    <a:pt x="890" y="48"/>
                  </a:moveTo>
                  <a:cubicBezTo>
                    <a:pt x="902" y="48"/>
                    <a:pt x="908" y="57"/>
                    <a:pt x="908" y="78"/>
                  </a:cubicBezTo>
                  <a:cubicBezTo>
                    <a:pt x="908" y="98"/>
                    <a:pt x="902" y="107"/>
                    <a:pt x="889" y="107"/>
                  </a:cubicBezTo>
                  <a:cubicBezTo>
                    <a:pt x="877" y="107"/>
                    <a:pt x="871" y="98"/>
                    <a:pt x="871" y="77"/>
                  </a:cubicBezTo>
                  <a:cubicBezTo>
                    <a:pt x="871" y="57"/>
                    <a:pt x="877" y="48"/>
                    <a:pt x="890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8921671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/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8367253" y="5912892"/>
            <a:ext cx="3824748" cy="8357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>
          <a:xfrm>
            <a:off x="4367414" y="4592038"/>
            <a:ext cx="3457207" cy="496575"/>
            <a:chOff x="487363" y="2840038"/>
            <a:chExt cx="8167687" cy="1173162"/>
          </a:xfrm>
        </p:grpSpPr>
        <p:sp>
          <p:nvSpPr>
            <p:cNvPr id="6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487363" y="2843213"/>
              <a:ext cx="8167687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31813" y="2892425"/>
              <a:ext cx="803275" cy="1068387"/>
            </a:xfrm>
            <a:custGeom>
              <a:avLst/>
              <a:gdLst>
                <a:gd name="T0" fmla="*/ 126 w 506"/>
                <a:gd name="T1" fmla="*/ 172 h 673"/>
                <a:gd name="T2" fmla="*/ 175 w 506"/>
                <a:gd name="T3" fmla="*/ 125 h 673"/>
                <a:gd name="T4" fmla="*/ 333 w 506"/>
                <a:gd name="T5" fmla="*/ 125 h 673"/>
                <a:gd name="T6" fmla="*/ 383 w 506"/>
                <a:gd name="T7" fmla="*/ 172 h 673"/>
                <a:gd name="T8" fmla="*/ 383 w 506"/>
                <a:gd name="T9" fmla="*/ 500 h 673"/>
                <a:gd name="T10" fmla="*/ 333 w 506"/>
                <a:gd name="T11" fmla="*/ 548 h 673"/>
                <a:gd name="T12" fmla="*/ 175 w 506"/>
                <a:gd name="T13" fmla="*/ 548 h 673"/>
                <a:gd name="T14" fmla="*/ 126 w 506"/>
                <a:gd name="T15" fmla="*/ 500 h 673"/>
                <a:gd name="T16" fmla="*/ 126 w 506"/>
                <a:gd name="T17" fmla="*/ 172 h 673"/>
                <a:gd name="T18" fmla="*/ 126 w 506"/>
                <a:gd name="T19" fmla="*/ 172 h 673"/>
                <a:gd name="T20" fmla="*/ 506 w 506"/>
                <a:gd name="T21" fmla="*/ 120 h 673"/>
                <a:gd name="T22" fmla="*/ 385 w 506"/>
                <a:gd name="T23" fmla="*/ 0 h 673"/>
                <a:gd name="T24" fmla="*/ 123 w 506"/>
                <a:gd name="T25" fmla="*/ 0 h 673"/>
                <a:gd name="T26" fmla="*/ 0 w 506"/>
                <a:gd name="T27" fmla="*/ 120 h 673"/>
                <a:gd name="T28" fmla="*/ 0 w 506"/>
                <a:gd name="T29" fmla="*/ 552 h 673"/>
                <a:gd name="T30" fmla="*/ 123 w 506"/>
                <a:gd name="T31" fmla="*/ 673 h 673"/>
                <a:gd name="T32" fmla="*/ 385 w 506"/>
                <a:gd name="T33" fmla="*/ 673 h 673"/>
                <a:gd name="T34" fmla="*/ 506 w 506"/>
                <a:gd name="T35" fmla="*/ 552 h 673"/>
                <a:gd name="T36" fmla="*/ 506 w 506"/>
                <a:gd name="T37" fmla="*/ 120 h 673"/>
                <a:gd name="T38" fmla="*/ 506 w 506"/>
                <a:gd name="T39" fmla="*/ 12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6" h="673">
                  <a:moveTo>
                    <a:pt x="126" y="172"/>
                  </a:moveTo>
                  <a:lnTo>
                    <a:pt x="175" y="125"/>
                  </a:lnTo>
                  <a:lnTo>
                    <a:pt x="333" y="125"/>
                  </a:lnTo>
                  <a:lnTo>
                    <a:pt x="383" y="172"/>
                  </a:lnTo>
                  <a:lnTo>
                    <a:pt x="383" y="500"/>
                  </a:lnTo>
                  <a:lnTo>
                    <a:pt x="333" y="548"/>
                  </a:lnTo>
                  <a:lnTo>
                    <a:pt x="175" y="548"/>
                  </a:lnTo>
                  <a:lnTo>
                    <a:pt x="126" y="500"/>
                  </a:lnTo>
                  <a:lnTo>
                    <a:pt x="126" y="172"/>
                  </a:lnTo>
                  <a:lnTo>
                    <a:pt x="126" y="172"/>
                  </a:lnTo>
                  <a:close/>
                  <a:moveTo>
                    <a:pt x="506" y="120"/>
                  </a:moveTo>
                  <a:lnTo>
                    <a:pt x="385" y="0"/>
                  </a:lnTo>
                  <a:lnTo>
                    <a:pt x="123" y="0"/>
                  </a:lnTo>
                  <a:lnTo>
                    <a:pt x="0" y="120"/>
                  </a:lnTo>
                  <a:lnTo>
                    <a:pt x="0" y="552"/>
                  </a:lnTo>
                  <a:lnTo>
                    <a:pt x="123" y="673"/>
                  </a:lnTo>
                  <a:lnTo>
                    <a:pt x="385" y="673"/>
                  </a:lnTo>
                  <a:lnTo>
                    <a:pt x="506" y="552"/>
                  </a:lnTo>
                  <a:lnTo>
                    <a:pt x="506" y="120"/>
                  </a:lnTo>
                  <a:lnTo>
                    <a:pt x="506" y="120"/>
                  </a:lnTo>
                  <a:close/>
                </a:path>
              </a:pathLst>
            </a:custGeom>
            <a:solidFill>
              <a:srgbClr val="BB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487363" y="2840038"/>
              <a:ext cx="8167687" cy="1169989"/>
            </a:xfrm>
            <a:custGeom>
              <a:avLst/>
              <a:gdLst>
                <a:gd name="T0" fmla="*/ 397 w 2178"/>
                <a:gd name="T1" fmla="*/ 289 h 312"/>
                <a:gd name="T2" fmla="*/ 430 w 2178"/>
                <a:gd name="T3" fmla="*/ 253 h 312"/>
                <a:gd name="T4" fmla="*/ 493 w 2178"/>
                <a:gd name="T5" fmla="*/ 256 h 312"/>
                <a:gd name="T6" fmla="*/ 535 w 2178"/>
                <a:gd name="T7" fmla="*/ 289 h 312"/>
                <a:gd name="T8" fmla="*/ 608 w 2178"/>
                <a:gd name="T9" fmla="*/ 282 h 312"/>
                <a:gd name="T10" fmla="*/ 678 w 2178"/>
                <a:gd name="T11" fmla="*/ 225 h 312"/>
                <a:gd name="T12" fmla="*/ 660 w 2178"/>
                <a:gd name="T13" fmla="*/ 232 h 312"/>
                <a:gd name="T14" fmla="*/ 761 w 2178"/>
                <a:gd name="T15" fmla="*/ 289 h 312"/>
                <a:gd name="T16" fmla="*/ 814 w 2178"/>
                <a:gd name="T17" fmla="*/ 282 h 312"/>
                <a:gd name="T18" fmla="*/ 858 w 2178"/>
                <a:gd name="T19" fmla="*/ 225 h 312"/>
                <a:gd name="T20" fmla="*/ 923 w 2178"/>
                <a:gd name="T21" fmla="*/ 289 h 312"/>
                <a:gd name="T22" fmla="*/ 941 w 2178"/>
                <a:gd name="T23" fmla="*/ 257 h 312"/>
                <a:gd name="T24" fmla="*/ 1061 w 2178"/>
                <a:gd name="T25" fmla="*/ 289 h 312"/>
                <a:gd name="T26" fmla="*/ 1103 w 2178"/>
                <a:gd name="T27" fmla="*/ 282 h 312"/>
                <a:gd name="T28" fmla="*/ 1182 w 2178"/>
                <a:gd name="T29" fmla="*/ 277 h 312"/>
                <a:gd name="T30" fmla="*/ 1197 w 2178"/>
                <a:gd name="T31" fmla="*/ 232 h 312"/>
                <a:gd name="T32" fmla="*/ 1287 w 2178"/>
                <a:gd name="T33" fmla="*/ 289 h 312"/>
                <a:gd name="T34" fmla="*/ 1351 w 2178"/>
                <a:gd name="T35" fmla="*/ 225 h 312"/>
                <a:gd name="T36" fmla="*/ 1367 w 2178"/>
                <a:gd name="T37" fmla="*/ 232 h 312"/>
                <a:gd name="T38" fmla="*/ 1433 w 2178"/>
                <a:gd name="T39" fmla="*/ 264 h 312"/>
                <a:gd name="T40" fmla="*/ 59 w 2178"/>
                <a:gd name="T41" fmla="*/ 0 h 312"/>
                <a:gd name="T42" fmla="*/ 61 w 2178"/>
                <a:gd name="T43" fmla="*/ 307 h 312"/>
                <a:gd name="T44" fmla="*/ 150 w 2178"/>
                <a:gd name="T45" fmla="*/ 238 h 312"/>
                <a:gd name="T46" fmla="*/ 147 w 2178"/>
                <a:gd name="T47" fmla="*/ 80 h 312"/>
                <a:gd name="T48" fmla="*/ 1628 w 2178"/>
                <a:gd name="T49" fmla="*/ 46 h 312"/>
                <a:gd name="T50" fmla="*/ 1515 w 2178"/>
                <a:gd name="T51" fmla="*/ 107 h 312"/>
                <a:gd name="T52" fmla="*/ 1518 w 2178"/>
                <a:gd name="T53" fmla="*/ 39 h 312"/>
                <a:gd name="T54" fmla="*/ 1438 w 2178"/>
                <a:gd name="T55" fmla="*/ 117 h 312"/>
                <a:gd name="T56" fmla="*/ 1441 w 2178"/>
                <a:gd name="T57" fmla="*/ 107 h 312"/>
                <a:gd name="T58" fmla="*/ 1713 w 2178"/>
                <a:gd name="T59" fmla="*/ 48 h 312"/>
                <a:gd name="T60" fmla="*/ 1634 w 2178"/>
                <a:gd name="T61" fmla="*/ 46 h 312"/>
                <a:gd name="T62" fmla="*/ 1974 w 2178"/>
                <a:gd name="T63" fmla="*/ 107 h 312"/>
                <a:gd name="T64" fmla="*/ 2066 w 2178"/>
                <a:gd name="T65" fmla="*/ 109 h 312"/>
                <a:gd name="T66" fmla="*/ 2122 w 2178"/>
                <a:gd name="T67" fmla="*/ 82 h 312"/>
                <a:gd name="T68" fmla="*/ 2138 w 2178"/>
                <a:gd name="T69" fmla="*/ 39 h 312"/>
                <a:gd name="T70" fmla="*/ 1953 w 2178"/>
                <a:gd name="T71" fmla="*/ 94 h 312"/>
                <a:gd name="T72" fmla="*/ 1920 w 2178"/>
                <a:gd name="T73" fmla="*/ 107 h 312"/>
                <a:gd name="T74" fmla="*/ 1855 w 2178"/>
                <a:gd name="T75" fmla="*/ 98 h 312"/>
                <a:gd name="T76" fmla="*/ 1819 w 2178"/>
                <a:gd name="T77" fmla="*/ 48 h 312"/>
                <a:gd name="T78" fmla="*/ 1839 w 2178"/>
                <a:gd name="T79" fmla="*/ 73 h 312"/>
                <a:gd name="T80" fmla="*/ 1784 w 2178"/>
                <a:gd name="T81" fmla="*/ 61 h 312"/>
                <a:gd name="T82" fmla="*/ 1741 w 2178"/>
                <a:gd name="T83" fmla="*/ 48 h 312"/>
                <a:gd name="T84" fmla="*/ 1323 w 2178"/>
                <a:gd name="T85" fmla="*/ 80 h 312"/>
                <a:gd name="T86" fmla="*/ 1342 w 2178"/>
                <a:gd name="T87" fmla="*/ 39 h 312"/>
                <a:gd name="T88" fmla="*/ 557 w 2178"/>
                <a:gd name="T89" fmla="*/ 106 h 312"/>
                <a:gd name="T90" fmla="*/ 557 w 2178"/>
                <a:gd name="T91" fmla="*/ 49 h 312"/>
                <a:gd name="T92" fmla="*/ 566 w 2178"/>
                <a:gd name="T93" fmla="*/ 95 h 312"/>
                <a:gd name="T94" fmla="*/ 327 w 2178"/>
                <a:gd name="T95" fmla="*/ 28 h 312"/>
                <a:gd name="T96" fmla="*/ 399 w 2178"/>
                <a:gd name="T97" fmla="*/ 40 h 312"/>
                <a:gd name="T98" fmla="*/ 757 w 2178"/>
                <a:gd name="T99" fmla="*/ 109 h 312"/>
                <a:gd name="T100" fmla="*/ 768 w 2178"/>
                <a:gd name="T101" fmla="*/ 71 h 312"/>
                <a:gd name="T102" fmla="*/ 750 w 2178"/>
                <a:gd name="T103" fmla="*/ 116 h 312"/>
                <a:gd name="T104" fmla="*/ 480 w 2178"/>
                <a:gd name="T105" fmla="*/ 107 h 312"/>
                <a:gd name="T106" fmla="*/ 445 w 2178"/>
                <a:gd name="T107" fmla="*/ 39 h 312"/>
                <a:gd name="T108" fmla="*/ 1226 w 2178"/>
                <a:gd name="T109" fmla="*/ 107 h 312"/>
                <a:gd name="T110" fmla="*/ 1200 w 2178"/>
                <a:gd name="T111" fmla="*/ 39 h 312"/>
                <a:gd name="T112" fmla="*/ 1093 w 2178"/>
                <a:gd name="T113" fmla="*/ 107 h 312"/>
                <a:gd name="T114" fmla="*/ 1147 w 2178"/>
                <a:gd name="T115" fmla="*/ 116 h 312"/>
                <a:gd name="T116" fmla="*/ 1168 w 2178"/>
                <a:gd name="T117" fmla="*/ 39 h 312"/>
                <a:gd name="T118" fmla="*/ 1011 w 2178"/>
                <a:gd name="T119" fmla="*/ 27 h 312"/>
                <a:gd name="T120" fmla="*/ 984 w 2178"/>
                <a:gd name="T121" fmla="*/ 91 h 312"/>
                <a:gd name="T122" fmla="*/ 806 w 2178"/>
                <a:gd name="T123" fmla="*/ 46 h 312"/>
                <a:gd name="T124" fmla="*/ 890 w 2178"/>
                <a:gd name="T125" fmla="*/ 1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8" h="312">
                  <a:moveTo>
                    <a:pt x="393" y="278"/>
                  </a:moveTo>
                  <a:cubicBezTo>
                    <a:pt x="378" y="225"/>
                    <a:pt x="378" y="225"/>
                    <a:pt x="378" y="225"/>
                  </a:cubicBezTo>
                  <a:cubicBezTo>
                    <a:pt x="371" y="225"/>
                    <a:pt x="371" y="225"/>
                    <a:pt x="371" y="225"/>
                  </a:cubicBezTo>
                  <a:cubicBezTo>
                    <a:pt x="357" y="278"/>
                    <a:pt x="357" y="278"/>
                    <a:pt x="357" y="278"/>
                  </a:cubicBezTo>
                  <a:cubicBezTo>
                    <a:pt x="343" y="225"/>
                    <a:pt x="343" y="225"/>
                    <a:pt x="343" y="225"/>
                  </a:cubicBezTo>
                  <a:cubicBezTo>
                    <a:pt x="334" y="225"/>
                    <a:pt x="334" y="225"/>
                    <a:pt x="334" y="225"/>
                  </a:cubicBezTo>
                  <a:cubicBezTo>
                    <a:pt x="352" y="289"/>
                    <a:pt x="352" y="289"/>
                    <a:pt x="352" y="289"/>
                  </a:cubicBezTo>
                  <a:cubicBezTo>
                    <a:pt x="361" y="289"/>
                    <a:pt x="361" y="289"/>
                    <a:pt x="361" y="289"/>
                  </a:cubicBezTo>
                  <a:cubicBezTo>
                    <a:pt x="375" y="237"/>
                    <a:pt x="375" y="237"/>
                    <a:pt x="375" y="237"/>
                  </a:cubicBezTo>
                  <a:cubicBezTo>
                    <a:pt x="389" y="289"/>
                    <a:pt x="389" y="289"/>
                    <a:pt x="389" y="289"/>
                  </a:cubicBezTo>
                  <a:cubicBezTo>
                    <a:pt x="397" y="289"/>
                    <a:pt x="397" y="289"/>
                    <a:pt x="397" y="289"/>
                  </a:cubicBezTo>
                  <a:cubicBezTo>
                    <a:pt x="416" y="225"/>
                    <a:pt x="416" y="225"/>
                    <a:pt x="416" y="225"/>
                  </a:cubicBezTo>
                  <a:cubicBezTo>
                    <a:pt x="407" y="225"/>
                    <a:pt x="407" y="225"/>
                    <a:pt x="407" y="225"/>
                  </a:cubicBezTo>
                  <a:lnTo>
                    <a:pt x="393" y="278"/>
                  </a:lnTo>
                  <a:close/>
                  <a:moveTo>
                    <a:pt x="422" y="289"/>
                  </a:moveTo>
                  <a:cubicBezTo>
                    <a:pt x="464" y="289"/>
                    <a:pt x="464" y="289"/>
                    <a:pt x="464" y="289"/>
                  </a:cubicBezTo>
                  <a:cubicBezTo>
                    <a:pt x="464" y="282"/>
                    <a:pt x="464" y="282"/>
                    <a:pt x="464" y="282"/>
                  </a:cubicBezTo>
                  <a:cubicBezTo>
                    <a:pt x="430" y="282"/>
                    <a:pt x="430" y="282"/>
                    <a:pt x="430" y="282"/>
                  </a:cubicBezTo>
                  <a:cubicBezTo>
                    <a:pt x="430" y="260"/>
                    <a:pt x="430" y="260"/>
                    <a:pt x="430" y="260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63" y="253"/>
                    <a:pt x="463" y="253"/>
                    <a:pt x="463" y="253"/>
                  </a:cubicBezTo>
                  <a:cubicBezTo>
                    <a:pt x="430" y="253"/>
                    <a:pt x="430" y="253"/>
                    <a:pt x="430" y="253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464" y="232"/>
                    <a:pt x="464" y="232"/>
                    <a:pt x="464" y="232"/>
                  </a:cubicBezTo>
                  <a:cubicBezTo>
                    <a:pt x="464" y="225"/>
                    <a:pt x="464" y="225"/>
                    <a:pt x="464" y="225"/>
                  </a:cubicBezTo>
                  <a:cubicBezTo>
                    <a:pt x="422" y="225"/>
                    <a:pt x="422" y="225"/>
                    <a:pt x="422" y="225"/>
                  </a:cubicBezTo>
                  <a:lnTo>
                    <a:pt x="422" y="289"/>
                  </a:lnTo>
                  <a:close/>
                  <a:moveTo>
                    <a:pt x="527" y="225"/>
                  </a:moveTo>
                  <a:cubicBezTo>
                    <a:pt x="517" y="225"/>
                    <a:pt x="517" y="225"/>
                    <a:pt x="517" y="225"/>
                  </a:cubicBezTo>
                  <a:cubicBezTo>
                    <a:pt x="498" y="251"/>
                    <a:pt x="498" y="251"/>
                    <a:pt x="498" y="251"/>
                  </a:cubicBezTo>
                  <a:cubicBezTo>
                    <a:pt x="479" y="225"/>
                    <a:pt x="479" y="225"/>
                    <a:pt x="479" y="225"/>
                  </a:cubicBezTo>
                  <a:cubicBezTo>
                    <a:pt x="470" y="225"/>
                    <a:pt x="470" y="225"/>
                    <a:pt x="470" y="225"/>
                  </a:cubicBezTo>
                  <a:cubicBezTo>
                    <a:pt x="493" y="256"/>
                    <a:pt x="493" y="256"/>
                    <a:pt x="493" y="256"/>
                  </a:cubicBezTo>
                  <a:cubicBezTo>
                    <a:pt x="468" y="289"/>
                    <a:pt x="468" y="289"/>
                    <a:pt x="468" y="289"/>
                  </a:cubicBezTo>
                  <a:cubicBezTo>
                    <a:pt x="478" y="289"/>
                    <a:pt x="478" y="289"/>
                    <a:pt x="478" y="289"/>
                  </a:cubicBezTo>
                  <a:cubicBezTo>
                    <a:pt x="498" y="262"/>
                    <a:pt x="498" y="262"/>
                    <a:pt x="498" y="262"/>
                  </a:cubicBezTo>
                  <a:cubicBezTo>
                    <a:pt x="519" y="289"/>
                    <a:pt x="519" y="289"/>
                    <a:pt x="519" y="289"/>
                  </a:cubicBezTo>
                  <a:cubicBezTo>
                    <a:pt x="528" y="289"/>
                    <a:pt x="528" y="289"/>
                    <a:pt x="528" y="289"/>
                  </a:cubicBezTo>
                  <a:cubicBezTo>
                    <a:pt x="503" y="256"/>
                    <a:pt x="503" y="256"/>
                    <a:pt x="503" y="256"/>
                  </a:cubicBezTo>
                  <a:lnTo>
                    <a:pt x="527" y="225"/>
                  </a:lnTo>
                  <a:close/>
                  <a:moveTo>
                    <a:pt x="580" y="275"/>
                  </a:moveTo>
                  <a:cubicBezTo>
                    <a:pt x="543" y="225"/>
                    <a:pt x="543" y="225"/>
                    <a:pt x="543" y="225"/>
                  </a:cubicBezTo>
                  <a:cubicBezTo>
                    <a:pt x="535" y="225"/>
                    <a:pt x="535" y="225"/>
                    <a:pt x="535" y="225"/>
                  </a:cubicBezTo>
                  <a:cubicBezTo>
                    <a:pt x="535" y="289"/>
                    <a:pt x="535" y="289"/>
                    <a:pt x="535" y="289"/>
                  </a:cubicBezTo>
                  <a:cubicBezTo>
                    <a:pt x="543" y="289"/>
                    <a:pt x="543" y="289"/>
                    <a:pt x="543" y="289"/>
                  </a:cubicBezTo>
                  <a:cubicBezTo>
                    <a:pt x="543" y="238"/>
                    <a:pt x="543" y="238"/>
                    <a:pt x="543" y="238"/>
                  </a:cubicBezTo>
                  <a:cubicBezTo>
                    <a:pt x="580" y="289"/>
                    <a:pt x="580" y="289"/>
                    <a:pt x="580" y="289"/>
                  </a:cubicBezTo>
                  <a:cubicBezTo>
                    <a:pt x="588" y="289"/>
                    <a:pt x="588" y="289"/>
                    <a:pt x="588" y="289"/>
                  </a:cubicBezTo>
                  <a:cubicBezTo>
                    <a:pt x="588" y="225"/>
                    <a:pt x="588" y="225"/>
                    <a:pt x="588" y="225"/>
                  </a:cubicBezTo>
                  <a:cubicBezTo>
                    <a:pt x="580" y="225"/>
                    <a:pt x="580" y="225"/>
                    <a:pt x="580" y="225"/>
                  </a:cubicBezTo>
                  <a:lnTo>
                    <a:pt x="580" y="275"/>
                  </a:lnTo>
                  <a:close/>
                  <a:moveTo>
                    <a:pt x="600" y="289"/>
                  </a:moveTo>
                  <a:cubicBezTo>
                    <a:pt x="642" y="289"/>
                    <a:pt x="642" y="289"/>
                    <a:pt x="642" y="289"/>
                  </a:cubicBezTo>
                  <a:cubicBezTo>
                    <a:pt x="642" y="282"/>
                    <a:pt x="642" y="282"/>
                    <a:pt x="642" y="282"/>
                  </a:cubicBezTo>
                  <a:cubicBezTo>
                    <a:pt x="608" y="282"/>
                    <a:pt x="608" y="282"/>
                    <a:pt x="608" y="282"/>
                  </a:cubicBezTo>
                  <a:cubicBezTo>
                    <a:pt x="608" y="260"/>
                    <a:pt x="608" y="260"/>
                    <a:pt x="608" y="260"/>
                  </a:cubicBezTo>
                  <a:cubicBezTo>
                    <a:pt x="641" y="260"/>
                    <a:pt x="641" y="260"/>
                    <a:pt x="641" y="260"/>
                  </a:cubicBezTo>
                  <a:cubicBezTo>
                    <a:pt x="641" y="253"/>
                    <a:pt x="641" y="253"/>
                    <a:pt x="641" y="253"/>
                  </a:cubicBezTo>
                  <a:cubicBezTo>
                    <a:pt x="608" y="253"/>
                    <a:pt x="608" y="253"/>
                    <a:pt x="608" y="253"/>
                  </a:cubicBezTo>
                  <a:cubicBezTo>
                    <a:pt x="608" y="232"/>
                    <a:pt x="608" y="232"/>
                    <a:pt x="608" y="232"/>
                  </a:cubicBezTo>
                  <a:cubicBezTo>
                    <a:pt x="642" y="232"/>
                    <a:pt x="642" y="232"/>
                    <a:pt x="642" y="232"/>
                  </a:cubicBezTo>
                  <a:cubicBezTo>
                    <a:pt x="642" y="225"/>
                    <a:pt x="642" y="225"/>
                    <a:pt x="642" y="225"/>
                  </a:cubicBezTo>
                  <a:cubicBezTo>
                    <a:pt x="600" y="225"/>
                    <a:pt x="600" y="225"/>
                    <a:pt x="600" y="225"/>
                  </a:cubicBezTo>
                  <a:lnTo>
                    <a:pt x="600" y="289"/>
                  </a:lnTo>
                  <a:close/>
                  <a:moveTo>
                    <a:pt x="698" y="244"/>
                  </a:moveTo>
                  <a:cubicBezTo>
                    <a:pt x="698" y="233"/>
                    <a:pt x="690" y="225"/>
                    <a:pt x="678" y="225"/>
                  </a:cubicBezTo>
                  <a:cubicBezTo>
                    <a:pt x="652" y="225"/>
                    <a:pt x="652" y="225"/>
                    <a:pt x="652" y="225"/>
                  </a:cubicBezTo>
                  <a:cubicBezTo>
                    <a:pt x="652" y="289"/>
                    <a:pt x="652" y="289"/>
                    <a:pt x="652" y="289"/>
                  </a:cubicBezTo>
                  <a:cubicBezTo>
                    <a:pt x="660" y="289"/>
                    <a:pt x="660" y="289"/>
                    <a:pt x="660" y="289"/>
                  </a:cubicBezTo>
                  <a:cubicBezTo>
                    <a:pt x="660" y="264"/>
                    <a:pt x="660" y="264"/>
                    <a:pt x="660" y="264"/>
                  </a:cubicBezTo>
                  <a:cubicBezTo>
                    <a:pt x="673" y="264"/>
                    <a:pt x="673" y="264"/>
                    <a:pt x="673" y="264"/>
                  </a:cubicBezTo>
                  <a:cubicBezTo>
                    <a:pt x="689" y="289"/>
                    <a:pt x="689" y="289"/>
                    <a:pt x="689" y="289"/>
                  </a:cubicBezTo>
                  <a:cubicBezTo>
                    <a:pt x="699" y="289"/>
                    <a:pt x="699" y="289"/>
                    <a:pt x="699" y="289"/>
                  </a:cubicBezTo>
                  <a:cubicBezTo>
                    <a:pt x="682" y="263"/>
                    <a:pt x="682" y="263"/>
                    <a:pt x="682" y="263"/>
                  </a:cubicBezTo>
                  <a:cubicBezTo>
                    <a:pt x="690" y="262"/>
                    <a:pt x="698" y="256"/>
                    <a:pt x="698" y="244"/>
                  </a:cubicBezTo>
                  <a:close/>
                  <a:moveTo>
                    <a:pt x="660" y="257"/>
                  </a:moveTo>
                  <a:cubicBezTo>
                    <a:pt x="660" y="232"/>
                    <a:pt x="660" y="232"/>
                    <a:pt x="660" y="232"/>
                  </a:cubicBezTo>
                  <a:cubicBezTo>
                    <a:pt x="677" y="232"/>
                    <a:pt x="677" y="232"/>
                    <a:pt x="677" y="232"/>
                  </a:cubicBezTo>
                  <a:cubicBezTo>
                    <a:pt x="685" y="232"/>
                    <a:pt x="690" y="237"/>
                    <a:pt x="690" y="244"/>
                  </a:cubicBezTo>
                  <a:cubicBezTo>
                    <a:pt x="690" y="252"/>
                    <a:pt x="685" y="257"/>
                    <a:pt x="677" y="257"/>
                  </a:cubicBezTo>
                  <a:lnTo>
                    <a:pt x="660" y="257"/>
                  </a:lnTo>
                  <a:close/>
                  <a:moveTo>
                    <a:pt x="762" y="274"/>
                  </a:moveTo>
                  <a:cubicBezTo>
                    <a:pt x="742" y="225"/>
                    <a:pt x="742" y="225"/>
                    <a:pt x="742" y="225"/>
                  </a:cubicBezTo>
                  <a:cubicBezTo>
                    <a:pt x="731" y="225"/>
                    <a:pt x="731" y="225"/>
                    <a:pt x="731" y="225"/>
                  </a:cubicBezTo>
                  <a:cubicBezTo>
                    <a:pt x="731" y="289"/>
                    <a:pt x="731" y="289"/>
                    <a:pt x="731" y="289"/>
                  </a:cubicBezTo>
                  <a:cubicBezTo>
                    <a:pt x="739" y="289"/>
                    <a:pt x="739" y="289"/>
                    <a:pt x="739" y="289"/>
                  </a:cubicBezTo>
                  <a:cubicBezTo>
                    <a:pt x="739" y="235"/>
                    <a:pt x="739" y="235"/>
                    <a:pt x="739" y="235"/>
                  </a:cubicBezTo>
                  <a:cubicBezTo>
                    <a:pt x="761" y="289"/>
                    <a:pt x="761" y="289"/>
                    <a:pt x="761" y="289"/>
                  </a:cubicBezTo>
                  <a:cubicBezTo>
                    <a:pt x="764" y="289"/>
                    <a:pt x="764" y="289"/>
                    <a:pt x="764" y="289"/>
                  </a:cubicBezTo>
                  <a:cubicBezTo>
                    <a:pt x="786" y="235"/>
                    <a:pt x="786" y="235"/>
                    <a:pt x="786" y="235"/>
                  </a:cubicBezTo>
                  <a:cubicBezTo>
                    <a:pt x="786" y="289"/>
                    <a:pt x="786" y="289"/>
                    <a:pt x="786" y="289"/>
                  </a:cubicBezTo>
                  <a:cubicBezTo>
                    <a:pt x="794" y="289"/>
                    <a:pt x="794" y="289"/>
                    <a:pt x="794" y="289"/>
                  </a:cubicBezTo>
                  <a:cubicBezTo>
                    <a:pt x="794" y="225"/>
                    <a:pt x="794" y="225"/>
                    <a:pt x="794" y="225"/>
                  </a:cubicBezTo>
                  <a:cubicBezTo>
                    <a:pt x="782" y="225"/>
                    <a:pt x="782" y="225"/>
                    <a:pt x="782" y="225"/>
                  </a:cubicBezTo>
                  <a:lnTo>
                    <a:pt x="762" y="274"/>
                  </a:lnTo>
                  <a:close/>
                  <a:moveTo>
                    <a:pt x="806" y="289"/>
                  </a:moveTo>
                  <a:cubicBezTo>
                    <a:pt x="848" y="289"/>
                    <a:pt x="848" y="289"/>
                    <a:pt x="848" y="289"/>
                  </a:cubicBezTo>
                  <a:cubicBezTo>
                    <a:pt x="848" y="282"/>
                    <a:pt x="848" y="282"/>
                    <a:pt x="848" y="282"/>
                  </a:cubicBezTo>
                  <a:cubicBezTo>
                    <a:pt x="814" y="282"/>
                    <a:pt x="814" y="282"/>
                    <a:pt x="814" y="282"/>
                  </a:cubicBezTo>
                  <a:cubicBezTo>
                    <a:pt x="814" y="260"/>
                    <a:pt x="814" y="260"/>
                    <a:pt x="814" y="260"/>
                  </a:cubicBezTo>
                  <a:cubicBezTo>
                    <a:pt x="847" y="260"/>
                    <a:pt x="847" y="260"/>
                    <a:pt x="847" y="260"/>
                  </a:cubicBezTo>
                  <a:cubicBezTo>
                    <a:pt x="847" y="253"/>
                    <a:pt x="847" y="253"/>
                    <a:pt x="847" y="253"/>
                  </a:cubicBezTo>
                  <a:cubicBezTo>
                    <a:pt x="814" y="253"/>
                    <a:pt x="814" y="253"/>
                    <a:pt x="814" y="253"/>
                  </a:cubicBezTo>
                  <a:cubicBezTo>
                    <a:pt x="814" y="232"/>
                    <a:pt x="814" y="232"/>
                    <a:pt x="814" y="232"/>
                  </a:cubicBezTo>
                  <a:cubicBezTo>
                    <a:pt x="848" y="232"/>
                    <a:pt x="848" y="232"/>
                    <a:pt x="848" y="232"/>
                  </a:cubicBezTo>
                  <a:cubicBezTo>
                    <a:pt x="848" y="225"/>
                    <a:pt x="848" y="225"/>
                    <a:pt x="848" y="225"/>
                  </a:cubicBezTo>
                  <a:cubicBezTo>
                    <a:pt x="806" y="225"/>
                    <a:pt x="806" y="225"/>
                    <a:pt x="806" y="225"/>
                  </a:cubicBezTo>
                  <a:lnTo>
                    <a:pt x="806" y="289"/>
                  </a:lnTo>
                  <a:close/>
                  <a:moveTo>
                    <a:pt x="880" y="225"/>
                  </a:moveTo>
                  <a:cubicBezTo>
                    <a:pt x="858" y="225"/>
                    <a:pt x="858" y="225"/>
                    <a:pt x="858" y="225"/>
                  </a:cubicBezTo>
                  <a:cubicBezTo>
                    <a:pt x="858" y="289"/>
                    <a:pt x="858" y="289"/>
                    <a:pt x="858" y="289"/>
                  </a:cubicBezTo>
                  <a:cubicBezTo>
                    <a:pt x="880" y="289"/>
                    <a:pt x="880" y="289"/>
                    <a:pt x="880" y="289"/>
                  </a:cubicBezTo>
                  <a:cubicBezTo>
                    <a:pt x="900" y="289"/>
                    <a:pt x="913" y="275"/>
                    <a:pt x="913" y="257"/>
                  </a:cubicBezTo>
                  <a:cubicBezTo>
                    <a:pt x="913" y="239"/>
                    <a:pt x="900" y="225"/>
                    <a:pt x="880" y="225"/>
                  </a:cubicBezTo>
                  <a:close/>
                  <a:moveTo>
                    <a:pt x="880" y="282"/>
                  </a:moveTo>
                  <a:cubicBezTo>
                    <a:pt x="866" y="282"/>
                    <a:pt x="866" y="282"/>
                    <a:pt x="866" y="282"/>
                  </a:cubicBezTo>
                  <a:cubicBezTo>
                    <a:pt x="866" y="232"/>
                    <a:pt x="866" y="232"/>
                    <a:pt x="866" y="232"/>
                  </a:cubicBezTo>
                  <a:cubicBezTo>
                    <a:pt x="880" y="232"/>
                    <a:pt x="880" y="232"/>
                    <a:pt x="880" y="232"/>
                  </a:cubicBezTo>
                  <a:cubicBezTo>
                    <a:pt x="896" y="232"/>
                    <a:pt x="905" y="243"/>
                    <a:pt x="905" y="257"/>
                  </a:cubicBezTo>
                  <a:cubicBezTo>
                    <a:pt x="905" y="271"/>
                    <a:pt x="896" y="282"/>
                    <a:pt x="880" y="282"/>
                  </a:cubicBezTo>
                  <a:close/>
                  <a:moveTo>
                    <a:pt x="923" y="289"/>
                  </a:moveTo>
                  <a:cubicBezTo>
                    <a:pt x="931" y="289"/>
                    <a:pt x="931" y="289"/>
                    <a:pt x="931" y="289"/>
                  </a:cubicBezTo>
                  <a:cubicBezTo>
                    <a:pt x="931" y="225"/>
                    <a:pt x="931" y="225"/>
                    <a:pt x="931" y="225"/>
                  </a:cubicBezTo>
                  <a:cubicBezTo>
                    <a:pt x="923" y="225"/>
                    <a:pt x="923" y="225"/>
                    <a:pt x="923" y="225"/>
                  </a:cubicBezTo>
                  <a:lnTo>
                    <a:pt x="923" y="289"/>
                  </a:lnTo>
                  <a:close/>
                  <a:moveTo>
                    <a:pt x="974" y="283"/>
                  </a:moveTo>
                  <a:cubicBezTo>
                    <a:pt x="960" y="283"/>
                    <a:pt x="949" y="272"/>
                    <a:pt x="949" y="257"/>
                  </a:cubicBezTo>
                  <a:cubicBezTo>
                    <a:pt x="949" y="242"/>
                    <a:pt x="960" y="231"/>
                    <a:pt x="974" y="231"/>
                  </a:cubicBezTo>
                  <a:cubicBezTo>
                    <a:pt x="981" y="231"/>
                    <a:pt x="988" y="235"/>
                    <a:pt x="992" y="240"/>
                  </a:cubicBezTo>
                  <a:cubicBezTo>
                    <a:pt x="998" y="237"/>
                    <a:pt x="998" y="237"/>
                    <a:pt x="998" y="237"/>
                  </a:cubicBezTo>
                  <a:cubicBezTo>
                    <a:pt x="993" y="229"/>
                    <a:pt x="985" y="224"/>
                    <a:pt x="974" y="224"/>
                  </a:cubicBezTo>
                  <a:cubicBezTo>
                    <a:pt x="956" y="224"/>
                    <a:pt x="941" y="237"/>
                    <a:pt x="941" y="257"/>
                  </a:cubicBezTo>
                  <a:cubicBezTo>
                    <a:pt x="941" y="277"/>
                    <a:pt x="956" y="290"/>
                    <a:pt x="974" y="290"/>
                  </a:cubicBezTo>
                  <a:cubicBezTo>
                    <a:pt x="985" y="290"/>
                    <a:pt x="993" y="285"/>
                    <a:pt x="998" y="277"/>
                  </a:cubicBezTo>
                  <a:cubicBezTo>
                    <a:pt x="992" y="274"/>
                    <a:pt x="992" y="274"/>
                    <a:pt x="992" y="274"/>
                  </a:cubicBezTo>
                  <a:cubicBezTo>
                    <a:pt x="988" y="279"/>
                    <a:pt x="981" y="283"/>
                    <a:pt x="974" y="283"/>
                  </a:cubicBezTo>
                  <a:close/>
                  <a:moveTo>
                    <a:pt x="1025" y="225"/>
                  </a:moveTo>
                  <a:cubicBezTo>
                    <a:pt x="999" y="289"/>
                    <a:pt x="999" y="289"/>
                    <a:pt x="999" y="289"/>
                  </a:cubicBezTo>
                  <a:cubicBezTo>
                    <a:pt x="1008" y="289"/>
                    <a:pt x="1008" y="289"/>
                    <a:pt x="1008" y="289"/>
                  </a:cubicBezTo>
                  <a:cubicBezTo>
                    <a:pt x="1014" y="275"/>
                    <a:pt x="1014" y="275"/>
                    <a:pt x="1014" y="275"/>
                  </a:cubicBezTo>
                  <a:cubicBezTo>
                    <a:pt x="1046" y="275"/>
                    <a:pt x="1046" y="275"/>
                    <a:pt x="1046" y="275"/>
                  </a:cubicBezTo>
                  <a:cubicBezTo>
                    <a:pt x="1052" y="289"/>
                    <a:pt x="1052" y="289"/>
                    <a:pt x="1052" y="289"/>
                  </a:cubicBezTo>
                  <a:cubicBezTo>
                    <a:pt x="1061" y="289"/>
                    <a:pt x="1061" y="289"/>
                    <a:pt x="1061" y="289"/>
                  </a:cubicBezTo>
                  <a:cubicBezTo>
                    <a:pt x="1035" y="225"/>
                    <a:pt x="1035" y="225"/>
                    <a:pt x="1035" y="225"/>
                  </a:cubicBezTo>
                  <a:lnTo>
                    <a:pt x="1025" y="225"/>
                  </a:lnTo>
                  <a:close/>
                  <a:moveTo>
                    <a:pt x="1017" y="268"/>
                  </a:moveTo>
                  <a:cubicBezTo>
                    <a:pt x="1030" y="233"/>
                    <a:pt x="1030" y="233"/>
                    <a:pt x="1030" y="233"/>
                  </a:cubicBezTo>
                  <a:cubicBezTo>
                    <a:pt x="1044" y="268"/>
                    <a:pt x="1044" y="268"/>
                    <a:pt x="1044" y="268"/>
                  </a:cubicBezTo>
                  <a:lnTo>
                    <a:pt x="1017" y="268"/>
                  </a:lnTo>
                  <a:close/>
                  <a:moveTo>
                    <a:pt x="1074" y="225"/>
                  </a:moveTo>
                  <a:cubicBezTo>
                    <a:pt x="1066" y="225"/>
                    <a:pt x="1066" y="225"/>
                    <a:pt x="1066" y="225"/>
                  </a:cubicBezTo>
                  <a:cubicBezTo>
                    <a:pt x="1066" y="289"/>
                    <a:pt x="1066" y="289"/>
                    <a:pt x="1066" y="289"/>
                  </a:cubicBezTo>
                  <a:cubicBezTo>
                    <a:pt x="1103" y="289"/>
                    <a:pt x="1103" y="289"/>
                    <a:pt x="1103" y="289"/>
                  </a:cubicBezTo>
                  <a:cubicBezTo>
                    <a:pt x="1103" y="282"/>
                    <a:pt x="1103" y="282"/>
                    <a:pt x="1103" y="282"/>
                  </a:cubicBezTo>
                  <a:cubicBezTo>
                    <a:pt x="1074" y="282"/>
                    <a:pt x="1074" y="282"/>
                    <a:pt x="1074" y="282"/>
                  </a:cubicBezTo>
                  <a:lnTo>
                    <a:pt x="1074" y="225"/>
                  </a:lnTo>
                  <a:close/>
                  <a:moveTo>
                    <a:pt x="1157" y="283"/>
                  </a:moveTo>
                  <a:cubicBezTo>
                    <a:pt x="1143" y="283"/>
                    <a:pt x="1133" y="272"/>
                    <a:pt x="1133" y="257"/>
                  </a:cubicBezTo>
                  <a:cubicBezTo>
                    <a:pt x="1133" y="242"/>
                    <a:pt x="1143" y="231"/>
                    <a:pt x="1157" y="231"/>
                  </a:cubicBezTo>
                  <a:cubicBezTo>
                    <a:pt x="1165" y="231"/>
                    <a:pt x="1171" y="235"/>
                    <a:pt x="1175" y="240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76" y="229"/>
                    <a:pt x="1169" y="224"/>
                    <a:pt x="1157" y="224"/>
                  </a:cubicBezTo>
                  <a:cubicBezTo>
                    <a:pt x="1139" y="224"/>
                    <a:pt x="1124" y="237"/>
                    <a:pt x="1124" y="257"/>
                  </a:cubicBezTo>
                  <a:cubicBezTo>
                    <a:pt x="1124" y="277"/>
                    <a:pt x="1139" y="290"/>
                    <a:pt x="1157" y="290"/>
                  </a:cubicBezTo>
                  <a:cubicBezTo>
                    <a:pt x="1169" y="290"/>
                    <a:pt x="1176" y="285"/>
                    <a:pt x="1182" y="277"/>
                  </a:cubicBezTo>
                  <a:cubicBezTo>
                    <a:pt x="1175" y="274"/>
                    <a:pt x="1175" y="274"/>
                    <a:pt x="1175" y="274"/>
                  </a:cubicBezTo>
                  <a:cubicBezTo>
                    <a:pt x="1171" y="279"/>
                    <a:pt x="1165" y="283"/>
                    <a:pt x="1157" y="283"/>
                  </a:cubicBezTo>
                  <a:close/>
                  <a:moveTo>
                    <a:pt x="1189" y="289"/>
                  </a:moveTo>
                  <a:cubicBezTo>
                    <a:pt x="1231" y="289"/>
                    <a:pt x="1231" y="289"/>
                    <a:pt x="1231" y="289"/>
                  </a:cubicBezTo>
                  <a:cubicBezTo>
                    <a:pt x="1231" y="282"/>
                    <a:pt x="1231" y="282"/>
                    <a:pt x="1231" y="282"/>
                  </a:cubicBezTo>
                  <a:cubicBezTo>
                    <a:pt x="1197" y="282"/>
                    <a:pt x="1197" y="282"/>
                    <a:pt x="1197" y="282"/>
                  </a:cubicBezTo>
                  <a:cubicBezTo>
                    <a:pt x="1197" y="260"/>
                    <a:pt x="1197" y="260"/>
                    <a:pt x="1197" y="260"/>
                  </a:cubicBezTo>
                  <a:cubicBezTo>
                    <a:pt x="1231" y="260"/>
                    <a:pt x="1231" y="260"/>
                    <a:pt x="1231" y="260"/>
                  </a:cubicBezTo>
                  <a:cubicBezTo>
                    <a:pt x="1231" y="253"/>
                    <a:pt x="1231" y="253"/>
                    <a:pt x="1231" y="253"/>
                  </a:cubicBezTo>
                  <a:cubicBezTo>
                    <a:pt x="1197" y="253"/>
                    <a:pt x="1197" y="253"/>
                    <a:pt x="1197" y="253"/>
                  </a:cubicBezTo>
                  <a:cubicBezTo>
                    <a:pt x="1197" y="232"/>
                    <a:pt x="1197" y="232"/>
                    <a:pt x="1197" y="232"/>
                  </a:cubicBezTo>
                  <a:cubicBezTo>
                    <a:pt x="1231" y="232"/>
                    <a:pt x="1231" y="232"/>
                    <a:pt x="1231" y="232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189" y="225"/>
                    <a:pt x="1189" y="225"/>
                    <a:pt x="1189" y="225"/>
                  </a:cubicBezTo>
                  <a:lnTo>
                    <a:pt x="1189" y="289"/>
                  </a:lnTo>
                  <a:close/>
                  <a:moveTo>
                    <a:pt x="1287" y="275"/>
                  </a:moveTo>
                  <a:cubicBezTo>
                    <a:pt x="1250" y="225"/>
                    <a:pt x="1250" y="225"/>
                    <a:pt x="1250" y="225"/>
                  </a:cubicBezTo>
                  <a:cubicBezTo>
                    <a:pt x="1242" y="225"/>
                    <a:pt x="1242" y="225"/>
                    <a:pt x="1242" y="225"/>
                  </a:cubicBezTo>
                  <a:cubicBezTo>
                    <a:pt x="1242" y="289"/>
                    <a:pt x="1242" y="289"/>
                    <a:pt x="1242" y="289"/>
                  </a:cubicBezTo>
                  <a:cubicBezTo>
                    <a:pt x="1250" y="289"/>
                    <a:pt x="1250" y="289"/>
                    <a:pt x="1250" y="289"/>
                  </a:cubicBezTo>
                  <a:cubicBezTo>
                    <a:pt x="1250" y="238"/>
                    <a:pt x="1250" y="238"/>
                    <a:pt x="1250" y="238"/>
                  </a:cubicBezTo>
                  <a:cubicBezTo>
                    <a:pt x="1287" y="289"/>
                    <a:pt x="1287" y="289"/>
                    <a:pt x="1287" y="289"/>
                  </a:cubicBezTo>
                  <a:cubicBezTo>
                    <a:pt x="1295" y="289"/>
                    <a:pt x="1295" y="289"/>
                    <a:pt x="1295" y="289"/>
                  </a:cubicBezTo>
                  <a:cubicBezTo>
                    <a:pt x="1295" y="225"/>
                    <a:pt x="1295" y="225"/>
                    <a:pt x="1295" y="225"/>
                  </a:cubicBezTo>
                  <a:cubicBezTo>
                    <a:pt x="1287" y="225"/>
                    <a:pt x="1287" y="225"/>
                    <a:pt x="1287" y="225"/>
                  </a:cubicBezTo>
                  <a:lnTo>
                    <a:pt x="1287" y="275"/>
                  </a:lnTo>
                  <a:close/>
                  <a:moveTo>
                    <a:pt x="1303" y="232"/>
                  </a:moveTo>
                  <a:cubicBezTo>
                    <a:pt x="1323" y="232"/>
                    <a:pt x="1323" y="232"/>
                    <a:pt x="1323" y="232"/>
                  </a:cubicBezTo>
                  <a:cubicBezTo>
                    <a:pt x="1323" y="289"/>
                    <a:pt x="1323" y="289"/>
                    <a:pt x="1323" y="289"/>
                  </a:cubicBezTo>
                  <a:cubicBezTo>
                    <a:pt x="1331" y="289"/>
                    <a:pt x="1331" y="289"/>
                    <a:pt x="1331" y="289"/>
                  </a:cubicBezTo>
                  <a:cubicBezTo>
                    <a:pt x="1331" y="232"/>
                    <a:pt x="1331" y="232"/>
                    <a:pt x="1331" y="232"/>
                  </a:cubicBezTo>
                  <a:cubicBezTo>
                    <a:pt x="1351" y="232"/>
                    <a:pt x="1351" y="232"/>
                    <a:pt x="1351" y="232"/>
                  </a:cubicBezTo>
                  <a:cubicBezTo>
                    <a:pt x="1351" y="225"/>
                    <a:pt x="1351" y="225"/>
                    <a:pt x="1351" y="225"/>
                  </a:cubicBezTo>
                  <a:cubicBezTo>
                    <a:pt x="1303" y="225"/>
                    <a:pt x="1303" y="225"/>
                    <a:pt x="1303" y="225"/>
                  </a:cubicBezTo>
                  <a:lnTo>
                    <a:pt x="1303" y="232"/>
                  </a:lnTo>
                  <a:close/>
                  <a:moveTo>
                    <a:pt x="1360" y="289"/>
                  </a:moveTo>
                  <a:cubicBezTo>
                    <a:pt x="1401" y="289"/>
                    <a:pt x="1401" y="289"/>
                    <a:pt x="1401" y="289"/>
                  </a:cubicBezTo>
                  <a:cubicBezTo>
                    <a:pt x="1401" y="282"/>
                    <a:pt x="1401" y="282"/>
                    <a:pt x="1401" y="282"/>
                  </a:cubicBezTo>
                  <a:cubicBezTo>
                    <a:pt x="1367" y="282"/>
                    <a:pt x="1367" y="282"/>
                    <a:pt x="1367" y="282"/>
                  </a:cubicBezTo>
                  <a:cubicBezTo>
                    <a:pt x="1367" y="260"/>
                    <a:pt x="1367" y="260"/>
                    <a:pt x="1367" y="260"/>
                  </a:cubicBezTo>
                  <a:cubicBezTo>
                    <a:pt x="1401" y="260"/>
                    <a:pt x="1401" y="260"/>
                    <a:pt x="1401" y="260"/>
                  </a:cubicBezTo>
                  <a:cubicBezTo>
                    <a:pt x="1401" y="253"/>
                    <a:pt x="1401" y="253"/>
                    <a:pt x="1401" y="253"/>
                  </a:cubicBezTo>
                  <a:cubicBezTo>
                    <a:pt x="1367" y="253"/>
                    <a:pt x="1367" y="253"/>
                    <a:pt x="1367" y="253"/>
                  </a:cubicBezTo>
                  <a:cubicBezTo>
                    <a:pt x="1367" y="232"/>
                    <a:pt x="1367" y="232"/>
                    <a:pt x="1367" y="232"/>
                  </a:cubicBezTo>
                  <a:cubicBezTo>
                    <a:pt x="1401" y="232"/>
                    <a:pt x="1401" y="232"/>
                    <a:pt x="1401" y="232"/>
                  </a:cubicBezTo>
                  <a:cubicBezTo>
                    <a:pt x="1401" y="225"/>
                    <a:pt x="1401" y="225"/>
                    <a:pt x="1401" y="225"/>
                  </a:cubicBezTo>
                  <a:cubicBezTo>
                    <a:pt x="1360" y="225"/>
                    <a:pt x="1360" y="225"/>
                    <a:pt x="1360" y="225"/>
                  </a:cubicBezTo>
                  <a:lnTo>
                    <a:pt x="1360" y="289"/>
                  </a:lnTo>
                  <a:close/>
                  <a:moveTo>
                    <a:pt x="1458" y="244"/>
                  </a:moveTo>
                  <a:cubicBezTo>
                    <a:pt x="1458" y="233"/>
                    <a:pt x="1449" y="225"/>
                    <a:pt x="1437" y="225"/>
                  </a:cubicBezTo>
                  <a:cubicBezTo>
                    <a:pt x="1412" y="225"/>
                    <a:pt x="1412" y="225"/>
                    <a:pt x="1412" y="225"/>
                  </a:cubicBezTo>
                  <a:cubicBezTo>
                    <a:pt x="1412" y="289"/>
                    <a:pt x="1412" y="289"/>
                    <a:pt x="1412" y="289"/>
                  </a:cubicBezTo>
                  <a:cubicBezTo>
                    <a:pt x="1420" y="289"/>
                    <a:pt x="1420" y="289"/>
                    <a:pt x="1420" y="289"/>
                  </a:cubicBezTo>
                  <a:cubicBezTo>
                    <a:pt x="1420" y="264"/>
                    <a:pt x="1420" y="264"/>
                    <a:pt x="1420" y="264"/>
                  </a:cubicBezTo>
                  <a:cubicBezTo>
                    <a:pt x="1433" y="264"/>
                    <a:pt x="1433" y="264"/>
                    <a:pt x="1433" y="264"/>
                  </a:cubicBezTo>
                  <a:cubicBezTo>
                    <a:pt x="1449" y="289"/>
                    <a:pt x="1449" y="289"/>
                    <a:pt x="1449" y="289"/>
                  </a:cubicBezTo>
                  <a:cubicBezTo>
                    <a:pt x="1458" y="289"/>
                    <a:pt x="1458" y="289"/>
                    <a:pt x="1458" y="289"/>
                  </a:cubicBezTo>
                  <a:cubicBezTo>
                    <a:pt x="1441" y="263"/>
                    <a:pt x="1441" y="263"/>
                    <a:pt x="1441" y="263"/>
                  </a:cubicBezTo>
                  <a:cubicBezTo>
                    <a:pt x="1450" y="262"/>
                    <a:pt x="1458" y="256"/>
                    <a:pt x="1458" y="244"/>
                  </a:cubicBezTo>
                  <a:close/>
                  <a:moveTo>
                    <a:pt x="1420" y="257"/>
                  </a:moveTo>
                  <a:cubicBezTo>
                    <a:pt x="1420" y="232"/>
                    <a:pt x="1420" y="232"/>
                    <a:pt x="1420" y="232"/>
                  </a:cubicBezTo>
                  <a:cubicBezTo>
                    <a:pt x="1437" y="232"/>
                    <a:pt x="1437" y="232"/>
                    <a:pt x="1437" y="232"/>
                  </a:cubicBezTo>
                  <a:cubicBezTo>
                    <a:pt x="1444" y="232"/>
                    <a:pt x="1449" y="237"/>
                    <a:pt x="1449" y="244"/>
                  </a:cubicBezTo>
                  <a:cubicBezTo>
                    <a:pt x="1449" y="252"/>
                    <a:pt x="1444" y="257"/>
                    <a:pt x="1437" y="257"/>
                  </a:cubicBezTo>
                  <a:lnTo>
                    <a:pt x="1420" y="257"/>
                  </a:lnTo>
                  <a:close/>
                  <a:moveTo>
                    <a:pt x="59" y="0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58" y="312"/>
                    <a:pt x="58" y="312"/>
                    <a:pt x="58" y="312"/>
                  </a:cubicBezTo>
                  <a:cubicBezTo>
                    <a:pt x="180" y="312"/>
                    <a:pt x="180" y="312"/>
                    <a:pt x="180" y="312"/>
                  </a:cubicBezTo>
                  <a:cubicBezTo>
                    <a:pt x="239" y="253"/>
                    <a:pt x="239" y="253"/>
                    <a:pt x="239" y="25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180" y="0"/>
                    <a:pt x="180" y="0"/>
                    <a:pt x="180" y="0"/>
                  </a:cubicBezTo>
                  <a:lnTo>
                    <a:pt x="59" y="0"/>
                  </a:lnTo>
                  <a:close/>
                  <a:moveTo>
                    <a:pt x="233" y="251"/>
                  </a:moveTo>
                  <a:cubicBezTo>
                    <a:pt x="178" y="307"/>
                    <a:pt x="178" y="307"/>
                    <a:pt x="178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5" y="251"/>
                    <a:pt x="5" y="251"/>
                    <a:pt x="5" y="25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233" y="60"/>
                    <a:pt x="233" y="60"/>
                    <a:pt x="233" y="60"/>
                  </a:cubicBezTo>
                  <a:lnTo>
                    <a:pt x="233" y="251"/>
                  </a:lnTo>
                  <a:close/>
                  <a:moveTo>
                    <a:pt x="89" y="75"/>
                  </a:moveTo>
                  <a:cubicBezTo>
                    <a:pt x="73" y="91"/>
                    <a:pt x="73" y="91"/>
                    <a:pt x="73" y="91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89" y="238"/>
                    <a:pt x="89" y="238"/>
                    <a:pt x="89" y="238"/>
                  </a:cubicBezTo>
                  <a:cubicBezTo>
                    <a:pt x="150" y="238"/>
                    <a:pt x="150" y="238"/>
                    <a:pt x="150" y="238"/>
                  </a:cubicBezTo>
                  <a:cubicBezTo>
                    <a:pt x="165" y="222"/>
                    <a:pt x="165" y="222"/>
                    <a:pt x="165" y="222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49" y="75"/>
                    <a:pt x="149" y="75"/>
                    <a:pt x="149" y="75"/>
                  </a:cubicBezTo>
                  <a:lnTo>
                    <a:pt x="89" y="75"/>
                  </a:lnTo>
                  <a:close/>
                  <a:moveTo>
                    <a:pt x="160" y="220"/>
                  </a:moveTo>
                  <a:cubicBezTo>
                    <a:pt x="147" y="233"/>
                    <a:pt x="147" y="233"/>
                    <a:pt x="147" y="233"/>
                  </a:cubicBezTo>
                  <a:cubicBezTo>
                    <a:pt x="91" y="233"/>
                    <a:pt x="91" y="233"/>
                    <a:pt x="91" y="233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9" y="93"/>
                    <a:pt x="79" y="93"/>
                    <a:pt x="79" y="93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60" y="93"/>
                    <a:pt x="160" y="93"/>
                    <a:pt x="160" y="93"/>
                  </a:cubicBezTo>
                  <a:lnTo>
                    <a:pt x="160" y="220"/>
                  </a:lnTo>
                  <a:close/>
                  <a:moveTo>
                    <a:pt x="318" y="169"/>
                  </a:moveTo>
                  <a:cubicBezTo>
                    <a:pt x="318" y="174"/>
                    <a:pt x="318" y="174"/>
                    <a:pt x="318" y="174"/>
                  </a:cubicBezTo>
                  <a:cubicBezTo>
                    <a:pt x="2178" y="174"/>
                    <a:pt x="2178" y="174"/>
                    <a:pt x="2178" y="174"/>
                  </a:cubicBezTo>
                  <a:cubicBezTo>
                    <a:pt x="2178" y="169"/>
                    <a:pt x="2178" y="169"/>
                    <a:pt x="2178" y="169"/>
                  </a:cubicBezTo>
                  <a:lnTo>
                    <a:pt x="318" y="169"/>
                  </a:lnTo>
                  <a:close/>
                  <a:moveTo>
                    <a:pt x="1628" y="109"/>
                  </a:moveTo>
                  <a:cubicBezTo>
                    <a:pt x="1616" y="107"/>
                    <a:pt x="1616" y="107"/>
                    <a:pt x="1616" y="107"/>
                  </a:cubicBezTo>
                  <a:cubicBezTo>
                    <a:pt x="1616" y="48"/>
                    <a:pt x="1616" y="48"/>
                    <a:pt x="1616" y="48"/>
                  </a:cubicBezTo>
                  <a:cubicBezTo>
                    <a:pt x="1628" y="46"/>
                    <a:pt x="1628" y="46"/>
                    <a:pt x="1628" y="46"/>
                  </a:cubicBezTo>
                  <a:cubicBezTo>
                    <a:pt x="1628" y="39"/>
                    <a:pt x="1628" y="39"/>
                    <a:pt x="1628" y="39"/>
                  </a:cubicBezTo>
                  <a:cubicBezTo>
                    <a:pt x="1587" y="39"/>
                    <a:pt x="1587" y="39"/>
                    <a:pt x="1587" y="39"/>
                  </a:cubicBezTo>
                  <a:cubicBezTo>
                    <a:pt x="1587" y="46"/>
                    <a:pt x="1587" y="46"/>
                    <a:pt x="1587" y="46"/>
                  </a:cubicBezTo>
                  <a:cubicBezTo>
                    <a:pt x="1599" y="48"/>
                    <a:pt x="1599" y="48"/>
                    <a:pt x="1599" y="48"/>
                  </a:cubicBezTo>
                  <a:cubicBezTo>
                    <a:pt x="1599" y="107"/>
                    <a:pt x="1599" y="107"/>
                    <a:pt x="1599" y="107"/>
                  </a:cubicBezTo>
                  <a:cubicBezTo>
                    <a:pt x="1587" y="109"/>
                    <a:pt x="1587" y="109"/>
                    <a:pt x="1587" y="109"/>
                  </a:cubicBezTo>
                  <a:cubicBezTo>
                    <a:pt x="1587" y="116"/>
                    <a:pt x="1587" y="116"/>
                    <a:pt x="1587" y="116"/>
                  </a:cubicBezTo>
                  <a:cubicBezTo>
                    <a:pt x="1628" y="116"/>
                    <a:pt x="1628" y="116"/>
                    <a:pt x="1628" y="116"/>
                  </a:cubicBezTo>
                  <a:lnTo>
                    <a:pt x="1628" y="109"/>
                  </a:lnTo>
                  <a:close/>
                  <a:moveTo>
                    <a:pt x="1526" y="109"/>
                  </a:moveTo>
                  <a:cubicBezTo>
                    <a:pt x="1515" y="107"/>
                    <a:pt x="1515" y="107"/>
                    <a:pt x="1515" y="107"/>
                  </a:cubicBezTo>
                  <a:cubicBezTo>
                    <a:pt x="1515" y="61"/>
                    <a:pt x="1515" y="61"/>
                    <a:pt x="1515" y="61"/>
                  </a:cubicBezTo>
                  <a:cubicBezTo>
                    <a:pt x="1553" y="116"/>
                    <a:pt x="1553" y="116"/>
                    <a:pt x="1553" y="116"/>
                  </a:cubicBezTo>
                  <a:cubicBezTo>
                    <a:pt x="1567" y="116"/>
                    <a:pt x="1567" y="116"/>
                    <a:pt x="1567" y="116"/>
                  </a:cubicBezTo>
                  <a:cubicBezTo>
                    <a:pt x="1567" y="48"/>
                    <a:pt x="1567" y="48"/>
                    <a:pt x="1567" y="48"/>
                  </a:cubicBezTo>
                  <a:cubicBezTo>
                    <a:pt x="1578" y="46"/>
                    <a:pt x="1578" y="46"/>
                    <a:pt x="1578" y="46"/>
                  </a:cubicBezTo>
                  <a:cubicBezTo>
                    <a:pt x="1578" y="39"/>
                    <a:pt x="1578" y="39"/>
                    <a:pt x="1578" y="39"/>
                  </a:cubicBezTo>
                  <a:cubicBezTo>
                    <a:pt x="1544" y="39"/>
                    <a:pt x="1544" y="39"/>
                    <a:pt x="1544" y="39"/>
                  </a:cubicBezTo>
                  <a:cubicBezTo>
                    <a:pt x="1544" y="46"/>
                    <a:pt x="1544" y="46"/>
                    <a:pt x="1544" y="46"/>
                  </a:cubicBezTo>
                  <a:cubicBezTo>
                    <a:pt x="1556" y="48"/>
                    <a:pt x="1556" y="48"/>
                    <a:pt x="1556" y="48"/>
                  </a:cubicBezTo>
                  <a:cubicBezTo>
                    <a:pt x="1556" y="91"/>
                    <a:pt x="1556" y="91"/>
                    <a:pt x="1556" y="91"/>
                  </a:cubicBezTo>
                  <a:cubicBezTo>
                    <a:pt x="1518" y="39"/>
                    <a:pt x="1518" y="39"/>
                    <a:pt x="1518" y="39"/>
                  </a:cubicBezTo>
                  <a:cubicBezTo>
                    <a:pt x="1492" y="39"/>
                    <a:pt x="1492" y="39"/>
                    <a:pt x="1492" y="39"/>
                  </a:cubicBezTo>
                  <a:cubicBezTo>
                    <a:pt x="1492" y="46"/>
                    <a:pt x="1492" y="46"/>
                    <a:pt x="1492" y="46"/>
                  </a:cubicBezTo>
                  <a:cubicBezTo>
                    <a:pt x="1503" y="48"/>
                    <a:pt x="1503" y="48"/>
                    <a:pt x="1503" y="48"/>
                  </a:cubicBezTo>
                  <a:cubicBezTo>
                    <a:pt x="1503" y="107"/>
                    <a:pt x="1503" y="107"/>
                    <a:pt x="1503" y="107"/>
                  </a:cubicBezTo>
                  <a:cubicBezTo>
                    <a:pt x="1492" y="109"/>
                    <a:pt x="1492" y="109"/>
                    <a:pt x="1492" y="109"/>
                  </a:cubicBezTo>
                  <a:cubicBezTo>
                    <a:pt x="1492" y="116"/>
                    <a:pt x="1492" y="116"/>
                    <a:pt x="1492" y="116"/>
                  </a:cubicBezTo>
                  <a:cubicBezTo>
                    <a:pt x="1526" y="116"/>
                    <a:pt x="1526" y="116"/>
                    <a:pt x="1526" y="116"/>
                  </a:cubicBezTo>
                  <a:lnTo>
                    <a:pt x="1526" y="109"/>
                  </a:lnTo>
                  <a:close/>
                  <a:moveTo>
                    <a:pt x="1400" y="76"/>
                  </a:moveTo>
                  <a:cubicBezTo>
                    <a:pt x="1400" y="86"/>
                    <a:pt x="1399" y="99"/>
                    <a:pt x="1407" y="107"/>
                  </a:cubicBezTo>
                  <a:cubicBezTo>
                    <a:pt x="1414" y="114"/>
                    <a:pt x="1424" y="117"/>
                    <a:pt x="1438" y="117"/>
                  </a:cubicBezTo>
                  <a:cubicBezTo>
                    <a:pt x="1451" y="117"/>
                    <a:pt x="1461" y="115"/>
                    <a:pt x="1466" y="109"/>
                  </a:cubicBezTo>
                  <a:cubicBezTo>
                    <a:pt x="1474" y="101"/>
                    <a:pt x="1475" y="94"/>
                    <a:pt x="1475" y="77"/>
                  </a:cubicBezTo>
                  <a:cubicBezTo>
                    <a:pt x="1475" y="27"/>
                    <a:pt x="1475" y="27"/>
                    <a:pt x="1475" y="27"/>
                  </a:cubicBezTo>
                  <a:cubicBezTo>
                    <a:pt x="1487" y="26"/>
                    <a:pt x="1487" y="26"/>
                    <a:pt x="1487" y="26"/>
                  </a:cubicBezTo>
                  <a:cubicBezTo>
                    <a:pt x="1487" y="18"/>
                    <a:pt x="1487" y="18"/>
                    <a:pt x="1487" y="18"/>
                  </a:cubicBezTo>
                  <a:cubicBezTo>
                    <a:pt x="1452" y="18"/>
                    <a:pt x="1452" y="18"/>
                    <a:pt x="1452" y="18"/>
                  </a:cubicBezTo>
                  <a:cubicBezTo>
                    <a:pt x="1452" y="26"/>
                    <a:pt x="1452" y="26"/>
                    <a:pt x="1452" y="26"/>
                  </a:cubicBezTo>
                  <a:cubicBezTo>
                    <a:pt x="1463" y="27"/>
                    <a:pt x="1463" y="27"/>
                    <a:pt x="1463" y="27"/>
                  </a:cubicBezTo>
                  <a:cubicBezTo>
                    <a:pt x="1463" y="84"/>
                    <a:pt x="1463" y="84"/>
                    <a:pt x="1463" y="84"/>
                  </a:cubicBezTo>
                  <a:cubicBezTo>
                    <a:pt x="1463" y="92"/>
                    <a:pt x="1461" y="97"/>
                    <a:pt x="1458" y="101"/>
                  </a:cubicBezTo>
                  <a:cubicBezTo>
                    <a:pt x="1454" y="105"/>
                    <a:pt x="1448" y="107"/>
                    <a:pt x="1441" y="107"/>
                  </a:cubicBezTo>
                  <a:cubicBezTo>
                    <a:pt x="1427" y="107"/>
                    <a:pt x="1418" y="100"/>
                    <a:pt x="1418" y="84"/>
                  </a:cubicBezTo>
                  <a:cubicBezTo>
                    <a:pt x="1418" y="27"/>
                    <a:pt x="1418" y="27"/>
                    <a:pt x="1418" y="27"/>
                  </a:cubicBezTo>
                  <a:cubicBezTo>
                    <a:pt x="1430" y="26"/>
                    <a:pt x="1430" y="26"/>
                    <a:pt x="1430" y="26"/>
                  </a:cubicBezTo>
                  <a:cubicBezTo>
                    <a:pt x="1430" y="18"/>
                    <a:pt x="1430" y="18"/>
                    <a:pt x="1430" y="18"/>
                  </a:cubicBezTo>
                  <a:cubicBezTo>
                    <a:pt x="1388" y="18"/>
                    <a:pt x="1388" y="18"/>
                    <a:pt x="1388" y="18"/>
                  </a:cubicBezTo>
                  <a:cubicBezTo>
                    <a:pt x="1388" y="26"/>
                    <a:pt x="1388" y="26"/>
                    <a:pt x="1388" y="26"/>
                  </a:cubicBezTo>
                  <a:cubicBezTo>
                    <a:pt x="1400" y="27"/>
                    <a:pt x="1400" y="27"/>
                    <a:pt x="1400" y="27"/>
                  </a:cubicBezTo>
                  <a:lnTo>
                    <a:pt x="1400" y="76"/>
                  </a:lnTo>
                  <a:close/>
                  <a:moveTo>
                    <a:pt x="1671" y="116"/>
                  </a:moveTo>
                  <a:cubicBezTo>
                    <a:pt x="1687" y="116"/>
                    <a:pt x="1687" y="116"/>
                    <a:pt x="1687" y="116"/>
                  </a:cubicBezTo>
                  <a:cubicBezTo>
                    <a:pt x="1713" y="48"/>
                    <a:pt x="1713" y="48"/>
                    <a:pt x="1713" y="48"/>
                  </a:cubicBezTo>
                  <a:cubicBezTo>
                    <a:pt x="1724" y="46"/>
                    <a:pt x="1724" y="46"/>
                    <a:pt x="1724" y="46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690" y="39"/>
                    <a:pt x="1690" y="39"/>
                    <a:pt x="1690" y="39"/>
                  </a:cubicBezTo>
                  <a:cubicBezTo>
                    <a:pt x="1690" y="46"/>
                    <a:pt x="1690" y="46"/>
                    <a:pt x="1690" y="46"/>
                  </a:cubicBezTo>
                  <a:cubicBezTo>
                    <a:pt x="1701" y="48"/>
                    <a:pt x="1701" y="48"/>
                    <a:pt x="1701" y="48"/>
                  </a:cubicBezTo>
                  <a:cubicBezTo>
                    <a:pt x="1682" y="100"/>
                    <a:pt x="1682" y="100"/>
                    <a:pt x="1682" y="100"/>
                  </a:cubicBezTo>
                  <a:cubicBezTo>
                    <a:pt x="1663" y="48"/>
                    <a:pt x="1663" y="48"/>
                    <a:pt x="1663" y="48"/>
                  </a:cubicBezTo>
                  <a:cubicBezTo>
                    <a:pt x="1674" y="46"/>
                    <a:pt x="1674" y="46"/>
                    <a:pt x="1674" y="46"/>
                  </a:cubicBezTo>
                  <a:cubicBezTo>
                    <a:pt x="1674" y="39"/>
                    <a:pt x="1674" y="39"/>
                    <a:pt x="1674" y="39"/>
                  </a:cubicBezTo>
                  <a:cubicBezTo>
                    <a:pt x="1634" y="39"/>
                    <a:pt x="1634" y="39"/>
                    <a:pt x="1634" y="39"/>
                  </a:cubicBezTo>
                  <a:cubicBezTo>
                    <a:pt x="1634" y="46"/>
                    <a:pt x="1634" y="46"/>
                    <a:pt x="1634" y="46"/>
                  </a:cubicBezTo>
                  <a:cubicBezTo>
                    <a:pt x="1645" y="48"/>
                    <a:pt x="1645" y="48"/>
                    <a:pt x="1645" y="48"/>
                  </a:cubicBezTo>
                  <a:lnTo>
                    <a:pt x="1671" y="116"/>
                  </a:lnTo>
                  <a:close/>
                  <a:moveTo>
                    <a:pt x="2003" y="109"/>
                  </a:moveTo>
                  <a:cubicBezTo>
                    <a:pt x="1992" y="107"/>
                    <a:pt x="1992" y="107"/>
                    <a:pt x="1992" y="107"/>
                  </a:cubicBezTo>
                  <a:cubicBezTo>
                    <a:pt x="1992" y="48"/>
                    <a:pt x="1992" y="48"/>
                    <a:pt x="1992" y="48"/>
                  </a:cubicBezTo>
                  <a:cubicBezTo>
                    <a:pt x="2003" y="46"/>
                    <a:pt x="2003" y="46"/>
                    <a:pt x="2003" y="46"/>
                  </a:cubicBezTo>
                  <a:cubicBezTo>
                    <a:pt x="2003" y="39"/>
                    <a:pt x="2003" y="39"/>
                    <a:pt x="2003" y="39"/>
                  </a:cubicBezTo>
                  <a:cubicBezTo>
                    <a:pt x="1963" y="39"/>
                    <a:pt x="1963" y="39"/>
                    <a:pt x="1963" y="39"/>
                  </a:cubicBezTo>
                  <a:cubicBezTo>
                    <a:pt x="1963" y="46"/>
                    <a:pt x="1963" y="46"/>
                    <a:pt x="1963" y="46"/>
                  </a:cubicBezTo>
                  <a:cubicBezTo>
                    <a:pt x="1974" y="48"/>
                    <a:pt x="1974" y="48"/>
                    <a:pt x="1974" y="48"/>
                  </a:cubicBezTo>
                  <a:cubicBezTo>
                    <a:pt x="1974" y="107"/>
                    <a:pt x="1974" y="107"/>
                    <a:pt x="1974" y="107"/>
                  </a:cubicBezTo>
                  <a:cubicBezTo>
                    <a:pt x="1963" y="109"/>
                    <a:pt x="1963" y="109"/>
                    <a:pt x="1963" y="109"/>
                  </a:cubicBezTo>
                  <a:cubicBezTo>
                    <a:pt x="1963" y="116"/>
                    <a:pt x="1963" y="116"/>
                    <a:pt x="1963" y="116"/>
                  </a:cubicBezTo>
                  <a:cubicBezTo>
                    <a:pt x="2003" y="116"/>
                    <a:pt x="2003" y="116"/>
                    <a:pt x="2003" y="116"/>
                  </a:cubicBezTo>
                  <a:lnTo>
                    <a:pt x="2003" y="109"/>
                  </a:lnTo>
                  <a:close/>
                  <a:moveTo>
                    <a:pt x="2021" y="49"/>
                  </a:moveTo>
                  <a:cubicBezTo>
                    <a:pt x="2037" y="49"/>
                    <a:pt x="2037" y="49"/>
                    <a:pt x="2037" y="49"/>
                  </a:cubicBezTo>
                  <a:cubicBezTo>
                    <a:pt x="2037" y="107"/>
                    <a:pt x="2037" y="107"/>
                    <a:pt x="2037" y="107"/>
                  </a:cubicBezTo>
                  <a:cubicBezTo>
                    <a:pt x="2026" y="109"/>
                    <a:pt x="2026" y="109"/>
                    <a:pt x="2026" y="109"/>
                  </a:cubicBezTo>
                  <a:cubicBezTo>
                    <a:pt x="2026" y="116"/>
                    <a:pt x="2026" y="116"/>
                    <a:pt x="2026" y="116"/>
                  </a:cubicBezTo>
                  <a:cubicBezTo>
                    <a:pt x="2066" y="116"/>
                    <a:pt x="2066" y="116"/>
                    <a:pt x="2066" y="116"/>
                  </a:cubicBezTo>
                  <a:cubicBezTo>
                    <a:pt x="2066" y="109"/>
                    <a:pt x="2066" y="109"/>
                    <a:pt x="2066" y="109"/>
                  </a:cubicBezTo>
                  <a:cubicBezTo>
                    <a:pt x="2055" y="107"/>
                    <a:pt x="2055" y="107"/>
                    <a:pt x="2055" y="107"/>
                  </a:cubicBezTo>
                  <a:cubicBezTo>
                    <a:pt x="2055" y="49"/>
                    <a:pt x="2055" y="49"/>
                    <a:pt x="2055" y="49"/>
                  </a:cubicBezTo>
                  <a:cubicBezTo>
                    <a:pt x="2072" y="49"/>
                    <a:pt x="2072" y="49"/>
                    <a:pt x="2072" y="49"/>
                  </a:cubicBezTo>
                  <a:cubicBezTo>
                    <a:pt x="2074" y="60"/>
                    <a:pt x="2074" y="60"/>
                    <a:pt x="2074" y="60"/>
                  </a:cubicBezTo>
                  <a:cubicBezTo>
                    <a:pt x="2081" y="60"/>
                    <a:pt x="2081" y="60"/>
                    <a:pt x="2081" y="60"/>
                  </a:cubicBezTo>
                  <a:cubicBezTo>
                    <a:pt x="2081" y="39"/>
                    <a:pt x="2081" y="39"/>
                    <a:pt x="2081" y="39"/>
                  </a:cubicBezTo>
                  <a:cubicBezTo>
                    <a:pt x="2011" y="39"/>
                    <a:pt x="2011" y="39"/>
                    <a:pt x="2011" y="39"/>
                  </a:cubicBezTo>
                  <a:cubicBezTo>
                    <a:pt x="2011" y="60"/>
                    <a:pt x="2011" y="60"/>
                    <a:pt x="2011" y="60"/>
                  </a:cubicBezTo>
                  <a:cubicBezTo>
                    <a:pt x="2019" y="60"/>
                    <a:pt x="2019" y="60"/>
                    <a:pt x="2019" y="60"/>
                  </a:cubicBezTo>
                  <a:lnTo>
                    <a:pt x="2021" y="49"/>
                  </a:lnTo>
                  <a:close/>
                  <a:moveTo>
                    <a:pt x="2122" y="82"/>
                  </a:moveTo>
                  <a:cubicBezTo>
                    <a:pt x="2122" y="107"/>
                    <a:pt x="2122" y="107"/>
                    <a:pt x="2122" y="107"/>
                  </a:cubicBezTo>
                  <a:cubicBezTo>
                    <a:pt x="2110" y="109"/>
                    <a:pt x="2110" y="109"/>
                    <a:pt x="2110" y="109"/>
                  </a:cubicBezTo>
                  <a:cubicBezTo>
                    <a:pt x="2110" y="116"/>
                    <a:pt x="2110" y="116"/>
                    <a:pt x="2110" y="116"/>
                  </a:cubicBezTo>
                  <a:cubicBezTo>
                    <a:pt x="2150" y="116"/>
                    <a:pt x="2150" y="116"/>
                    <a:pt x="2150" y="116"/>
                  </a:cubicBezTo>
                  <a:cubicBezTo>
                    <a:pt x="2150" y="109"/>
                    <a:pt x="2150" y="109"/>
                    <a:pt x="2150" y="109"/>
                  </a:cubicBezTo>
                  <a:cubicBezTo>
                    <a:pt x="2139" y="107"/>
                    <a:pt x="2139" y="107"/>
                    <a:pt x="2139" y="107"/>
                  </a:cubicBezTo>
                  <a:cubicBezTo>
                    <a:pt x="2139" y="82"/>
                    <a:pt x="2139" y="82"/>
                    <a:pt x="2139" y="82"/>
                  </a:cubicBezTo>
                  <a:cubicBezTo>
                    <a:pt x="2161" y="48"/>
                    <a:pt x="2161" y="48"/>
                    <a:pt x="2161" y="48"/>
                  </a:cubicBezTo>
                  <a:cubicBezTo>
                    <a:pt x="2172" y="46"/>
                    <a:pt x="2172" y="46"/>
                    <a:pt x="2172" y="46"/>
                  </a:cubicBezTo>
                  <a:cubicBezTo>
                    <a:pt x="2172" y="39"/>
                    <a:pt x="2172" y="39"/>
                    <a:pt x="2172" y="39"/>
                  </a:cubicBezTo>
                  <a:cubicBezTo>
                    <a:pt x="2138" y="39"/>
                    <a:pt x="2138" y="39"/>
                    <a:pt x="2138" y="39"/>
                  </a:cubicBezTo>
                  <a:cubicBezTo>
                    <a:pt x="2138" y="46"/>
                    <a:pt x="2138" y="46"/>
                    <a:pt x="2138" y="46"/>
                  </a:cubicBezTo>
                  <a:cubicBezTo>
                    <a:pt x="2149" y="48"/>
                    <a:pt x="2149" y="48"/>
                    <a:pt x="2149" y="48"/>
                  </a:cubicBezTo>
                  <a:cubicBezTo>
                    <a:pt x="2133" y="73"/>
                    <a:pt x="2133" y="73"/>
                    <a:pt x="2133" y="73"/>
                  </a:cubicBezTo>
                  <a:cubicBezTo>
                    <a:pt x="2118" y="48"/>
                    <a:pt x="2118" y="48"/>
                    <a:pt x="2118" y="48"/>
                  </a:cubicBezTo>
                  <a:cubicBezTo>
                    <a:pt x="2129" y="46"/>
                    <a:pt x="2129" y="46"/>
                    <a:pt x="2129" y="46"/>
                  </a:cubicBezTo>
                  <a:cubicBezTo>
                    <a:pt x="2129" y="39"/>
                    <a:pt x="2129" y="39"/>
                    <a:pt x="2129" y="39"/>
                  </a:cubicBezTo>
                  <a:cubicBezTo>
                    <a:pt x="2088" y="39"/>
                    <a:pt x="2088" y="39"/>
                    <a:pt x="2088" y="39"/>
                  </a:cubicBezTo>
                  <a:cubicBezTo>
                    <a:pt x="2088" y="46"/>
                    <a:pt x="2088" y="46"/>
                    <a:pt x="2088" y="46"/>
                  </a:cubicBezTo>
                  <a:cubicBezTo>
                    <a:pt x="2099" y="48"/>
                    <a:pt x="2099" y="48"/>
                    <a:pt x="2099" y="48"/>
                  </a:cubicBezTo>
                  <a:lnTo>
                    <a:pt x="2122" y="82"/>
                  </a:lnTo>
                  <a:close/>
                  <a:moveTo>
                    <a:pt x="1953" y="94"/>
                  </a:moveTo>
                  <a:cubicBezTo>
                    <a:pt x="1953" y="63"/>
                    <a:pt x="1913" y="75"/>
                    <a:pt x="1913" y="58"/>
                  </a:cubicBezTo>
                  <a:cubicBezTo>
                    <a:pt x="1913" y="50"/>
                    <a:pt x="1919" y="48"/>
                    <a:pt x="1926" y="48"/>
                  </a:cubicBezTo>
                  <a:cubicBezTo>
                    <a:pt x="1933" y="48"/>
                    <a:pt x="1939" y="49"/>
                    <a:pt x="1939" y="49"/>
                  </a:cubicBezTo>
                  <a:cubicBezTo>
                    <a:pt x="1941" y="61"/>
                    <a:pt x="1941" y="61"/>
                    <a:pt x="1941" y="61"/>
                  </a:cubicBezTo>
                  <a:cubicBezTo>
                    <a:pt x="1949" y="61"/>
                    <a:pt x="1949" y="61"/>
                    <a:pt x="1949" y="61"/>
                  </a:cubicBezTo>
                  <a:cubicBezTo>
                    <a:pt x="1949" y="42"/>
                    <a:pt x="1949" y="42"/>
                    <a:pt x="1949" y="42"/>
                  </a:cubicBezTo>
                  <a:cubicBezTo>
                    <a:pt x="1941" y="40"/>
                    <a:pt x="1933" y="38"/>
                    <a:pt x="1924" y="38"/>
                  </a:cubicBezTo>
                  <a:cubicBezTo>
                    <a:pt x="1905" y="38"/>
                    <a:pt x="1896" y="46"/>
                    <a:pt x="1896" y="60"/>
                  </a:cubicBezTo>
                  <a:cubicBezTo>
                    <a:pt x="1896" y="79"/>
                    <a:pt x="1914" y="81"/>
                    <a:pt x="1928" y="86"/>
                  </a:cubicBezTo>
                  <a:cubicBezTo>
                    <a:pt x="1933" y="87"/>
                    <a:pt x="1936" y="89"/>
                    <a:pt x="1936" y="95"/>
                  </a:cubicBezTo>
                  <a:cubicBezTo>
                    <a:pt x="1936" y="104"/>
                    <a:pt x="1929" y="107"/>
                    <a:pt x="1920" y="107"/>
                  </a:cubicBezTo>
                  <a:cubicBezTo>
                    <a:pt x="1911" y="107"/>
                    <a:pt x="1905" y="105"/>
                    <a:pt x="1905" y="105"/>
                  </a:cubicBezTo>
                  <a:cubicBezTo>
                    <a:pt x="1903" y="92"/>
                    <a:pt x="1903" y="92"/>
                    <a:pt x="1903" y="92"/>
                  </a:cubicBezTo>
                  <a:cubicBezTo>
                    <a:pt x="1896" y="92"/>
                    <a:pt x="1896" y="92"/>
                    <a:pt x="1896" y="92"/>
                  </a:cubicBezTo>
                  <a:cubicBezTo>
                    <a:pt x="1896" y="112"/>
                    <a:pt x="1896" y="112"/>
                    <a:pt x="1896" y="112"/>
                  </a:cubicBezTo>
                  <a:cubicBezTo>
                    <a:pt x="1896" y="112"/>
                    <a:pt x="1908" y="117"/>
                    <a:pt x="1922" y="117"/>
                  </a:cubicBezTo>
                  <a:cubicBezTo>
                    <a:pt x="1942" y="117"/>
                    <a:pt x="1953" y="109"/>
                    <a:pt x="1953" y="94"/>
                  </a:cubicBezTo>
                  <a:close/>
                  <a:moveTo>
                    <a:pt x="1847" y="109"/>
                  </a:moveTo>
                  <a:cubicBezTo>
                    <a:pt x="1836" y="107"/>
                    <a:pt x="1836" y="107"/>
                    <a:pt x="1836" y="107"/>
                  </a:cubicBezTo>
                  <a:cubicBezTo>
                    <a:pt x="1836" y="81"/>
                    <a:pt x="1836" y="81"/>
                    <a:pt x="1836" y="81"/>
                  </a:cubicBezTo>
                  <a:cubicBezTo>
                    <a:pt x="1838" y="81"/>
                    <a:pt x="1838" y="81"/>
                    <a:pt x="1838" y="81"/>
                  </a:cubicBezTo>
                  <a:cubicBezTo>
                    <a:pt x="1848" y="81"/>
                    <a:pt x="1851" y="86"/>
                    <a:pt x="1855" y="98"/>
                  </a:cubicBezTo>
                  <a:cubicBezTo>
                    <a:pt x="1863" y="116"/>
                    <a:pt x="1863" y="116"/>
                    <a:pt x="1863" y="116"/>
                  </a:cubicBezTo>
                  <a:cubicBezTo>
                    <a:pt x="1887" y="116"/>
                    <a:pt x="1887" y="116"/>
                    <a:pt x="1887" y="116"/>
                  </a:cubicBezTo>
                  <a:cubicBezTo>
                    <a:pt x="1887" y="109"/>
                    <a:pt x="1887" y="109"/>
                    <a:pt x="1887" y="109"/>
                  </a:cubicBezTo>
                  <a:cubicBezTo>
                    <a:pt x="1876" y="107"/>
                    <a:pt x="1876" y="107"/>
                    <a:pt x="1876" y="107"/>
                  </a:cubicBezTo>
                  <a:cubicBezTo>
                    <a:pt x="1873" y="99"/>
                    <a:pt x="1868" y="84"/>
                    <a:pt x="1861" y="79"/>
                  </a:cubicBezTo>
                  <a:cubicBezTo>
                    <a:pt x="1869" y="76"/>
                    <a:pt x="1875" y="68"/>
                    <a:pt x="1875" y="59"/>
                  </a:cubicBezTo>
                  <a:cubicBezTo>
                    <a:pt x="1875" y="54"/>
                    <a:pt x="1873" y="49"/>
                    <a:pt x="1869" y="45"/>
                  </a:cubicBezTo>
                  <a:cubicBezTo>
                    <a:pt x="1863" y="40"/>
                    <a:pt x="1854" y="39"/>
                    <a:pt x="1846" y="39"/>
                  </a:cubicBezTo>
                  <a:cubicBezTo>
                    <a:pt x="1807" y="39"/>
                    <a:pt x="1807" y="39"/>
                    <a:pt x="1807" y="39"/>
                  </a:cubicBezTo>
                  <a:cubicBezTo>
                    <a:pt x="1807" y="46"/>
                    <a:pt x="1807" y="46"/>
                    <a:pt x="1807" y="46"/>
                  </a:cubicBezTo>
                  <a:cubicBezTo>
                    <a:pt x="1819" y="48"/>
                    <a:pt x="1819" y="48"/>
                    <a:pt x="1819" y="48"/>
                  </a:cubicBezTo>
                  <a:cubicBezTo>
                    <a:pt x="1819" y="107"/>
                    <a:pt x="1819" y="107"/>
                    <a:pt x="1819" y="107"/>
                  </a:cubicBezTo>
                  <a:cubicBezTo>
                    <a:pt x="1807" y="109"/>
                    <a:pt x="1807" y="109"/>
                    <a:pt x="1807" y="109"/>
                  </a:cubicBezTo>
                  <a:cubicBezTo>
                    <a:pt x="1807" y="116"/>
                    <a:pt x="1807" y="116"/>
                    <a:pt x="1807" y="116"/>
                  </a:cubicBezTo>
                  <a:cubicBezTo>
                    <a:pt x="1847" y="116"/>
                    <a:pt x="1847" y="116"/>
                    <a:pt x="1847" y="116"/>
                  </a:cubicBezTo>
                  <a:lnTo>
                    <a:pt x="1847" y="109"/>
                  </a:lnTo>
                  <a:close/>
                  <a:moveTo>
                    <a:pt x="1836" y="48"/>
                  </a:moveTo>
                  <a:cubicBezTo>
                    <a:pt x="1841" y="48"/>
                    <a:pt x="1841" y="48"/>
                    <a:pt x="1841" y="48"/>
                  </a:cubicBezTo>
                  <a:cubicBezTo>
                    <a:pt x="1845" y="48"/>
                    <a:pt x="1852" y="48"/>
                    <a:pt x="1854" y="51"/>
                  </a:cubicBezTo>
                  <a:cubicBezTo>
                    <a:pt x="1857" y="53"/>
                    <a:pt x="1858" y="57"/>
                    <a:pt x="1858" y="60"/>
                  </a:cubicBezTo>
                  <a:cubicBezTo>
                    <a:pt x="1858" y="63"/>
                    <a:pt x="1857" y="66"/>
                    <a:pt x="1855" y="69"/>
                  </a:cubicBezTo>
                  <a:cubicBezTo>
                    <a:pt x="1851" y="73"/>
                    <a:pt x="1844" y="73"/>
                    <a:pt x="1839" y="73"/>
                  </a:cubicBezTo>
                  <a:cubicBezTo>
                    <a:pt x="1836" y="73"/>
                    <a:pt x="1836" y="73"/>
                    <a:pt x="1836" y="73"/>
                  </a:cubicBezTo>
                  <a:lnTo>
                    <a:pt x="1836" y="48"/>
                  </a:lnTo>
                  <a:close/>
                  <a:moveTo>
                    <a:pt x="1796" y="95"/>
                  </a:moveTo>
                  <a:cubicBezTo>
                    <a:pt x="1788" y="95"/>
                    <a:pt x="1788" y="95"/>
                    <a:pt x="1788" y="95"/>
                  </a:cubicBezTo>
                  <a:cubicBezTo>
                    <a:pt x="1787" y="106"/>
                    <a:pt x="1787" y="106"/>
                    <a:pt x="1787" y="106"/>
                  </a:cubicBezTo>
                  <a:cubicBezTo>
                    <a:pt x="1759" y="106"/>
                    <a:pt x="1759" y="106"/>
                    <a:pt x="1759" y="106"/>
                  </a:cubicBezTo>
                  <a:cubicBezTo>
                    <a:pt x="1759" y="80"/>
                    <a:pt x="1759" y="80"/>
                    <a:pt x="1759" y="80"/>
                  </a:cubicBezTo>
                  <a:cubicBezTo>
                    <a:pt x="1776" y="80"/>
                    <a:pt x="1776" y="80"/>
                    <a:pt x="1776" y="80"/>
                  </a:cubicBezTo>
                  <a:cubicBezTo>
                    <a:pt x="1778" y="90"/>
                    <a:pt x="1778" y="90"/>
                    <a:pt x="1778" y="90"/>
                  </a:cubicBezTo>
                  <a:cubicBezTo>
                    <a:pt x="1784" y="90"/>
                    <a:pt x="1784" y="90"/>
                    <a:pt x="1784" y="90"/>
                  </a:cubicBezTo>
                  <a:cubicBezTo>
                    <a:pt x="1784" y="61"/>
                    <a:pt x="1784" y="61"/>
                    <a:pt x="1784" y="61"/>
                  </a:cubicBezTo>
                  <a:cubicBezTo>
                    <a:pt x="1778" y="61"/>
                    <a:pt x="1778" y="61"/>
                    <a:pt x="1778" y="61"/>
                  </a:cubicBezTo>
                  <a:cubicBezTo>
                    <a:pt x="1776" y="71"/>
                    <a:pt x="1776" y="71"/>
                    <a:pt x="1776" y="71"/>
                  </a:cubicBezTo>
                  <a:cubicBezTo>
                    <a:pt x="1759" y="71"/>
                    <a:pt x="1759" y="71"/>
                    <a:pt x="1759" y="71"/>
                  </a:cubicBezTo>
                  <a:cubicBezTo>
                    <a:pt x="1759" y="49"/>
                    <a:pt x="1759" y="49"/>
                    <a:pt x="1759" y="49"/>
                  </a:cubicBezTo>
                  <a:cubicBezTo>
                    <a:pt x="1787" y="49"/>
                    <a:pt x="1787" y="49"/>
                    <a:pt x="1787" y="49"/>
                  </a:cubicBezTo>
                  <a:cubicBezTo>
                    <a:pt x="1788" y="59"/>
                    <a:pt x="1788" y="59"/>
                    <a:pt x="1788" y="59"/>
                  </a:cubicBezTo>
                  <a:cubicBezTo>
                    <a:pt x="1796" y="59"/>
                    <a:pt x="1796" y="59"/>
                    <a:pt x="1796" y="59"/>
                  </a:cubicBezTo>
                  <a:cubicBezTo>
                    <a:pt x="1796" y="39"/>
                    <a:pt x="1796" y="39"/>
                    <a:pt x="1796" y="39"/>
                  </a:cubicBezTo>
                  <a:cubicBezTo>
                    <a:pt x="1730" y="39"/>
                    <a:pt x="1730" y="39"/>
                    <a:pt x="1730" y="39"/>
                  </a:cubicBezTo>
                  <a:cubicBezTo>
                    <a:pt x="1730" y="46"/>
                    <a:pt x="1730" y="46"/>
                    <a:pt x="1730" y="46"/>
                  </a:cubicBezTo>
                  <a:cubicBezTo>
                    <a:pt x="1741" y="48"/>
                    <a:pt x="1741" y="48"/>
                    <a:pt x="1741" y="48"/>
                  </a:cubicBezTo>
                  <a:cubicBezTo>
                    <a:pt x="1741" y="107"/>
                    <a:pt x="1741" y="107"/>
                    <a:pt x="1741" y="107"/>
                  </a:cubicBezTo>
                  <a:cubicBezTo>
                    <a:pt x="1730" y="109"/>
                    <a:pt x="1730" y="109"/>
                    <a:pt x="1730" y="109"/>
                  </a:cubicBezTo>
                  <a:cubicBezTo>
                    <a:pt x="1730" y="116"/>
                    <a:pt x="1730" y="116"/>
                    <a:pt x="1730" y="116"/>
                  </a:cubicBezTo>
                  <a:cubicBezTo>
                    <a:pt x="1796" y="116"/>
                    <a:pt x="1796" y="116"/>
                    <a:pt x="1796" y="116"/>
                  </a:cubicBezTo>
                  <a:lnTo>
                    <a:pt x="1796" y="95"/>
                  </a:lnTo>
                  <a:close/>
                  <a:moveTo>
                    <a:pt x="1342" y="95"/>
                  </a:moveTo>
                  <a:cubicBezTo>
                    <a:pt x="1335" y="95"/>
                    <a:pt x="1335" y="95"/>
                    <a:pt x="1335" y="95"/>
                  </a:cubicBezTo>
                  <a:cubicBezTo>
                    <a:pt x="1333" y="106"/>
                    <a:pt x="1333" y="106"/>
                    <a:pt x="1333" y="106"/>
                  </a:cubicBezTo>
                  <a:cubicBezTo>
                    <a:pt x="1305" y="106"/>
                    <a:pt x="1305" y="106"/>
                    <a:pt x="1305" y="106"/>
                  </a:cubicBezTo>
                  <a:cubicBezTo>
                    <a:pt x="1305" y="80"/>
                    <a:pt x="1305" y="80"/>
                    <a:pt x="1305" y="80"/>
                  </a:cubicBezTo>
                  <a:cubicBezTo>
                    <a:pt x="1323" y="80"/>
                    <a:pt x="1323" y="80"/>
                    <a:pt x="1323" y="80"/>
                  </a:cubicBezTo>
                  <a:cubicBezTo>
                    <a:pt x="1325" y="90"/>
                    <a:pt x="1325" y="90"/>
                    <a:pt x="1325" y="90"/>
                  </a:cubicBezTo>
                  <a:cubicBezTo>
                    <a:pt x="1331" y="90"/>
                    <a:pt x="1331" y="90"/>
                    <a:pt x="1331" y="90"/>
                  </a:cubicBezTo>
                  <a:cubicBezTo>
                    <a:pt x="1331" y="61"/>
                    <a:pt x="1331" y="61"/>
                    <a:pt x="1331" y="61"/>
                  </a:cubicBezTo>
                  <a:cubicBezTo>
                    <a:pt x="1325" y="61"/>
                    <a:pt x="1325" y="61"/>
                    <a:pt x="1325" y="61"/>
                  </a:cubicBezTo>
                  <a:cubicBezTo>
                    <a:pt x="1323" y="71"/>
                    <a:pt x="1323" y="71"/>
                    <a:pt x="1323" y="71"/>
                  </a:cubicBezTo>
                  <a:cubicBezTo>
                    <a:pt x="1305" y="71"/>
                    <a:pt x="1305" y="71"/>
                    <a:pt x="1305" y="71"/>
                  </a:cubicBezTo>
                  <a:cubicBezTo>
                    <a:pt x="1305" y="49"/>
                    <a:pt x="1305" y="49"/>
                    <a:pt x="1305" y="49"/>
                  </a:cubicBezTo>
                  <a:cubicBezTo>
                    <a:pt x="1333" y="49"/>
                    <a:pt x="1333" y="49"/>
                    <a:pt x="1333" y="49"/>
                  </a:cubicBezTo>
                  <a:cubicBezTo>
                    <a:pt x="1335" y="59"/>
                    <a:pt x="1335" y="59"/>
                    <a:pt x="1335" y="59"/>
                  </a:cubicBezTo>
                  <a:cubicBezTo>
                    <a:pt x="1342" y="59"/>
                    <a:pt x="1342" y="59"/>
                    <a:pt x="1342" y="59"/>
                  </a:cubicBezTo>
                  <a:cubicBezTo>
                    <a:pt x="1342" y="39"/>
                    <a:pt x="1342" y="39"/>
                    <a:pt x="1342" y="39"/>
                  </a:cubicBezTo>
                  <a:cubicBezTo>
                    <a:pt x="1277" y="39"/>
                    <a:pt x="1277" y="39"/>
                    <a:pt x="1277" y="39"/>
                  </a:cubicBezTo>
                  <a:cubicBezTo>
                    <a:pt x="1277" y="46"/>
                    <a:pt x="1277" y="46"/>
                    <a:pt x="1277" y="46"/>
                  </a:cubicBezTo>
                  <a:cubicBezTo>
                    <a:pt x="1288" y="48"/>
                    <a:pt x="1288" y="48"/>
                    <a:pt x="1288" y="48"/>
                  </a:cubicBezTo>
                  <a:cubicBezTo>
                    <a:pt x="1288" y="107"/>
                    <a:pt x="1288" y="107"/>
                    <a:pt x="1288" y="107"/>
                  </a:cubicBezTo>
                  <a:cubicBezTo>
                    <a:pt x="1277" y="109"/>
                    <a:pt x="1277" y="109"/>
                    <a:pt x="1277" y="109"/>
                  </a:cubicBezTo>
                  <a:cubicBezTo>
                    <a:pt x="1277" y="116"/>
                    <a:pt x="1277" y="116"/>
                    <a:pt x="1277" y="116"/>
                  </a:cubicBezTo>
                  <a:cubicBezTo>
                    <a:pt x="1342" y="116"/>
                    <a:pt x="1342" y="116"/>
                    <a:pt x="1342" y="116"/>
                  </a:cubicBezTo>
                  <a:lnTo>
                    <a:pt x="1342" y="95"/>
                  </a:lnTo>
                  <a:close/>
                  <a:moveTo>
                    <a:pt x="566" y="95"/>
                  </a:moveTo>
                  <a:cubicBezTo>
                    <a:pt x="559" y="95"/>
                    <a:pt x="559" y="95"/>
                    <a:pt x="559" y="95"/>
                  </a:cubicBezTo>
                  <a:cubicBezTo>
                    <a:pt x="557" y="106"/>
                    <a:pt x="557" y="106"/>
                    <a:pt x="557" y="106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29" y="80"/>
                    <a:pt x="529" y="80"/>
                    <a:pt x="529" y="80"/>
                  </a:cubicBezTo>
                  <a:cubicBezTo>
                    <a:pt x="546" y="80"/>
                    <a:pt x="546" y="80"/>
                    <a:pt x="546" y="80"/>
                  </a:cubicBezTo>
                  <a:cubicBezTo>
                    <a:pt x="548" y="90"/>
                    <a:pt x="548" y="90"/>
                    <a:pt x="548" y="90"/>
                  </a:cubicBezTo>
                  <a:cubicBezTo>
                    <a:pt x="555" y="90"/>
                    <a:pt x="555" y="90"/>
                    <a:pt x="555" y="90"/>
                  </a:cubicBezTo>
                  <a:cubicBezTo>
                    <a:pt x="555" y="61"/>
                    <a:pt x="555" y="61"/>
                    <a:pt x="555" y="61"/>
                  </a:cubicBezTo>
                  <a:cubicBezTo>
                    <a:pt x="548" y="61"/>
                    <a:pt x="548" y="61"/>
                    <a:pt x="548" y="61"/>
                  </a:cubicBezTo>
                  <a:cubicBezTo>
                    <a:pt x="546" y="71"/>
                    <a:pt x="546" y="71"/>
                    <a:pt x="546" y="71"/>
                  </a:cubicBezTo>
                  <a:cubicBezTo>
                    <a:pt x="529" y="71"/>
                    <a:pt x="529" y="71"/>
                    <a:pt x="529" y="71"/>
                  </a:cubicBezTo>
                  <a:cubicBezTo>
                    <a:pt x="529" y="49"/>
                    <a:pt x="529" y="49"/>
                    <a:pt x="529" y="49"/>
                  </a:cubicBezTo>
                  <a:cubicBezTo>
                    <a:pt x="557" y="49"/>
                    <a:pt x="557" y="49"/>
                    <a:pt x="557" y="49"/>
                  </a:cubicBezTo>
                  <a:cubicBezTo>
                    <a:pt x="559" y="59"/>
                    <a:pt x="559" y="59"/>
                    <a:pt x="559" y="59"/>
                  </a:cubicBezTo>
                  <a:cubicBezTo>
                    <a:pt x="566" y="59"/>
                    <a:pt x="566" y="59"/>
                    <a:pt x="566" y="59"/>
                  </a:cubicBezTo>
                  <a:cubicBezTo>
                    <a:pt x="566" y="39"/>
                    <a:pt x="566" y="39"/>
                    <a:pt x="566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00" y="46"/>
                    <a:pt x="500" y="46"/>
                    <a:pt x="500" y="46"/>
                  </a:cubicBezTo>
                  <a:cubicBezTo>
                    <a:pt x="511" y="48"/>
                    <a:pt x="511" y="48"/>
                    <a:pt x="511" y="48"/>
                  </a:cubicBezTo>
                  <a:cubicBezTo>
                    <a:pt x="511" y="107"/>
                    <a:pt x="511" y="107"/>
                    <a:pt x="511" y="107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16"/>
                    <a:pt x="500" y="116"/>
                    <a:pt x="500" y="116"/>
                  </a:cubicBezTo>
                  <a:cubicBezTo>
                    <a:pt x="566" y="116"/>
                    <a:pt x="566" y="116"/>
                    <a:pt x="566" y="116"/>
                  </a:cubicBezTo>
                  <a:lnTo>
                    <a:pt x="566" y="95"/>
                  </a:lnTo>
                  <a:close/>
                  <a:moveTo>
                    <a:pt x="659" y="117"/>
                  </a:moveTo>
                  <a:cubicBezTo>
                    <a:pt x="689" y="117"/>
                    <a:pt x="702" y="100"/>
                    <a:pt x="702" y="67"/>
                  </a:cubicBezTo>
                  <a:cubicBezTo>
                    <a:pt x="702" y="34"/>
                    <a:pt x="689" y="16"/>
                    <a:pt x="659" y="16"/>
                  </a:cubicBezTo>
                  <a:cubicBezTo>
                    <a:pt x="629" y="16"/>
                    <a:pt x="615" y="34"/>
                    <a:pt x="615" y="67"/>
                  </a:cubicBezTo>
                  <a:cubicBezTo>
                    <a:pt x="615" y="99"/>
                    <a:pt x="628" y="117"/>
                    <a:pt x="659" y="117"/>
                  </a:cubicBezTo>
                  <a:close/>
                  <a:moveTo>
                    <a:pt x="659" y="27"/>
                  </a:moveTo>
                  <a:cubicBezTo>
                    <a:pt x="675" y="27"/>
                    <a:pt x="683" y="40"/>
                    <a:pt x="683" y="67"/>
                  </a:cubicBezTo>
                  <a:cubicBezTo>
                    <a:pt x="683" y="94"/>
                    <a:pt x="675" y="107"/>
                    <a:pt x="659" y="107"/>
                  </a:cubicBezTo>
                  <a:cubicBezTo>
                    <a:pt x="642" y="107"/>
                    <a:pt x="634" y="94"/>
                    <a:pt x="634" y="67"/>
                  </a:cubicBezTo>
                  <a:cubicBezTo>
                    <a:pt x="634" y="40"/>
                    <a:pt x="643" y="27"/>
                    <a:pt x="659" y="27"/>
                  </a:cubicBezTo>
                  <a:close/>
                  <a:moveTo>
                    <a:pt x="327" y="28"/>
                  </a:moveTo>
                  <a:cubicBezTo>
                    <a:pt x="349" y="28"/>
                    <a:pt x="349" y="28"/>
                    <a:pt x="349" y="28"/>
                  </a:cubicBezTo>
                  <a:cubicBezTo>
                    <a:pt x="349" y="106"/>
                    <a:pt x="349" y="106"/>
                    <a:pt x="349" y="106"/>
                  </a:cubicBezTo>
                  <a:cubicBezTo>
                    <a:pt x="337" y="108"/>
                    <a:pt x="337" y="108"/>
                    <a:pt x="337" y="108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79" y="116"/>
                    <a:pt x="379" y="116"/>
                    <a:pt x="379" y="116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67" y="106"/>
                    <a:pt x="367" y="106"/>
                    <a:pt x="367" y="106"/>
                  </a:cubicBezTo>
                  <a:cubicBezTo>
                    <a:pt x="367" y="28"/>
                    <a:pt x="367" y="28"/>
                    <a:pt x="367" y="28"/>
                  </a:cubicBezTo>
                  <a:cubicBezTo>
                    <a:pt x="390" y="28"/>
                    <a:pt x="390" y="28"/>
                    <a:pt x="390" y="28"/>
                  </a:cubicBezTo>
                  <a:cubicBezTo>
                    <a:pt x="391" y="40"/>
                    <a:pt x="391" y="40"/>
                    <a:pt x="391" y="40"/>
                  </a:cubicBezTo>
                  <a:cubicBezTo>
                    <a:pt x="399" y="40"/>
                    <a:pt x="399" y="40"/>
                    <a:pt x="399" y="40"/>
                  </a:cubicBezTo>
                  <a:cubicBezTo>
                    <a:pt x="399" y="18"/>
                    <a:pt x="399" y="18"/>
                    <a:pt x="399" y="18"/>
                  </a:cubicBezTo>
                  <a:cubicBezTo>
                    <a:pt x="317" y="18"/>
                    <a:pt x="317" y="18"/>
                    <a:pt x="317" y="18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25" y="40"/>
                    <a:pt x="325" y="40"/>
                    <a:pt x="325" y="40"/>
                  </a:cubicBezTo>
                  <a:lnTo>
                    <a:pt x="327" y="28"/>
                  </a:lnTo>
                  <a:close/>
                  <a:moveTo>
                    <a:pt x="750" y="109"/>
                  </a:moveTo>
                  <a:cubicBezTo>
                    <a:pt x="739" y="107"/>
                    <a:pt x="739" y="107"/>
                    <a:pt x="739" y="107"/>
                  </a:cubicBezTo>
                  <a:cubicBezTo>
                    <a:pt x="739" y="80"/>
                    <a:pt x="739" y="80"/>
                    <a:pt x="739" y="80"/>
                  </a:cubicBezTo>
                  <a:cubicBezTo>
                    <a:pt x="768" y="80"/>
                    <a:pt x="768" y="80"/>
                    <a:pt x="768" y="80"/>
                  </a:cubicBezTo>
                  <a:cubicBezTo>
                    <a:pt x="768" y="107"/>
                    <a:pt x="768" y="107"/>
                    <a:pt x="768" y="107"/>
                  </a:cubicBezTo>
                  <a:cubicBezTo>
                    <a:pt x="757" y="109"/>
                    <a:pt x="757" y="109"/>
                    <a:pt x="757" y="109"/>
                  </a:cubicBezTo>
                  <a:cubicBezTo>
                    <a:pt x="757" y="116"/>
                    <a:pt x="757" y="116"/>
                    <a:pt x="757" y="116"/>
                  </a:cubicBezTo>
                  <a:cubicBezTo>
                    <a:pt x="797" y="116"/>
                    <a:pt x="797" y="116"/>
                    <a:pt x="797" y="116"/>
                  </a:cubicBezTo>
                  <a:cubicBezTo>
                    <a:pt x="797" y="109"/>
                    <a:pt x="797" y="109"/>
                    <a:pt x="797" y="109"/>
                  </a:cubicBezTo>
                  <a:cubicBezTo>
                    <a:pt x="786" y="107"/>
                    <a:pt x="786" y="107"/>
                    <a:pt x="786" y="107"/>
                  </a:cubicBezTo>
                  <a:cubicBezTo>
                    <a:pt x="786" y="48"/>
                    <a:pt x="786" y="48"/>
                    <a:pt x="786" y="48"/>
                  </a:cubicBezTo>
                  <a:cubicBezTo>
                    <a:pt x="797" y="46"/>
                    <a:pt x="797" y="46"/>
                    <a:pt x="797" y="46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57" y="39"/>
                    <a:pt x="757" y="39"/>
                    <a:pt x="757" y="39"/>
                  </a:cubicBezTo>
                  <a:cubicBezTo>
                    <a:pt x="757" y="46"/>
                    <a:pt x="757" y="46"/>
                    <a:pt x="757" y="46"/>
                  </a:cubicBezTo>
                  <a:cubicBezTo>
                    <a:pt x="768" y="48"/>
                    <a:pt x="768" y="48"/>
                    <a:pt x="768" y="48"/>
                  </a:cubicBezTo>
                  <a:cubicBezTo>
                    <a:pt x="768" y="71"/>
                    <a:pt x="768" y="71"/>
                    <a:pt x="768" y="71"/>
                  </a:cubicBezTo>
                  <a:cubicBezTo>
                    <a:pt x="739" y="71"/>
                    <a:pt x="739" y="71"/>
                    <a:pt x="739" y="71"/>
                  </a:cubicBezTo>
                  <a:cubicBezTo>
                    <a:pt x="739" y="48"/>
                    <a:pt x="739" y="48"/>
                    <a:pt x="739" y="48"/>
                  </a:cubicBezTo>
                  <a:cubicBezTo>
                    <a:pt x="750" y="46"/>
                    <a:pt x="750" y="46"/>
                    <a:pt x="750" y="46"/>
                  </a:cubicBezTo>
                  <a:cubicBezTo>
                    <a:pt x="750" y="39"/>
                    <a:pt x="750" y="39"/>
                    <a:pt x="750" y="39"/>
                  </a:cubicBezTo>
                  <a:cubicBezTo>
                    <a:pt x="710" y="39"/>
                    <a:pt x="710" y="39"/>
                    <a:pt x="710" y="39"/>
                  </a:cubicBezTo>
                  <a:cubicBezTo>
                    <a:pt x="710" y="46"/>
                    <a:pt x="710" y="46"/>
                    <a:pt x="710" y="46"/>
                  </a:cubicBezTo>
                  <a:cubicBezTo>
                    <a:pt x="722" y="48"/>
                    <a:pt x="722" y="48"/>
                    <a:pt x="722" y="48"/>
                  </a:cubicBezTo>
                  <a:cubicBezTo>
                    <a:pt x="722" y="107"/>
                    <a:pt x="722" y="107"/>
                    <a:pt x="722" y="107"/>
                  </a:cubicBezTo>
                  <a:cubicBezTo>
                    <a:pt x="710" y="109"/>
                    <a:pt x="710" y="109"/>
                    <a:pt x="710" y="109"/>
                  </a:cubicBezTo>
                  <a:cubicBezTo>
                    <a:pt x="710" y="116"/>
                    <a:pt x="710" y="116"/>
                    <a:pt x="710" y="116"/>
                  </a:cubicBezTo>
                  <a:cubicBezTo>
                    <a:pt x="750" y="116"/>
                    <a:pt x="750" y="116"/>
                    <a:pt x="750" y="116"/>
                  </a:cubicBezTo>
                  <a:lnTo>
                    <a:pt x="750" y="109"/>
                  </a:lnTo>
                  <a:close/>
                  <a:moveTo>
                    <a:pt x="445" y="109"/>
                  </a:moveTo>
                  <a:cubicBezTo>
                    <a:pt x="434" y="107"/>
                    <a:pt x="434" y="107"/>
                    <a:pt x="434" y="107"/>
                  </a:cubicBezTo>
                  <a:cubicBezTo>
                    <a:pt x="434" y="80"/>
                    <a:pt x="434" y="80"/>
                    <a:pt x="434" y="80"/>
                  </a:cubicBezTo>
                  <a:cubicBezTo>
                    <a:pt x="463" y="80"/>
                    <a:pt x="463" y="80"/>
                    <a:pt x="463" y="80"/>
                  </a:cubicBezTo>
                  <a:cubicBezTo>
                    <a:pt x="463" y="107"/>
                    <a:pt x="463" y="107"/>
                    <a:pt x="463" y="107"/>
                  </a:cubicBezTo>
                  <a:cubicBezTo>
                    <a:pt x="452" y="109"/>
                    <a:pt x="452" y="109"/>
                    <a:pt x="452" y="109"/>
                  </a:cubicBezTo>
                  <a:cubicBezTo>
                    <a:pt x="452" y="116"/>
                    <a:pt x="452" y="116"/>
                    <a:pt x="452" y="116"/>
                  </a:cubicBezTo>
                  <a:cubicBezTo>
                    <a:pt x="492" y="116"/>
                    <a:pt x="492" y="116"/>
                    <a:pt x="492" y="116"/>
                  </a:cubicBezTo>
                  <a:cubicBezTo>
                    <a:pt x="492" y="109"/>
                    <a:pt x="492" y="109"/>
                    <a:pt x="492" y="109"/>
                  </a:cubicBezTo>
                  <a:cubicBezTo>
                    <a:pt x="480" y="107"/>
                    <a:pt x="480" y="107"/>
                    <a:pt x="480" y="107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492" y="46"/>
                    <a:pt x="492" y="46"/>
                    <a:pt x="492" y="46"/>
                  </a:cubicBezTo>
                  <a:cubicBezTo>
                    <a:pt x="492" y="39"/>
                    <a:pt x="492" y="39"/>
                    <a:pt x="492" y="39"/>
                  </a:cubicBezTo>
                  <a:cubicBezTo>
                    <a:pt x="452" y="39"/>
                    <a:pt x="452" y="39"/>
                    <a:pt x="452" y="39"/>
                  </a:cubicBezTo>
                  <a:cubicBezTo>
                    <a:pt x="452" y="46"/>
                    <a:pt x="452" y="46"/>
                    <a:pt x="452" y="46"/>
                  </a:cubicBezTo>
                  <a:cubicBezTo>
                    <a:pt x="463" y="48"/>
                    <a:pt x="463" y="48"/>
                    <a:pt x="463" y="48"/>
                  </a:cubicBezTo>
                  <a:cubicBezTo>
                    <a:pt x="463" y="71"/>
                    <a:pt x="463" y="71"/>
                    <a:pt x="463" y="71"/>
                  </a:cubicBezTo>
                  <a:cubicBezTo>
                    <a:pt x="434" y="71"/>
                    <a:pt x="434" y="71"/>
                    <a:pt x="434" y="71"/>
                  </a:cubicBezTo>
                  <a:cubicBezTo>
                    <a:pt x="434" y="48"/>
                    <a:pt x="434" y="48"/>
                    <a:pt x="434" y="48"/>
                  </a:cubicBezTo>
                  <a:cubicBezTo>
                    <a:pt x="445" y="46"/>
                    <a:pt x="445" y="46"/>
                    <a:pt x="445" y="46"/>
                  </a:cubicBezTo>
                  <a:cubicBezTo>
                    <a:pt x="445" y="39"/>
                    <a:pt x="445" y="39"/>
                    <a:pt x="445" y="39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46"/>
                    <a:pt x="405" y="46"/>
                    <a:pt x="405" y="46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107"/>
                    <a:pt x="416" y="107"/>
                    <a:pt x="416" y="107"/>
                  </a:cubicBezTo>
                  <a:cubicBezTo>
                    <a:pt x="405" y="109"/>
                    <a:pt x="405" y="109"/>
                    <a:pt x="405" y="109"/>
                  </a:cubicBezTo>
                  <a:cubicBezTo>
                    <a:pt x="405" y="116"/>
                    <a:pt x="405" y="116"/>
                    <a:pt x="405" y="116"/>
                  </a:cubicBezTo>
                  <a:cubicBezTo>
                    <a:pt x="445" y="116"/>
                    <a:pt x="445" y="116"/>
                    <a:pt x="445" y="116"/>
                  </a:cubicBezTo>
                  <a:lnTo>
                    <a:pt x="445" y="109"/>
                  </a:lnTo>
                  <a:close/>
                  <a:moveTo>
                    <a:pt x="1209" y="49"/>
                  </a:moveTo>
                  <a:cubicBezTo>
                    <a:pt x="1226" y="49"/>
                    <a:pt x="1226" y="49"/>
                    <a:pt x="1226" y="49"/>
                  </a:cubicBezTo>
                  <a:cubicBezTo>
                    <a:pt x="1226" y="107"/>
                    <a:pt x="1226" y="107"/>
                    <a:pt x="1226" y="107"/>
                  </a:cubicBezTo>
                  <a:cubicBezTo>
                    <a:pt x="1215" y="109"/>
                    <a:pt x="1215" y="109"/>
                    <a:pt x="1215" y="109"/>
                  </a:cubicBezTo>
                  <a:cubicBezTo>
                    <a:pt x="1215" y="116"/>
                    <a:pt x="1215" y="116"/>
                    <a:pt x="1215" y="116"/>
                  </a:cubicBezTo>
                  <a:cubicBezTo>
                    <a:pt x="1255" y="116"/>
                    <a:pt x="1255" y="116"/>
                    <a:pt x="1255" y="116"/>
                  </a:cubicBezTo>
                  <a:cubicBezTo>
                    <a:pt x="1255" y="109"/>
                    <a:pt x="1255" y="109"/>
                    <a:pt x="1255" y="109"/>
                  </a:cubicBezTo>
                  <a:cubicBezTo>
                    <a:pt x="1244" y="107"/>
                    <a:pt x="1244" y="107"/>
                    <a:pt x="1244" y="107"/>
                  </a:cubicBezTo>
                  <a:cubicBezTo>
                    <a:pt x="1244" y="49"/>
                    <a:pt x="1244" y="49"/>
                    <a:pt x="1244" y="49"/>
                  </a:cubicBezTo>
                  <a:cubicBezTo>
                    <a:pt x="1261" y="49"/>
                    <a:pt x="1261" y="49"/>
                    <a:pt x="1261" y="49"/>
                  </a:cubicBezTo>
                  <a:cubicBezTo>
                    <a:pt x="1262" y="60"/>
                    <a:pt x="1262" y="60"/>
                    <a:pt x="1262" y="60"/>
                  </a:cubicBezTo>
                  <a:cubicBezTo>
                    <a:pt x="1270" y="60"/>
                    <a:pt x="1270" y="60"/>
                    <a:pt x="1270" y="60"/>
                  </a:cubicBezTo>
                  <a:cubicBezTo>
                    <a:pt x="1270" y="39"/>
                    <a:pt x="1270" y="39"/>
                    <a:pt x="1270" y="39"/>
                  </a:cubicBezTo>
                  <a:cubicBezTo>
                    <a:pt x="1200" y="39"/>
                    <a:pt x="1200" y="39"/>
                    <a:pt x="1200" y="39"/>
                  </a:cubicBezTo>
                  <a:cubicBezTo>
                    <a:pt x="1200" y="60"/>
                    <a:pt x="1200" y="60"/>
                    <a:pt x="1200" y="60"/>
                  </a:cubicBezTo>
                  <a:cubicBezTo>
                    <a:pt x="1208" y="60"/>
                    <a:pt x="1208" y="60"/>
                    <a:pt x="1208" y="60"/>
                  </a:cubicBezTo>
                  <a:lnTo>
                    <a:pt x="1209" y="49"/>
                  </a:lnTo>
                  <a:close/>
                  <a:moveTo>
                    <a:pt x="1058" y="49"/>
                  </a:moveTo>
                  <a:cubicBezTo>
                    <a:pt x="1075" y="49"/>
                    <a:pt x="1075" y="49"/>
                    <a:pt x="1075" y="49"/>
                  </a:cubicBezTo>
                  <a:cubicBezTo>
                    <a:pt x="1075" y="107"/>
                    <a:pt x="1075" y="107"/>
                    <a:pt x="1075" y="107"/>
                  </a:cubicBezTo>
                  <a:cubicBezTo>
                    <a:pt x="1064" y="109"/>
                    <a:pt x="1064" y="109"/>
                    <a:pt x="1064" y="109"/>
                  </a:cubicBezTo>
                  <a:cubicBezTo>
                    <a:pt x="1064" y="116"/>
                    <a:pt x="1064" y="116"/>
                    <a:pt x="1064" y="116"/>
                  </a:cubicBezTo>
                  <a:cubicBezTo>
                    <a:pt x="1104" y="116"/>
                    <a:pt x="1104" y="116"/>
                    <a:pt x="1104" y="116"/>
                  </a:cubicBezTo>
                  <a:cubicBezTo>
                    <a:pt x="1104" y="109"/>
                    <a:pt x="1104" y="109"/>
                    <a:pt x="1104" y="109"/>
                  </a:cubicBezTo>
                  <a:cubicBezTo>
                    <a:pt x="1093" y="107"/>
                    <a:pt x="1093" y="107"/>
                    <a:pt x="1093" y="107"/>
                  </a:cubicBezTo>
                  <a:cubicBezTo>
                    <a:pt x="1093" y="49"/>
                    <a:pt x="1093" y="49"/>
                    <a:pt x="1093" y="49"/>
                  </a:cubicBezTo>
                  <a:cubicBezTo>
                    <a:pt x="1110" y="49"/>
                    <a:pt x="1110" y="49"/>
                    <a:pt x="1110" y="49"/>
                  </a:cubicBezTo>
                  <a:cubicBezTo>
                    <a:pt x="1111" y="60"/>
                    <a:pt x="1111" y="60"/>
                    <a:pt x="1111" y="60"/>
                  </a:cubicBezTo>
                  <a:cubicBezTo>
                    <a:pt x="1119" y="60"/>
                    <a:pt x="1119" y="60"/>
                    <a:pt x="1119" y="60"/>
                  </a:cubicBezTo>
                  <a:cubicBezTo>
                    <a:pt x="1119" y="39"/>
                    <a:pt x="1119" y="39"/>
                    <a:pt x="1119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60"/>
                    <a:pt x="1049" y="60"/>
                    <a:pt x="1049" y="60"/>
                  </a:cubicBezTo>
                  <a:cubicBezTo>
                    <a:pt x="1057" y="60"/>
                    <a:pt x="1057" y="60"/>
                    <a:pt x="1057" y="60"/>
                  </a:cubicBezTo>
                  <a:lnTo>
                    <a:pt x="1058" y="49"/>
                  </a:lnTo>
                  <a:close/>
                  <a:moveTo>
                    <a:pt x="1114" y="116"/>
                  </a:moveTo>
                  <a:cubicBezTo>
                    <a:pt x="1147" y="116"/>
                    <a:pt x="1147" y="116"/>
                    <a:pt x="1147" y="116"/>
                  </a:cubicBezTo>
                  <a:cubicBezTo>
                    <a:pt x="1147" y="109"/>
                    <a:pt x="1147" y="109"/>
                    <a:pt x="1147" y="109"/>
                  </a:cubicBezTo>
                  <a:cubicBezTo>
                    <a:pt x="1136" y="107"/>
                    <a:pt x="1136" y="107"/>
                    <a:pt x="1136" y="107"/>
                  </a:cubicBezTo>
                  <a:cubicBezTo>
                    <a:pt x="1142" y="93"/>
                    <a:pt x="1142" y="93"/>
                    <a:pt x="1142" y="93"/>
                  </a:cubicBezTo>
                  <a:cubicBezTo>
                    <a:pt x="1171" y="93"/>
                    <a:pt x="1171" y="93"/>
                    <a:pt x="1171" y="93"/>
                  </a:cubicBezTo>
                  <a:cubicBezTo>
                    <a:pt x="1176" y="107"/>
                    <a:pt x="1176" y="107"/>
                    <a:pt x="1176" y="107"/>
                  </a:cubicBezTo>
                  <a:cubicBezTo>
                    <a:pt x="1165" y="109"/>
                    <a:pt x="1165" y="109"/>
                    <a:pt x="1165" y="109"/>
                  </a:cubicBezTo>
                  <a:cubicBezTo>
                    <a:pt x="1165" y="116"/>
                    <a:pt x="1165" y="116"/>
                    <a:pt x="1165" y="116"/>
                  </a:cubicBezTo>
                  <a:cubicBezTo>
                    <a:pt x="1205" y="116"/>
                    <a:pt x="1205" y="116"/>
                    <a:pt x="1205" y="116"/>
                  </a:cubicBezTo>
                  <a:cubicBezTo>
                    <a:pt x="1205" y="109"/>
                    <a:pt x="1205" y="109"/>
                    <a:pt x="1205" y="109"/>
                  </a:cubicBezTo>
                  <a:cubicBezTo>
                    <a:pt x="1194" y="107"/>
                    <a:pt x="1194" y="107"/>
                    <a:pt x="1194" y="107"/>
                  </a:cubicBezTo>
                  <a:cubicBezTo>
                    <a:pt x="1168" y="39"/>
                    <a:pt x="1168" y="39"/>
                    <a:pt x="1168" y="39"/>
                  </a:cubicBezTo>
                  <a:cubicBezTo>
                    <a:pt x="1151" y="39"/>
                    <a:pt x="1151" y="39"/>
                    <a:pt x="1151" y="39"/>
                  </a:cubicBezTo>
                  <a:cubicBezTo>
                    <a:pt x="1125" y="107"/>
                    <a:pt x="1125" y="107"/>
                    <a:pt x="1125" y="107"/>
                  </a:cubicBezTo>
                  <a:cubicBezTo>
                    <a:pt x="1114" y="109"/>
                    <a:pt x="1114" y="109"/>
                    <a:pt x="1114" y="109"/>
                  </a:cubicBezTo>
                  <a:lnTo>
                    <a:pt x="1114" y="116"/>
                  </a:lnTo>
                  <a:close/>
                  <a:moveTo>
                    <a:pt x="1156" y="54"/>
                  </a:moveTo>
                  <a:cubicBezTo>
                    <a:pt x="1167" y="84"/>
                    <a:pt x="1167" y="84"/>
                    <a:pt x="1167" y="84"/>
                  </a:cubicBezTo>
                  <a:cubicBezTo>
                    <a:pt x="1145" y="84"/>
                    <a:pt x="1145" y="84"/>
                    <a:pt x="1145" y="84"/>
                  </a:cubicBezTo>
                  <a:lnTo>
                    <a:pt x="1156" y="54"/>
                  </a:lnTo>
                  <a:close/>
                  <a:moveTo>
                    <a:pt x="1042" y="88"/>
                  </a:moveTo>
                  <a:cubicBezTo>
                    <a:pt x="1042" y="49"/>
                    <a:pt x="993" y="65"/>
                    <a:pt x="993" y="41"/>
                  </a:cubicBezTo>
                  <a:cubicBezTo>
                    <a:pt x="993" y="30"/>
                    <a:pt x="1002" y="27"/>
                    <a:pt x="1011" y="27"/>
                  </a:cubicBezTo>
                  <a:cubicBezTo>
                    <a:pt x="1019" y="27"/>
                    <a:pt x="1028" y="29"/>
                    <a:pt x="1028" y="29"/>
                  </a:cubicBezTo>
                  <a:cubicBezTo>
                    <a:pt x="1030" y="41"/>
                    <a:pt x="1030" y="41"/>
                    <a:pt x="1030" y="41"/>
                  </a:cubicBezTo>
                  <a:cubicBezTo>
                    <a:pt x="1038" y="41"/>
                    <a:pt x="1038" y="41"/>
                    <a:pt x="1038" y="41"/>
                  </a:cubicBezTo>
                  <a:cubicBezTo>
                    <a:pt x="1038" y="22"/>
                    <a:pt x="1038" y="22"/>
                    <a:pt x="1038" y="22"/>
                  </a:cubicBezTo>
                  <a:cubicBezTo>
                    <a:pt x="1030" y="19"/>
                    <a:pt x="1019" y="16"/>
                    <a:pt x="1009" y="16"/>
                  </a:cubicBezTo>
                  <a:cubicBezTo>
                    <a:pt x="987" y="16"/>
                    <a:pt x="976" y="27"/>
                    <a:pt x="976" y="44"/>
                  </a:cubicBezTo>
                  <a:cubicBezTo>
                    <a:pt x="976" y="65"/>
                    <a:pt x="992" y="69"/>
                    <a:pt x="1007" y="74"/>
                  </a:cubicBezTo>
                  <a:cubicBezTo>
                    <a:pt x="1017" y="77"/>
                    <a:pt x="1025" y="79"/>
                    <a:pt x="1025" y="90"/>
                  </a:cubicBezTo>
                  <a:cubicBezTo>
                    <a:pt x="1025" y="102"/>
                    <a:pt x="1015" y="106"/>
                    <a:pt x="1003" y="106"/>
                  </a:cubicBezTo>
                  <a:cubicBezTo>
                    <a:pt x="992" y="106"/>
                    <a:pt x="986" y="104"/>
                    <a:pt x="986" y="104"/>
                  </a:cubicBezTo>
                  <a:cubicBezTo>
                    <a:pt x="984" y="91"/>
                    <a:pt x="984" y="91"/>
                    <a:pt x="984" y="91"/>
                  </a:cubicBezTo>
                  <a:cubicBezTo>
                    <a:pt x="976" y="91"/>
                    <a:pt x="976" y="91"/>
                    <a:pt x="976" y="91"/>
                  </a:cubicBezTo>
                  <a:cubicBezTo>
                    <a:pt x="976" y="112"/>
                    <a:pt x="976" y="112"/>
                    <a:pt x="976" y="112"/>
                  </a:cubicBezTo>
                  <a:cubicBezTo>
                    <a:pt x="976" y="112"/>
                    <a:pt x="989" y="117"/>
                    <a:pt x="1006" y="117"/>
                  </a:cubicBezTo>
                  <a:cubicBezTo>
                    <a:pt x="1030" y="117"/>
                    <a:pt x="1042" y="107"/>
                    <a:pt x="1042" y="88"/>
                  </a:cubicBezTo>
                  <a:close/>
                  <a:moveTo>
                    <a:pt x="847" y="109"/>
                  </a:moveTo>
                  <a:cubicBezTo>
                    <a:pt x="835" y="107"/>
                    <a:pt x="835" y="107"/>
                    <a:pt x="835" y="107"/>
                  </a:cubicBezTo>
                  <a:cubicBezTo>
                    <a:pt x="835" y="48"/>
                    <a:pt x="835" y="48"/>
                    <a:pt x="835" y="48"/>
                  </a:cubicBezTo>
                  <a:cubicBezTo>
                    <a:pt x="847" y="46"/>
                    <a:pt x="847" y="46"/>
                    <a:pt x="847" y="46"/>
                  </a:cubicBezTo>
                  <a:cubicBezTo>
                    <a:pt x="847" y="39"/>
                    <a:pt x="847" y="39"/>
                    <a:pt x="847" y="39"/>
                  </a:cubicBezTo>
                  <a:cubicBezTo>
                    <a:pt x="806" y="39"/>
                    <a:pt x="806" y="39"/>
                    <a:pt x="806" y="39"/>
                  </a:cubicBezTo>
                  <a:cubicBezTo>
                    <a:pt x="806" y="46"/>
                    <a:pt x="806" y="46"/>
                    <a:pt x="806" y="46"/>
                  </a:cubicBezTo>
                  <a:cubicBezTo>
                    <a:pt x="818" y="48"/>
                    <a:pt x="818" y="48"/>
                    <a:pt x="818" y="48"/>
                  </a:cubicBezTo>
                  <a:cubicBezTo>
                    <a:pt x="818" y="107"/>
                    <a:pt x="818" y="107"/>
                    <a:pt x="818" y="107"/>
                  </a:cubicBezTo>
                  <a:cubicBezTo>
                    <a:pt x="806" y="109"/>
                    <a:pt x="806" y="109"/>
                    <a:pt x="806" y="109"/>
                  </a:cubicBezTo>
                  <a:cubicBezTo>
                    <a:pt x="806" y="116"/>
                    <a:pt x="806" y="116"/>
                    <a:pt x="806" y="116"/>
                  </a:cubicBezTo>
                  <a:cubicBezTo>
                    <a:pt x="847" y="116"/>
                    <a:pt x="847" y="116"/>
                    <a:pt x="847" y="116"/>
                  </a:cubicBezTo>
                  <a:lnTo>
                    <a:pt x="847" y="109"/>
                  </a:lnTo>
                  <a:close/>
                  <a:moveTo>
                    <a:pt x="890" y="117"/>
                  </a:moveTo>
                  <a:cubicBezTo>
                    <a:pt x="915" y="117"/>
                    <a:pt x="927" y="103"/>
                    <a:pt x="927" y="78"/>
                  </a:cubicBezTo>
                  <a:cubicBezTo>
                    <a:pt x="927" y="52"/>
                    <a:pt x="915" y="38"/>
                    <a:pt x="890" y="38"/>
                  </a:cubicBezTo>
                  <a:cubicBezTo>
                    <a:pt x="864" y="38"/>
                    <a:pt x="853" y="52"/>
                    <a:pt x="853" y="77"/>
                  </a:cubicBezTo>
                  <a:cubicBezTo>
                    <a:pt x="853" y="103"/>
                    <a:pt x="864" y="117"/>
                    <a:pt x="890" y="117"/>
                  </a:cubicBezTo>
                  <a:close/>
                  <a:moveTo>
                    <a:pt x="890" y="48"/>
                  </a:moveTo>
                  <a:cubicBezTo>
                    <a:pt x="902" y="48"/>
                    <a:pt x="908" y="57"/>
                    <a:pt x="908" y="78"/>
                  </a:cubicBezTo>
                  <a:cubicBezTo>
                    <a:pt x="908" y="98"/>
                    <a:pt x="902" y="107"/>
                    <a:pt x="889" y="107"/>
                  </a:cubicBezTo>
                  <a:cubicBezTo>
                    <a:pt x="877" y="107"/>
                    <a:pt x="871" y="98"/>
                    <a:pt x="871" y="77"/>
                  </a:cubicBezTo>
                  <a:cubicBezTo>
                    <a:pt x="871" y="57"/>
                    <a:pt x="877" y="48"/>
                    <a:pt x="890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9" name="Slide Number Placeholder 44"/>
          <p:cNvSpPr>
            <a:spLocks noGrp="1"/>
          </p:cNvSpPr>
          <p:nvPr>
            <p:ph type="sldNum" sz="quarter" idx="12"/>
          </p:nvPr>
        </p:nvSpPr>
        <p:spPr>
          <a:xfrm>
            <a:off x="46567" y="6562689"/>
            <a:ext cx="643467" cy="23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F44216FD-6AB8-4CAA-AE87-D3440EC6B7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0627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50258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19103" y="225609"/>
            <a:ext cx="11375136" cy="136199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7866" tIns="33338" rIns="67866" bIns="33338" numCol="1" anchor="ctr" anchorCtr="0" compatLnSpc="1">
            <a:prstTxWarp prst="textNoShape">
              <a:avLst/>
            </a:prstTxWarp>
          </a:bodyPr>
          <a:lstStyle>
            <a:lvl1pPr>
              <a:defRPr sz="3600"/>
            </a:lvl1pPr>
          </a:lstStyle>
          <a:p>
            <a:pPr lvl="0"/>
            <a:r>
              <a:rPr lang="en-GB" altLang="en-US" dirty="0"/>
              <a:t>Click to edit Master title styl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idx="1"/>
          </p:nvPr>
        </p:nvSpPr>
        <p:spPr bwMode="auto">
          <a:xfrm>
            <a:off x="419103" y="1825807"/>
            <a:ext cx="11377084" cy="4572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7866" tIns="33338" rIns="67866" bIns="33338" numCol="1" anchor="t" anchorCtr="0" compatLnSpc="1">
            <a:prstTxWarp prst="textNoShape">
              <a:avLst/>
            </a:prstTxWarp>
          </a:bodyPr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7568580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E4F01-8BF3-835B-DB71-FA077255C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AE2A53-B471-761F-ED07-5C0A2FADE1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D526A3-BD5B-5594-1CE5-587E7EF319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SAINT LUKE'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B9E221-6D6E-F7E6-7B8D-388C536395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115881B-E401-BF41-93ED-7B27FBEFCB46}" type="datetime1">
              <a:rPr lang="en-US" smtClean="0"/>
              <a:t>11/19/25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D93932-9A63-17E9-1DD1-A30B2A86B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B2E87A-B544-0892-E923-0A83B0CFD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33B111-9421-5E75-5AEB-8DED945B7F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4B68BB-9B56-9C2C-775E-8C1996C1B1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SAINT LUKE'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9E1D72-3CF5-1600-4FE9-77883B724E8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115881B-E401-BF41-93ED-7B27FBEFCB46}" type="datetime1">
              <a:rPr lang="en-US" smtClean="0"/>
              <a:t>11/19/25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E807A0-34D6-98BA-8A2A-A68FF7E3C5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201CAB-231E-A041-B040-7F0EE93D39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721E2F-C810-314E-8E46-7824DA7499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00ECDDB-11CB-B343-8272-01E957AD8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r>
              <a:rPr lang="en-US"/>
              <a:t>2020-01-1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F3D13A5-98FF-DB41-91AA-91630C1682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BDD8C32-EEDF-FA4A-A719-6378654FF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6905" y="6589112"/>
            <a:ext cx="159488" cy="162940"/>
          </a:xfrm>
        </p:spPr>
        <p:txBody>
          <a:bodyPr/>
          <a:lstStyle/>
          <a:p>
            <a:fld id="{D0E934D9-447A-DE44-AA34-60219151766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8360560C-8A47-AE4B-9CFC-CEF5BC7CC1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6356351"/>
            <a:ext cx="5062539" cy="365125"/>
          </a:xfrm>
        </p:spPr>
        <p:txBody>
          <a:bodyPr anchor="ctr">
            <a:noAutofit/>
          </a:bodyPr>
          <a:lstStyle>
            <a:lvl1pPr marL="0" indent="0">
              <a:buNone/>
              <a:defRPr sz="749">
                <a:solidFill>
                  <a:srgbClr val="898989"/>
                </a:solidFill>
              </a:defRPr>
            </a:lvl1pPr>
            <a:lvl2pPr marL="342747" indent="0">
              <a:buNone/>
              <a:defRPr sz="749"/>
            </a:lvl2pPr>
            <a:lvl3pPr marL="685493" indent="0">
              <a:buNone/>
              <a:defRPr sz="749"/>
            </a:lvl3pPr>
            <a:lvl4pPr marL="1028240" indent="0">
              <a:buNone/>
              <a:defRPr sz="749"/>
            </a:lvl4pPr>
            <a:lvl5pPr marL="1370987" indent="0">
              <a:buNone/>
              <a:defRPr sz="749"/>
            </a:lvl5pPr>
          </a:lstStyle>
          <a:p>
            <a:pPr lvl="0"/>
            <a:r>
              <a:rPr lang="en-US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2494898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333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 baseline="0"/>
            </a:lvl1pPr>
            <a:lvl2pPr>
              <a:defRPr sz="2400" baseline="0"/>
            </a:lvl2pPr>
            <a:lvl3pPr>
              <a:defRPr sz="2133" baseline="0"/>
            </a:lvl3pPr>
            <a:lvl4pPr>
              <a:defRPr sz="1867" baseline="0"/>
            </a:lvl4pPr>
            <a:lvl5pPr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0750195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AINT LUKE'S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2CB8CC-E2A6-F14F-8E6F-F1B5EF18F5F1}" type="datetime1">
              <a:rPr lang="en-US" smtClean="0"/>
              <a:t>11/19/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734299"/>
      </p:ext>
    </p:extLst>
  </p:cSld>
  <p:clrMapOvr>
    <a:masterClrMapping/>
  </p:clrMapOvr>
  <p:transition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86716EA7-3AAF-063A-8C61-E7E4B14795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oprietary and Confidential. Do not distribute.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FD731DF-BBBF-6C45-6BBC-C7BFDC318D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234F0EB-0E3E-AA5D-2066-F062F4700AE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92937" y="889742"/>
            <a:ext cx="10742233" cy="2893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spc="300">
                <a:solidFill>
                  <a:srgbClr val="9BCB3B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SUBHEAD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F463292-FFCC-931B-8C2F-2AF564E6E7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1"/>
            <a:ext cx="11406126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3C6D2B2A-ECD7-99AB-9B42-FA84EF79C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38847129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86716EA7-3AAF-063A-8C61-E7E4B14795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oprietary and Confidential. Do not distribute.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FD731DF-BBBF-6C45-6BBC-C7BFDC318D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8009F10-8257-BD51-D291-5963FC8707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1"/>
            <a:ext cx="11406126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F2DF7612-62E9-C0DA-7260-63DC4E1CE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10919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86716EA7-3AAF-063A-8C61-E7E4B14795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oprietary and Confidential. Do not distribute.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FD731DF-BBBF-6C45-6BBC-C7BFDC318D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234F0EB-0E3E-AA5D-2066-F062F4700AE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92937" y="889742"/>
            <a:ext cx="10742233" cy="2893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spc="300">
                <a:solidFill>
                  <a:srgbClr val="9BCB3B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SUBHEAD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F463292-FFCC-931B-8C2F-2AF564E6E7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1"/>
            <a:ext cx="11406126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3C6D2B2A-ECD7-99AB-9B42-FA84EF79C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8381867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FE516E5-7B4A-3CD5-FA22-FEF475D09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oprietary and Confidential. Do not distribute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BDDB54-5E47-BCC0-676F-C52F8CE4F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4027969-FB33-627C-A934-B7DF08B191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1"/>
            <a:ext cx="5703063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F1B8DA1-3728-27B2-F05E-9A1B5076C3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header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78AF9E-9ADE-864E-7739-0782FA2625D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096000" y="1418601"/>
            <a:ext cx="5703063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27464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FE516E5-7B4A-3CD5-FA22-FEF475D09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oprietary and Confidential. Do not distribute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BDDB54-5E47-BCC0-676F-C52F8CE4F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8FDC53-C6F3-BE10-2BB5-4A72DE80AC3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92937" y="889742"/>
            <a:ext cx="10742233" cy="2893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spc="300">
                <a:solidFill>
                  <a:srgbClr val="9BCB3B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SUBHEADER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3F6CE4D-EC38-4464-47AE-C2E72E979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1"/>
            <a:ext cx="5703063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2A77E20-4100-82AE-5EE6-0FF42CE24D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header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81EA7DE-648F-2115-8D41-FB8F3B4E828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096000" y="1418601"/>
            <a:ext cx="5703063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802267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B050241-B863-65AD-D2CF-290D5FAD7C0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14957560"/>
              </p:ext>
            </p:extLst>
          </p:nvPr>
        </p:nvGraphicFramePr>
        <p:xfrm>
          <a:off x="838200" y="3763341"/>
          <a:ext cx="10515600" cy="18363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185472">
                  <a:extLst>
                    <a:ext uri="{9D8B030D-6E8A-4147-A177-3AD203B41FA5}">
                      <a16:colId xmlns:a16="http://schemas.microsoft.com/office/drawing/2014/main" val="273480524"/>
                    </a:ext>
                  </a:extLst>
                </a:gridCol>
                <a:gridCol w="4594485">
                  <a:extLst>
                    <a:ext uri="{9D8B030D-6E8A-4147-A177-3AD203B41FA5}">
                      <a16:colId xmlns:a16="http://schemas.microsoft.com/office/drawing/2014/main" val="2957982322"/>
                    </a:ext>
                  </a:extLst>
                </a:gridCol>
                <a:gridCol w="4735643">
                  <a:extLst>
                    <a:ext uri="{9D8B030D-6E8A-4147-A177-3AD203B41FA5}">
                      <a16:colId xmlns:a16="http://schemas.microsoft.com/office/drawing/2014/main" val="3434688424"/>
                    </a:ext>
                  </a:extLst>
                </a:gridCol>
              </a:tblGrid>
              <a:tr h="367264">
                <a:tc>
                  <a:txBody>
                    <a:bodyPr/>
                    <a:lstStyle/>
                    <a:p>
                      <a:r>
                        <a:rPr lang="en-US" sz="1400" dirty="0"/>
                        <a:t>Column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lumn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lumn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3894668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9091301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u="non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1911516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829693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u="non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165448"/>
                  </a:ext>
                </a:extLst>
              </a:tr>
            </a:tbl>
          </a:graphicData>
        </a:graphic>
      </p:graphicFrame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BB12486-3C72-BA20-4510-010B7F66AA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oprietary and Confidential. Do not distribute.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38D3E625-EB30-E84D-E062-7920ABFD8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9A49272-B263-854C-9297-C3CAB197E9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2"/>
            <a:ext cx="11406126" cy="234474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458E547-2E5B-BDD3-EF00-3E7149A0C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42669712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B050241-B863-65AD-D2CF-290D5FAD7C0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14957560"/>
              </p:ext>
            </p:extLst>
          </p:nvPr>
        </p:nvGraphicFramePr>
        <p:xfrm>
          <a:off x="838200" y="3763341"/>
          <a:ext cx="10515600" cy="18363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185472">
                  <a:extLst>
                    <a:ext uri="{9D8B030D-6E8A-4147-A177-3AD203B41FA5}">
                      <a16:colId xmlns:a16="http://schemas.microsoft.com/office/drawing/2014/main" val="273480524"/>
                    </a:ext>
                  </a:extLst>
                </a:gridCol>
                <a:gridCol w="4594485">
                  <a:extLst>
                    <a:ext uri="{9D8B030D-6E8A-4147-A177-3AD203B41FA5}">
                      <a16:colId xmlns:a16="http://schemas.microsoft.com/office/drawing/2014/main" val="2957982322"/>
                    </a:ext>
                  </a:extLst>
                </a:gridCol>
                <a:gridCol w="4735643">
                  <a:extLst>
                    <a:ext uri="{9D8B030D-6E8A-4147-A177-3AD203B41FA5}">
                      <a16:colId xmlns:a16="http://schemas.microsoft.com/office/drawing/2014/main" val="3434688424"/>
                    </a:ext>
                  </a:extLst>
                </a:gridCol>
              </a:tblGrid>
              <a:tr h="367264">
                <a:tc>
                  <a:txBody>
                    <a:bodyPr/>
                    <a:lstStyle/>
                    <a:p>
                      <a:r>
                        <a:rPr lang="en-US" sz="1400" dirty="0"/>
                        <a:t>Column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lumn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lumn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3894668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9091301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u="non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1911516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829693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u="non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165448"/>
                  </a:ext>
                </a:extLst>
              </a:tr>
            </a:tbl>
          </a:graphicData>
        </a:graphic>
      </p:graphicFrame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BB12486-3C72-BA20-4510-010B7F66AA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oprietary and Confidential. Do not distribute.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38D3E625-EB30-E84D-E062-7920ABFD8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3ADE2D1-5181-0CA8-C13D-D3C5B1478C4F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92937" y="889742"/>
            <a:ext cx="10742233" cy="2893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spc="300">
                <a:solidFill>
                  <a:srgbClr val="9BCB3B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SUBHEADER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0A4C57E-B873-B803-76D3-E409F3338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2"/>
            <a:ext cx="11406126" cy="234474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93883876-51C1-9AAA-E01F-5B6F21160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71046462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721E2F-C810-314E-8E46-7824DA74992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93012" y="3837482"/>
            <a:ext cx="2736954" cy="419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rgbClr val="00549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Product 1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55FDF60-5F21-5B25-8DC5-3BCC74EC5F9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193012" y="4257208"/>
            <a:ext cx="2736954" cy="652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rgbClr val="898989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Descrip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3AE708F-9535-33B1-1C89-E0BF4D49FAE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730690" y="3837482"/>
            <a:ext cx="2736954" cy="419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rgbClr val="00549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Product 2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019A57B-C167-DEAF-8F71-A0637E34B1B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730690" y="4257208"/>
            <a:ext cx="2736954" cy="652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rgbClr val="898989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Descriptio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6A7A205-D1F9-1B10-EE1D-6410405B4CE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8313339" y="3837482"/>
            <a:ext cx="2736954" cy="419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rgbClr val="00549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Product 3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A645E0C-76DE-6A92-DB6E-7FFA1D3E5F6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313339" y="4257208"/>
            <a:ext cx="2736954" cy="652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rgbClr val="898989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Description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F96B9CE0-CA86-0F95-CB6C-72CEA91BB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oprietary and Confidential. Do not distribute.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79D233F9-E3C3-C469-694E-9AF7278075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CCE1FD2-CDC8-F442-7430-43CEBBBED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6267828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721E2F-C810-314E-8E46-7824DA74992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93012" y="3837482"/>
            <a:ext cx="2736954" cy="419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rgbClr val="00549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Product 1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55FDF60-5F21-5B25-8DC5-3BCC74EC5F9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193012" y="4257208"/>
            <a:ext cx="2736954" cy="652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rgbClr val="898989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Descrip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3AE708F-9535-33B1-1C89-E0BF4D49FAE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730690" y="3837482"/>
            <a:ext cx="2736954" cy="419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rgbClr val="00549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Product 2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019A57B-C167-DEAF-8F71-A0637E34B1B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730690" y="4257208"/>
            <a:ext cx="2736954" cy="652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rgbClr val="898989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Descriptio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6A7A205-D1F9-1B10-EE1D-6410405B4CE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8313339" y="3837482"/>
            <a:ext cx="2736954" cy="419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rgbClr val="00549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Product 3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A645E0C-76DE-6A92-DB6E-7FFA1D3E5F6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313339" y="4257208"/>
            <a:ext cx="2736954" cy="652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rgbClr val="898989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Description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F96B9CE0-CA86-0F95-CB6C-72CEA91BB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oprietary and Confidential. Do not distribute.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79D233F9-E3C3-C469-694E-9AF7278075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B9A927-CAEE-F43A-A4C6-19B2601B70F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92937" y="889742"/>
            <a:ext cx="10742233" cy="2893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spc="300">
                <a:solidFill>
                  <a:srgbClr val="9BCB3B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SUBHEADER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6D88C4-F5F6-86DD-F749-097CF8F345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5054707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AINT LUKE'S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287252-CAF5-FF45-94A2-96C1867C8B84}" type="datetime1">
              <a:rPr lang="en-US" smtClean="0"/>
              <a:t>11/19/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B88B2-66A4-4F69-A04F-D20C612A327D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59088-7F75-4C8A-A3E2-678C18EF87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4319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D8E2C2A-276A-4F99-B871-877FA8CCC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387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3E7DD58-512D-4C87-B2A4-6B411739CE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B7A6DF-77D7-4491-8AEE-4C6ACFB866C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78B656D7-168B-40BD-BAFB-1A02A4B8CA0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9216CBEE-76AD-4044-8650-65D1374643D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142442"/>
            <a:ext cx="380984" cy="5334187"/>
          </a:xfrm>
          <a:solidFill>
            <a:srgbClr val="44BAC1"/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B8B362C-7F47-43F1-A25C-A0399BB733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939" y="6476628"/>
            <a:ext cx="3440707" cy="381373"/>
          </a:xfrm>
        </p:spPr>
        <p:txBody>
          <a:bodyPr anchor="ctr" anchorCtr="0"/>
          <a:lstStyle>
            <a:lvl1pPr marL="0" indent="0">
              <a:buNone/>
              <a:defRPr sz="84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1279027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201CAB-231E-A041-B040-7F0EE93D39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721E2F-C810-314E-8E46-7824DA7499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00ECDDB-11CB-B343-8272-01E957AD8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r>
              <a:rPr lang="en-US"/>
              <a:t>2020-01-1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F3D13A5-98FF-DB41-91AA-91630C1682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BDD8C32-EEDF-FA4A-A719-6378654FF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934D9-447A-DE44-AA34-60219151766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8360560C-8A47-AE4B-9CFC-CEF5BC7CC1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6356350"/>
            <a:ext cx="5062538" cy="365125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rgbClr val="898989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4258184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201CAB-231E-A041-B040-7F0EE93D39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721E2F-C810-314E-8E46-7824DA7499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00ECDDB-11CB-B343-8272-01E957AD8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r>
              <a:rPr lang="en-US" dirty="0"/>
              <a:t>2020-01-1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F3D13A5-98FF-DB41-91AA-91630C1682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BDD8C32-EEDF-FA4A-A719-6378654FF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934D9-447A-DE44-AA34-602191517661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8360560C-8A47-AE4B-9CFC-CEF5BC7CC1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6356350"/>
            <a:ext cx="5062538" cy="365125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rgbClr val="898989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4626841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EE005-8E96-584F-A708-0889F1DE8F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014B7F-A4CD-224F-917E-8C8362EDF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88720"/>
            <a:ext cx="5181600" cy="50448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175AEC6-3D45-674D-9F75-75E36C11E2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88720"/>
            <a:ext cx="5181600" cy="50448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DD9E24E7-0BB6-3040-ABDD-0CE87A8D75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r>
              <a:rPr lang="en-US" dirty="0"/>
              <a:t>2020-01-15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11EA87E-B839-8B41-BF9B-533468AB61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7C63B46-AAB2-574A-8324-3DDD5497E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934D9-447A-DE44-AA34-602191517661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CCE891A-2895-7A43-8114-0ADBCA4255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6356350"/>
            <a:ext cx="5062538" cy="365125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rgbClr val="898989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765930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201CAB-231E-A041-B040-7F0EE93D39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721E2F-C810-314E-8E46-7824DA7499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00ECDDB-11CB-B343-8272-01E957AD8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r>
              <a:rPr lang="en-US"/>
              <a:t>2020-01-1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F3D13A5-98FF-DB41-91AA-91630C1682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BDD8C32-EEDF-FA4A-A719-6378654FF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6905" y="6589112"/>
            <a:ext cx="159488" cy="162940"/>
          </a:xfrm>
        </p:spPr>
        <p:txBody>
          <a:bodyPr/>
          <a:lstStyle/>
          <a:p>
            <a:fld id="{D0E934D9-447A-DE44-AA34-60219151766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8360560C-8A47-AE4B-9CFC-CEF5BC7CC1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6356351"/>
            <a:ext cx="5062539" cy="365125"/>
          </a:xfrm>
        </p:spPr>
        <p:txBody>
          <a:bodyPr anchor="ctr">
            <a:noAutofit/>
          </a:bodyPr>
          <a:lstStyle>
            <a:lvl1pPr marL="0" indent="0">
              <a:buNone/>
              <a:defRPr sz="749">
                <a:solidFill>
                  <a:srgbClr val="898989"/>
                </a:solidFill>
              </a:defRPr>
            </a:lvl1pPr>
            <a:lvl2pPr marL="342747" indent="0">
              <a:buNone/>
              <a:defRPr sz="749"/>
            </a:lvl2pPr>
            <a:lvl3pPr marL="685493" indent="0">
              <a:buNone/>
              <a:defRPr sz="749"/>
            </a:lvl3pPr>
            <a:lvl4pPr marL="1028240" indent="0">
              <a:buNone/>
              <a:defRPr sz="749"/>
            </a:lvl4pPr>
            <a:lvl5pPr marL="1370987" indent="0">
              <a:buNone/>
              <a:defRPr sz="749"/>
            </a:lvl5pPr>
          </a:lstStyle>
          <a:p>
            <a:pPr lvl="0"/>
            <a:r>
              <a:rPr lang="en-US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7111901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86716EA7-3AAF-063A-8C61-E7E4B14795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oprietary and Confidential. Do not distribute.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FD731DF-BBBF-6C45-6BBC-C7BFDC318D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8009F10-8257-BD51-D291-5963FC8707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1"/>
            <a:ext cx="11406126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F2DF7612-62E9-C0DA-7260-63DC4E1CE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676647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86716EA7-3AAF-063A-8C61-E7E4B14795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oprietary and Confidential. Do not distribute.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FD731DF-BBBF-6C45-6BBC-C7BFDC318D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234F0EB-0E3E-AA5D-2066-F062F4700AE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92937" y="889742"/>
            <a:ext cx="10742233" cy="2893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spc="300">
                <a:solidFill>
                  <a:srgbClr val="9BCB3B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SUBHEAD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F463292-FFCC-931B-8C2F-2AF564E6E7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1"/>
            <a:ext cx="11406126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3C6D2B2A-ECD7-99AB-9B42-FA84EF79C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3752622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FE516E5-7B4A-3CD5-FA22-FEF475D09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oprietary and Confidential. Do not distribute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BDDB54-5E47-BCC0-676F-C52F8CE4F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4027969-FB33-627C-A934-B7DF08B191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1"/>
            <a:ext cx="5703063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F1B8DA1-3728-27B2-F05E-9A1B5076C3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78AF9E-9ADE-864E-7739-0782FA2625D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096000" y="1418601"/>
            <a:ext cx="5703063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6417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FE516E5-7B4A-3CD5-FA22-FEF475D09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oprietary and Confidential. Do not distribute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BDDB54-5E47-BCC0-676F-C52F8CE4F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8FDC53-C6F3-BE10-2BB5-4A72DE80AC3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92937" y="889742"/>
            <a:ext cx="10742233" cy="2893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spc="300">
                <a:solidFill>
                  <a:srgbClr val="9BCB3B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SUBHEADER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3F6CE4D-EC38-4464-47AE-C2E72E979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1"/>
            <a:ext cx="5703063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2A77E20-4100-82AE-5EE6-0FF42CE24D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81EA7DE-648F-2115-8D41-FB8F3B4E828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096000" y="1418601"/>
            <a:ext cx="5703063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902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86716EA7-3AAF-063A-8C61-E7E4B14795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oprietary and Confidential. Do not distribute.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FD731DF-BBBF-6C45-6BBC-C7BFDC318D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234F0EB-0E3E-AA5D-2066-F062F4700AE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92937" y="889742"/>
            <a:ext cx="10742233" cy="2893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spc="300">
                <a:solidFill>
                  <a:srgbClr val="9BCB3B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SUBHEAD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F463292-FFCC-931B-8C2F-2AF564E6E7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1"/>
            <a:ext cx="11406126" cy="465466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3C6D2B2A-ECD7-99AB-9B42-FA84EF79C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5360680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B050241-B863-65AD-D2CF-290D5FAD7C0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14957560"/>
              </p:ext>
            </p:extLst>
          </p:nvPr>
        </p:nvGraphicFramePr>
        <p:xfrm>
          <a:off x="838200" y="3763341"/>
          <a:ext cx="10515600" cy="18363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185472">
                  <a:extLst>
                    <a:ext uri="{9D8B030D-6E8A-4147-A177-3AD203B41FA5}">
                      <a16:colId xmlns:a16="http://schemas.microsoft.com/office/drawing/2014/main" val="273480524"/>
                    </a:ext>
                  </a:extLst>
                </a:gridCol>
                <a:gridCol w="4594485">
                  <a:extLst>
                    <a:ext uri="{9D8B030D-6E8A-4147-A177-3AD203B41FA5}">
                      <a16:colId xmlns:a16="http://schemas.microsoft.com/office/drawing/2014/main" val="2957982322"/>
                    </a:ext>
                  </a:extLst>
                </a:gridCol>
                <a:gridCol w="4735643">
                  <a:extLst>
                    <a:ext uri="{9D8B030D-6E8A-4147-A177-3AD203B41FA5}">
                      <a16:colId xmlns:a16="http://schemas.microsoft.com/office/drawing/2014/main" val="3434688424"/>
                    </a:ext>
                  </a:extLst>
                </a:gridCol>
              </a:tblGrid>
              <a:tr h="367264">
                <a:tc>
                  <a:txBody>
                    <a:bodyPr/>
                    <a:lstStyle/>
                    <a:p>
                      <a:r>
                        <a:rPr lang="en-US" sz="1400"/>
                        <a:t>Column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lumn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lumn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3894668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9091301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u="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u="non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1911516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829693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u="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u="non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165448"/>
                  </a:ext>
                </a:extLst>
              </a:tr>
            </a:tbl>
          </a:graphicData>
        </a:graphic>
      </p:graphicFrame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BB12486-3C72-BA20-4510-010B7F66AA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oprietary and Confidential. Do not distribute.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38D3E625-EB30-E84D-E062-7920ABFD8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9A49272-B263-854C-9297-C3CAB197E9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2"/>
            <a:ext cx="11406126" cy="234474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458E547-2E5B-BDD3-EF00-3E7149A0C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396305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B050241-B863-65AD-D2CF-290D5FAD7C0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14957560"/>
              </p:ext>
            </p:extLst>
          </p:nvPr>
        </p:nvGraphicFramePr>
        <p:xfrm>
          <a:off x="838200" y="3763341"/>
          <a:ext cx="10515600" cy="18363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185472">
                  <a:extLst>
                    <a:ext uri="{9D8B030D-6E8A-4147-A177-3AD203B41FA5}">
                      <a16:colId xmlns:a16="http://schemas.microsoft.com/office/drawing/2014/main" val="273480524"/>
                    </a:ext>
                  </a:extLst>
                </a:gridCol>
                <a:gridCol w="4594485">
                  <a:extLst>
                    <a:ext uri="{9D8B030D-6E8A-4147-A177-3AD203B41FA5}">
                      <a16:colId xmlns:a16="http://schemas.microsoft.com/office/drawing/2014/main" val="2957982322"/>
                    </a:ext>
                  </a:extLst>
                </a:gridCol>
                <a:gridCol w="4735643">
                  <a:extLst>
                    <a:ext uri="{9D8B030D-6E8A-4147-A177-3AD203B41FA5}">
                      <a16:colId xmlns:a16="http://schemas.microsoft.com/office/drawing/2014/main" val="3434688424"/>
                    </a:ext>
                  </a:extLst>
                </a:gridCol>
              </a:tblGrid>
              <a:tr h="367264">
                <a:tc>
                  <a:txBody>
                    <a:bodyPr/>
                    <a:lstStyle/>
                    <a:p>
                      <a:r>
                        <a:rPr lang="en-US" sz="1400"/>
                        <a:t>Column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lumn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lumn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3894668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9091301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u="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u="non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1911516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829693"/>
                  </a:ext>
                </a:extLst>
              </a:tr>
              <a:tr h="367264">
                <a:tc>
                  <a:txBody>
                    <a:bodyPr/>
                    <a:lstStyle/>
                    <a:p>
                      <a:r>
                        <a:rPr lang="en-US" sz="140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u="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400" u="non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165448"/>
                  </a:ext>
                </a:extLst>
              </a:tr>
            </a:tbl>
          </a:graphicData>
        </a:graphic>
      </p:graphicFrame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BB12486-3C72-BA20-4510-010B7F66AA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oprietary and Confidential. Do not distribute.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38D3E625-EB30-E84D-E062-7920ABFD8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3ADE2D1-5181-0CA8-C13D-D3C5B1478C4F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92937" y="889742"/>
            <a:ext cx="10742233" cy="2893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spc="300">
                <a:solidFill>
                  <a:srgbClr val="9BCB3B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SUBHEADER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0A4C57E-B873-B803-76D3-E409F3338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37" y="1418602"/>
            <a:ext cx="11406126" cy="234474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buClr>
                <a:srgbClr val="898989"/>
              </a:buClr>
              <a:defRPr/>
            </a:lvl2pPr>
            <a:lvl3pPr>
              <a:buClr>
                <a:srgbClr val="898989"/>
              </a:buClr>
              <a:defRPr/>
            </a:lvl3pPr>
            <a:lvl4pPr>
              <a:buClr>
                <a:srgbClr val="898989"/>
              </a:buClr>
              <a:defRPr/>
            </a:lvl4pPr>
            <a:lvl5pPr>
              <a:buClr>
                <a:srgbClr val="898989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93883876-51C1-9AAA-E01F-5B6F21160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468812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721E2F-C810-314E-8E46-7824DA74992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93012" y="3837482"/>
            <a:ext cx="2736954" cy="419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rgbClr val="00549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Product 1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55FDF60-5F21-5B25-8DC5-3BCC74EC5F9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193012" y="4257208"/>
            <a:ext cx="2736954" cy="652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rgbClr val="898989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3AE708F-9535-33B1-1C89-E0BF4D49FAE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730690" y="3837482"/>
            <a:ext cx="2736954" cy="419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rgbClr val="00549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Product 2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019A57B-C167-DEAF-8F71-A0637E34B1B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730690" y="4257208"/>
            <a:ext cx="2736954" cy="652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rgbClr val="898989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6A7A205-D1F9-1B10-EE1D-6410405B4CE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8313339" y="3837482"/>
            <a:ext cx="2736954" cy="419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rgbClr val="00549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Product 3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A645E0C-76DE-6A92-DB6E-7FFA1D3E5F6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313339" y="4257208"/>
            <a:ext cx="2736954" cy="652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rgbClr val="898989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F96B9CE0-CA86-0F95-CB6C-72CEA91BB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oprietary and Confidential. Do not distribute.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79D233F9-E3C3-C469-694E-9AF7278075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CCE1FD2-CDC8-F442-7430-43CEBBBED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602650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721E2F-C810-314E-8E46-7824DA74992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93012" y="3837482"/>
            <a:ext cx="2736954" cy="419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rgbClr val="00549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Product 1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55FDF60-5F21-5B25-8DC5-3BCC74EC5F9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193012" y="4257208"/>
            <a:ext cx="2736954" cy="652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rgbClr val="898989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3AE708F-9535-33B1-1C89-E0BF4D49FAE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730690" y="3837482"/>
            <a:ext cx="2736954" cy="419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rgbClr val="00549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Product 2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019A57B-C167-DEAF-8F71-A0637E34B1B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730690" y="4257208"/>
            <a:ext cx="2736954" cy="652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rgbClr val="898989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6A7A205-D1F9-1B10-EE1D-6410405B4CE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8313339" y="3837482"/>
            <a:ext cx="2736954" cy="419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rgbClr val="00549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Product 3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A645E0C-76DE-6A92-DB6E-7FFA1D3E5F6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313339" y="4257208"/>
            <a:ext cx="2736954" cy="652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rgbClr val="898989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F96B9CE0-CA86-0F95-CB6C-72CEA91BB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oprietary and Confidential. Do not distribute.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79D233F9-E3C3-C469-694E-9AF7278075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B9A927-CAEE-F43A-A4C6-19B2601B70F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92937" y="889742"/>
            <a:ext cx="10742233" cy="2893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spc="300">
                <a:solidFill>
                  <a:srgbClr val="9BCB3B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SUBHEADER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6D88C4-F5F6-86DD-F749-097CF8F345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37" y="221539"/>
            <a:ext cx="11406126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18727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3114" y="1053109"/>
            <a:ext cx="5436072" cy="1470025"/>
          </a:xfrm>
        </p:spPr>
        <p:txBody>
          <a:bodyPr/>
          <a:lstStyle>
            <a:lvl1pPr algn="l"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3114" y="3274097"/>
            <a:ext cx="5436072" cy="1752600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 descr="SL MAHI.jpg"/>
          <p:cNvPicPr>
            <a:picLocks noChangeAspect="1"/>
          </p:cNvPicPr>
          <p:nvPr userDrawn="1"/>
        </p:nvPicPr>
        <p:blipFill rotWithShape="1">
          <a:blip r:embed="rId2"/>
          <a:srcRect l="26760" r="26957" b="14028"/>
          <a:stretch/>
        </p:blipFill>
        <p:spPr>
          <a:xfrm>
            <a:off x="19050" y="0"/>
            <a:ext cx="5534026" cy="6858000"/>
          </a:xfrm>
          <a:prstGeom prst="rect">
            <a:avLst/>
          </a:prstGeom>
        </p:spPr>
      </p:pic>
      <p:pic>
        <p:nvPicPr>
          <p:cNvPr id="7" name="Picture 6" descr="SL MAHI white.w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83114" y="5506507"/>
            <a:ext cx="3832411" cy="858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8828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DFC134-3859-4DAA-A3D8-6C7593ABC4C3}" type="datetimeFigureOut">
              <a:rPr lang="en-US"/>
              <a:pPr>
                <a:defRPr/>
              </a:pPr>
              <a:t>11/1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A6E82E-40BC-4363-A589-C859DCFB37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43280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2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2D05CB-A076-4451-AE15-DC9F81045522}" type="datetimeFigureOut">
              <a:rPr lang="en-US"/>
              <a:pPr>
                <a:defRPr/>
              </a:pPr>
              <a:t>11/1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49FC72-A748-4E2B-8B7B-F6897498360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10307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DDF6C2-7CBE-4302-89A1-A6B27290342F}" type="datetimeFigureOut">
              <a:rPr lang="en-US"/>
              <a:pPr>
                <a:defRPr/>
              </a:pPr>
              <a:t>11/19/25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9B4E54-2AF6-4194-816D-5933373C15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03608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4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0BB70F-3579-4FC5-A989-2E3ED3763177}" type="datetimeFigureOut">
              <a:rPr lang="en-US"/>
              <a:pPr>
                <a:defRPr/>
              </a:pPr>
              <a:t>11/19/25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779DB4-AFD0-4C26-B75E-4CEF795BBB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40575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0F2FC6-23E8-48CD-A276-3ECDE64404D0}" type="datetimeFigureOut">
              <a:rPr lang="en-US"/>
              <a:pPr>
                <a:defRPr/>
              </a:pPr>
              <a:t>11/19/25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A242FF-823C-4245-8B44-3CD2F88AC3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5187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- Health System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15D0998-06DC-F741-B4FC-BCE2546C19D3}"/>
              </a:ext>
            </a:extLst>
          </p:cNvPr>
          <p:cNvSpPr/>
          <p:nvPr userDrawn="1"/>
        </p:nvSpPr>
        <p:spPr>
          <a:xfrm>
            <a:off x="-14474" y="-350"/>
            <a:ext cx="12242813" cy="5237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804334"/>
            <a:ext cx="10363200" cy="2288118"/>
          </a:xfrm>
        </p:spPr>
        <p:txBody>
          <a:bodyPr/>
          <a:lstStyle>
            <a:lvl1pPr algn="ctr">
              <a:defRPr sz="60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412066"/>
            <a:ext cx="8534401" cy="1312334"/>
          </a:xfrm>
        </p:spPr>
        <p:txBody>
          <a:bodyPr/>
          <a:lstStyle>
            <a:lvl1pPr marL="0" indent="0" algn="ctr">
              <a:buNone/>
              <a:defRPr sz="35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 descr="A picture containing animal&#10;&#10;Description automatically generated">
            <a:extLst>
              <a:ext uri="{FF2B5EF4-FFF2-40B4-BE49-F238E27FC236}">
                <a16:creationId xmlns:a16="http://schemas.microsoft.com/office/drawing/2014/main" id="{F4F67573-4D01-4A03-849E-E210E7D958F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423220" y="1"/>
            <a:ext cx="13038438" cy="6958208"/>
          </a:xfrm>
          <a:prstGeom prst="rect">
            <a:avLst/>
          </a:prstGeom>
        </p:spPr>
      </p:pic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9CB3A0D6-D94A-4149-8A3F-868568512B2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10113" y="5094440"/>
            <a:ext cx="1318687" cy="1508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668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FEB98C-89E8-4809-9D71-5BB053069B43}" type="datetimeFigureOut">
              <a:rPr lang="en-US"/>
              <a:pPr>
                <a:defRPr/>
              </a:pPr>
              <a:t>11/19/25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F51D70-4F4A-4AD9-8E8A-2DDB7E5AD2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9734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7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17E2D7-85CB-47E0-8BDC-DF0B2FF48B34}" type="datetimeFigureOut">
              <a:rPr lang="en-US"/>
              <a:pPr>
                <a:defRPr/>
              </a:pPr>
              <a:t>11/19/25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BF9784-67F7-46C7-A265-B2F6E79AF3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6363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211DDD-44D1-4938-86E1-411C712BF3C3}" type="datetimeFigureOut">
              <a:rPr lang="en-US"/>
              <a:pPr>
                <a:defRPr/>
              </a:pPr>
              <a:t>11/19/25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15F849-C760-47E2-B090-C06FA53D17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42047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29546E-2A7A-4487-835C-38D3DD719057}" type="datetimeFigureOut">
              <a:rPr lang="en-US"/>
              <a:pPr>
                <a:defRPr/>
              </a:pPr>
              <a:t>11/1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857FA1-2CCE-4448-A614-CD60805A958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406507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63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63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B7097-35F1-4165-803D-1F1CBB48FF92}" type="datetimeFigureOut">
              <a:rPr lang="en-US"/>
              <a:pPr>
                <a:defRPr/>
              </a:pPr>
              <a:t>11/1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A1DB92-C2C9-4EBF-AA97-65D7CAA201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69064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20143" y="6268571"/>
            <a:ext cx="2743200" cy="365125"/>
          </a:xfrm>
        </p:spPr>
        <p:txBody>
          <a:bodyPr/>
          <a:lstStyle/>
          <a:p>
            <a:fld id="{E0D5D1B0-CAC7-5148-A30B-2B9C6F1344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5324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Divider - Navy Blu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212DEB-D080-C842-B74E-5BD7D83B7E63}"/>
              </a:ext>
            </a:extLst>
          </p:cNvPr>
          <p:cNvSpPr/>
          <p:nvPr userDrawn="1"/>
        </p:nvSpPr>
        <p:spPr>
          <a:xfrm>
            <a:off x="0" y="-14066"/>
            <a:ext cx="12192001" cy="63304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4DF116-69AC-6C43-B6E4-DDBA7AB0F96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-438524" y="-4661"/>
            <a:ext cx="13071672" cy="69759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06949" y="690424"/>
            <a:ext cx="4810198" cy="2910029"/>
          </a:xfrm>
        </p:spPr>
        <p:txBody>
          <a:bodyPr/>
          <a:lstStyle>
            <a:lvl1pPr algn="l">
              <a:defRPr sz="60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906948" y="4219083"/>
            <a:ext cx="4810198" cy="2142676"/>
          </a:xfrm>
        </p:spPr>
        <p:txBody>
          <a:bodyPr/>
          <a:lstStyle>
            <a:lvl1pPr marL="0" indent="0" algn="l">
              <a:buNone/>
              <a:defRPr sz="35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09600" y="6254752"/>
            <a:ext cx="603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4FD49D43-B755-45BA-BD66-F6E96F2FA9B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4855" y="5094440"/>
            <a:ext cx="1318687" cy="1508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538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Divider - Tea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2017-1322_MAHI_Heart_Conference_PPTTemplate_proof_3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2000" cy="68579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1312334"/>
            <a:ext cx="10363200" cy="2288118"/>
          </a:xfrm>
        </p:spPr>
        <p:txBody>
          <a:bodyPr/>
          <a:lstStyle>
            <a:lvl1pPr algn="ctr">
              <a:defRPr sz="60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None/>
              <a:defRPr sz="35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09600" y="6254752"/>
            <a:ext cx="603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255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17.jpe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image" Target="../media/image18.emf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60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59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image" Target="../media/image19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09600" y="274320"/>
            <a:ext cx="10972800" cy="1097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AINT LUKE'S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15881B-E401-BF41-93ED-7B27FBEFCB46}" type="datetime1">
              <a:rPr lang="en-US" smtClean="0"/>
              <a:t>11/19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83" r:id="rId6"/>
  </p:sldLayoutIdLst>
  <p:hf hd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2017-1322_MAHI_Heart_Conference_PPTTemplate_proof_34.jp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72"/>
            <a:ext cx="12192000" cy="6857929"/>
          </a:xfrm>
          <a:prstGeom prst="rect">
            <a:avLst/>
          </a:prstGeom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465667"/>
            <a:ext cx="10972801" cy="832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1" cy="444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2197" y="6254752"/>
            <a:ext cx="460586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B763C13F-A3EC-4D41-8C52-AB98F40535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09600" y="6254752"/>
            <a:ext cx="603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383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1" r:id="rId14"/>
  </p:sldLayoutIdLst>
  <p:hf hdr="0" ftr="0"/>
  <p:txStyles>
    <p:titleStyle>
      <a:lvl1pPr algn="l" defTabSz="457200" rtl="0" fontAlgn="base">
        <a:spcBef>
          <a:spcPct val="0"/>
        </a:spcBef>
        <a:spcAft>
          <a:spcPct val="0"/>
        </a:spcAft>
        <a:defRPr sz="4400" b="1" kern="1200">
          <a:solidFill>
            <a:srgbClr val="D10000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SzPct val="75000"/>
        <a:buFont typeface="Arial" pitchFamily="34" charset="0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SzPct val="75000"/>
        <a:buFont typeface="Arial" pitchFamily="34" charset="0"/>
        <a:buChar char="–"/>
        <a:defRPr sz="2800" kern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charset="0"/>
          <a:cs typeface="ＭＳ Ｐゴシック" charset="0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SzPct val="75000"/>
        <a:buFont typeface="Arial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charset="0"/>
          <a:cs typeface="ＭＳ Ｐゴシック" charset="0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SzPct val="75000"/>
        <a:buFont typeface="Arial" pitchFamily="34" charset="0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charset="0"/>
          <a:cs typeface="ＭＳ Ｐゴシック" charset="0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SzPct val="75000"/>
        <a:buFont typeface="Arial" pitchFamily="34" charset="0"/>
        <a:buChar char="»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charset="0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5"/>
          <p:cNvSpPr>
            <a:spLocks noGrp="1" noChangeArrowheads="1"/>
          </p:cNvSpPr>
          <p:nvPr userDrawn="1">
            <p:ph type="dt" sz="half" idx="2"/>
          </p:nvPr>
        </p:nvSpPr>
        <p:spPr bwMode="auto">
          <a:xfrm>
            <a:off x="723900" y="6555545"/>
            <a:ext cx="2844800" cy="247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333" ker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1507" name="Title Placeholder 43"/>
          <p:cNvSpPr>
            <a:spLocks noGrp="1"/>
          </p:cNvSpPr>
          <p:nvPr userDrawn="1">
            <p:ph type="title"/>
          </p:nvPr>
        </p:nvSpPr>
        <p:spPr bwMode="auto">
          <a:xfrm>
            <a:off x="760225" y="412233"/>
            <a:ext cx="1082219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1509" name="Text Placeholder 49"/>
          <p:cNvSpPr>
            <a:spLocks noGrp="1"/>
          </p:cNvSpPr>
          <p:nvPr userDrawn="1">
            <p:ph type="body" idx="1"/>
          </p:nvPr>
        </p:nvSpPr>
        <p:spPr bwMode="auto">
          <a:xfrm>
            <a:off x="760225" y="1424517"/>
            <a:ext cx="10822193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9512023" y="6224390"/>
            <a:ext cx="2489604" cy="357593"/>
            <a:chOff x="487363" y="2840038"/>
            <a:chExt cx="8167687" cy="1173162"/>
          </a:xfrm>
        </p:grpSpPr>
        <p:sp>
          <p:nvSpPr>
            <p:cNvPr id="18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487363" y="2843213"/>
              <a:ext cx="8167687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6"/>
            <p:cNvSpPr>
              <a:spLocks noEditPoints="1"/>
            </p:cNvSpPr>
            <p:nvPr userDrawn="1"/>
          </p:nvSpPr>
          <p:spPr bwMode="auto">
            <a:xfrm>
              <a:off x="531813" y="2892425"/>
              <a:ext cx="803275" cy="1068387"/>
            </a:xfrm>
            <a:custGeom>
              <a:avLst/>
              <a:gdLst>
                <a:gd name="T0" fmla="*/ 126 w 506"/>
                <a:gd name="T1" fmla="*/ 172 h 673"/>
                <a:gd name="T2" fmla="*/ 175 w 506"/>
                <a:gd name="T3" fmla="*/ 125 h 673"/>
                <a:gd name="T4" fmla="*/ 333 w 506"/>
                <a:gd name="T5" fmla="*/ 125 h 673"/>
                <a:gd name="T6" fmla="*/ 383 w 506"/>
                <a:gd name="T7" fmla="*/ 172 h 673"/>
                <a:gd name="T8" fmla="*/ 383 w 506"/>
                <a:gd name="T9" fmla="*/ 500 h 673"/>
                <a:gd name="T10" fmla="*/ 333 w 506"/>
                <a:gd name="T11" fmla="*/ 548 h 673"/>
                <a:gd name="T12" fmla="*/ 175 w 506"/>
                <a:gd name="T13" fmla="*/ 548 h 673"/>
                <a:gd name="T14" fmla="*/ 126 w 506"/>
                <a:gd name="T15" fmla="*/ 500 h 673"/>
                <a:gd name="T16" fmla="*/ 126 w 506"/>
                <a:gd name="T17" fmla="*/ 172 h 673"/>
                <a:gd name="T18" fmla="*/ 126 w 506"/>
                <a:gd name="T19" fmla="*/ 172 h 673"/>
                <a:gd name="T20" fmla="*/ 506 w 506"/>
                <a:gd name="T21" fmla="*/ 120 h 673"/>
                <a:gd name="T22" fmla="*/ 385 w 506"/>
                <a:gd name="T23" fmla="*/ 0 h 673"/>
                <a:gd name="T24" fmla="*/ 123 w 506"/>
                <a:gd name="T25" fmla="*/ 0 h 673"/>
                <a:gd name="T26" fmla="*/ 0 w 506"/>
                <a:gd name="T27" fmla="*/ 120 h 673"/>
                <a:gd name="T28" fmla="*/ 0 w 506"/>
                <a:gd name="T29" fmla="*/ 552 h 673"/>
                <a:gd name="T30" fmla="*/ 123 w 506"/>
                <a:gd name="T31" fmla="*/ 673 h 673"/>
                <a:gd name="T32" fmla="*/ 385 w 506"/>
                <a:gd name="T33" fmla="*/ 673 h 673"/>
                <a:gd name="T34" fmla="*/ 506 w 506"/>
                <a:gd name="T35" fmla="*/ 552 h 673"/>
                <a:gd name="T36" fmla="*/ 506 w 506"/>
                <a:gd name="T37" fmla="*/ 120 h 673"/>
                <a:gd name="T38" fmla="*/ 506 w 506"/>
                <a:gd name="T39" fmla="*/ 12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6" h="673">
                  <a:moveTo>
                    <a:pt x="126" y="172"/>
                  </a:moveTo>
                  <a:lnTo>
                    <a:pt x="175" y="125"/>
                  </a:lnTo>
                  <a:lnTo>
                    <a:pt x="333" y="125"/>
                  </a:lnTo>
                  <a:lnTo>
                    <a:pt x="383" y="172"/>
                  </a:lnTo>
                  <a:lnTo>
                    <a:pt x="383" y="500"/>
                  </a:lnTo>
                  <a:lnTo>
                    <a:pt x="333" y="548"/>
                  </a:lnTo>
                  <a:lnTo>
                    <a:pt x="175" y="548"/>
                  </a:lnTo>
                  <a:lnTo>
                    <a:pt x="126" y="500"/>
                  </a:lnTo>
                  <a:lnTo>
                    <a:pt x="126" y="172"/>
                  </a:lnTo>
                  <a:lnTo>
                    <a:pt x="126" y="172"/>
                  </a:lnTo>
                  <a:close/>
                  <a:moveTo>
                    <a:pt x="506" y="120"/>
                  </a:moveTo>
                  <a:lnTo>
                    <a:pt x="385" y="0"/>
                  </a:lnTo>
                  <a:lnTo>
                    <a:pt x="123" y="0"/>
                  </a:lnTo>
                  <a:lnTo>
                    <a:pt x="0" y="120"/>
                  </a:lnTo>
                  <a:lnTo>
                    <a:pt x="0" y="552"/>
                  </a:lnTo>
                  <a:lnTo>
                    <a:pt x="123" y="673"/>
                  </a:lnTo>
                  <a:lnTo>
                    <a:pt x="385" y="673"/>
                  </a:lnTo>
                  <a:lnTo>
                    <a:pt x="506" y="552"/>
                  </a:lnTo>
                  <a:lnTo>
                    <a:pt x="506" y="120"/>
                  </a:lnTo>
                  <a:lnTo>
                    <a:pt x="506" y="120"/>
                  </a:lnTo>
                  <a:close/>
                </a:path>
              </a:pathLst>
            </a:custGeom>
            <a:solidFill>
              <a:srgbClr val="BB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auto">
            <a:xfrm>
              <a:off x="487363" y="2840038"/>
              <a:ext cx="8167687" cy="1169989"/>
            </a:xfrm>
            <a:custGeom>
              <a:avLst/>
              <a:gdLst>
                <a:gd name="T0" fmla="*/ 397 w 2178"/>
                <a:gd name="T1" fmla="*/ 289 h 312"/>
                <a:gd name="T2" fmla="*/ 430 w 2178"/>
                <a:gd name="T3" fmla="*/ 253 h 312"/>
                <a:gd name="T4" fmla="*/ 493 w 2178"/>
                <a:gd name="T5" fmla="*/ 256 h 312"/>
                <a:gd name="T6" fmla="*/ 535 w 2178"/>
                <a:gd name="T7" fmla="*/ 289 h 312"/>
                <a:gd name="T8" fmla="*/ 608 w 2178"/>
                <a:gd name="T9" fmla="*/ 282 h 312"/>
                <a:gd name="T10" fmla="*/ 678 w 2178"/>
                <a:gd name="T11" fmla="*/ 225 h 312"/>
                <a:gd name="T12" fmla="*/ 660 w 2178"/>
                <a:gd name="T13" fmla="*/ 232 h 312"/>
                <a:gd name="T14" fmla="*/ 761 w 2178"/>
                <a:gd name="T15" fmla="*/ 289 h 312"/>
                <a:gd name="T16" fmla="*/ 814 w 2178"/>
                <a:gd name="T17" fmla="*/ 282 h 312"/>
                <a:gd name="T18" fmla="*/ 858 w 2178"/>
                <a:gd name="T19" fmla="*/ 225 h 312"/>
                <a:gd name="T20" fmla="*/ 923 w 2178"/>
                <a:gd name="T21" fmla="*/ 289 h 312"/>
                <a:gd name="T22" fmla="*/ 941 w 2178"/>
                <a:gd name="T23" fmla="*/ 257 h 312"/>
                <a:gd name="T24" fmla="*/ 1061 w 2178"/>
                <a:gd name="T25" fmla="*/ 289 h 312"/>
                <a:gd name="T26" fmla="*/ 1103 w 2178"/>
                <a:gd name="T27" fmla="*/ 282 h 312"/>
                <a:gd name="T28" fmla="*/ 1182 w 2178"/>
                <a:gd name="T29" fmla="*/ 277 h 312"/>
                <a:gd name="T30" fmla="*/ 1197 w 2178"/>
                <a:gd name="T31" fmla="*/ 232 h 312"/>
                <a:gd name="T32" fmla="*/ 1287 w 2178"/>
                <a:gd name="T33" fmla="*/ 289 h 312"/>
                <a:gd name="T34" fmla="*/ 1351 w 2178"/>
                <a:gd name="T35" fmla="*/ 225 h 312"/>
                <a:gd name="T36" fmla="*/ 1367 w 2178"/>
                <a:gd name="T37" fmla="*/ 232 h 312"/>
                <a:gd name="T38" fmla="*/ 1433 w 2178"/>
                <a:gd name="T39" fmla="*/ 264 h 312"/>
                <a:gd name="T40" fmla="*/ 59 w 2178"/>
                <a:gd name="T41" fmla="*/ 0 h 312"/>
                <a:gd name="T42" fmla="*/ 61 w 2178"/>
                <a:gd name="T43" fmla="*/ 307 h 312"/>
                <a:gd name="T44" fmla="*/ 150 w 2178"/>
                <a:gd name="T45" fmla="*/ 238 h 312"/>
                <a:gd name="T46" fmla="*/ 147 w 2178"/>
                <a:gd name="T47" fmla="*/ 80 h 312"/>
                <a:gd name="T48" fmla="*/ 1628 w 2178"/>
                <a:gd name="T49" fmla="*/ 46 h 312"/>
                <a:gd name="T50" fmla="*/ 1515 w 2178"/>
                <a:gd name="T51" fmla="*/ 107 h 312"/>
                <a:gd name="T52" fmla="*/ 1518 w 2178"/>
                <a:gd name="T53" fmla="*/ 39 h 312"/>
                <a:gd name="T54" fmla="*/ 1438 w 2178"/>
                <a:gd name="T55" fmla="*/ 117 h 312"/>
                <a:gd name="T56" fmla="*/ 1441 w 2178"/>
                <a:gd name="T57" fmla="*/ 107 h 312"/>
                <a:gd name="T58" fmla="*/ 1713 w 2178"/>
                <a:gd name="T59" fmla="*/ 48 h 312"/>
                <a:gd name="T60" fmla="*/ 1634 w 2178"/>
                <a:gd name="T61" fmla="*/ 46 h 312"/>
                <a:gd name="T62" fmla="*/ 1974 w 2178"/>
                <a:gd name="T63" fmla="*/ 107 h 312"/>
                <a:gd name="T64" fmla="*/ 2066 w 2178"/>
                <a:gd name="T65" fmla="*/ 109 h 312"/>
                <a:gd name="T66" fmla="*/ 2122 w 2178"/>
                <a:gd name="T67" fmla="*/ 82 h 312"/>
                <a:gd name="T68" fmla="*/ 2138 w 2178"/>
                <a:gd name="T69" fmla="*/ 39 h 312"/>
                <a:gd name="T70" fmla="*/ 1953 w 2178"/>
                <a:gd name="T71" fmla="*/ 94 h 312"/>
                <a:gd name="T72" fmla="*/ 1920 w 2178"/>
                <a:gd name="T73" fmla="*/ 107 h 312"/>
                <a:gd name="T74" fmla="*/ 1855 w 2178"/>
                <a:gd name="T75" fmla="*/ 98 h 312"/>
                <a:gd name="T76" fmla="*/ 1819 w 2178"/>
                <a:gd name="T77" fmla="*/ 48 h 312"/>
                <a:gd name="T78" fmla="*/ 1839 w 2178"/>
                <a:gd name="T79" fmla="*/ 73 h 312"/>
                <a:gd name="T80" fmla="*/ 1784 w 2178"/>
                <a:gd name="T81" fmla="*/ 61 h 312"/>
                <a:gd name="T82" fmla="*/ 1741 w 2178"/>
                <a:gd name="T83" fmla="*/ 48 h 312"/>
                <a:gd name="T84" fmla="*/ 1323 w 2178"/>
                <a:gd name="T85" fmla="*/ 80 h 312"/>
                <a:gd name="T86" fmla="*/ 1342 w 2178"/>
                <a:gd name="T87" fmla="*/ 39 h 312"/>
                <a:gd name="T88" fmla="*/ 557 w 2178"/>
                <a:gd name="T89" fmla="*/ 106 h 312"/>
                <a:gd name="T90" fmla="*/ 557 w 2178"/>
                <a:gd name="T91" fmla="*/ 49 h 312"/>
                <a:gd name="T92" fmla="*/ 566 w 2178"/>
                <a:gd name="T93" fmla="*/ 95 h 312"/>
                <a:gd name="T94" fmla="*/ 327 w 2178"/>
                <a:gd name="T95" fmla="*/ 28 h 312"/>
                <a:gd name="T96" fmla="*/ 399 w 2178"/>
                <a:gd name="T97" fmla="*/ 40 h 312"/>
                <a:gd name="T98" fmla="*/ 757 w 2178"/>
                <a:gd name="T99" fmla="*/ 109 h 312"/>
                <a:gd name="T100" fmla="*/ 768 w 2178"/>
                <a:gd name="T101" fmla="*/ 71 h 312"/>
                <a:gd name="T102" fmla="*/ 750 w 2178"/>
                <a:gd name="T103" fmla="*/ 116 h 312"/>
                <a:gd name="T104" fmla="*/ 480 w 2178"/>
                <a:gd name="T105" fmla="*/ 107 h 312"/>
                <a:gd name="T106" fmla="*/ 445 w 2178"/>
                <a:gd name="T107" fmla="*/ 39 h 312"/>
                <a:gd name="T108" fmla="*/ 1226 w 2178"/>
                <a:gd name="T109" fmla="*/ 107 h 312"/>
                <a:gd name="T110" fmla="*/ 1200 w 2178"/>
                <a:gd name="T111" fmla="*/ 39 h 312"/>
                <a:gd name="T112" fmla="*/ 1093 w 2178"/>
                <a:gd name="T113" fmla="*/ 107 h 312"/>
                <a:gd name="T114" fmla="*/ 1147 w 2178"/>
                <a:gd name="T115" fmla="*/ 116 h 312"/>
                <a:gd name="T116" fmla="*/ 1168 w 2178"/>
                <a:gd name="T117" fmla="*/ 39 h 312"/>
                <a:gd name="T118" fmla="*/ 1011 w 2178"/>
                <a:gd name="T119" fmla="*/ 27 h 312"/>
                <a:gd name="T120" fmla="*/ 984 w 2178"/>
                <a:gd name="T121" fmla="*/ 91 h 312"/>
                <a:gd name="T122" fmla="*/ 806 w 2178"/>
                <a:gd name="T123" fmla="*/ 46 h 312"/>
                <a:gd name="T124" fmla="*/ 890 w 2178"/>
                <a:gd name="T125" fmla="*/ 1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8" h="312">
                  <a:moveTo>
                    <a:pt x="393" y="278"/>
                  </a:moveTo>
                  <a:cubicBezTo>
                    <a:pt x="378" y="225"/>
                    <a:pt x="378" y="225"/>
                    <a:pt x="378" y="225"/>
                  </a:cubicBezTo>
                  <a:cubicBezTo>
                    <a:pt x="371" y="225"/>
                    <a:pt x="371" y="225"/>
                    <a:pt x="371" y="225"/>
                  </a:cubicBezTo>
                  <a:cubicBezTo>
                    <a:pt x="357" y="278"/>
                    <a:pt x="357" y="278"/>
                    <a:pt x="357" y="278"/>
                  </a:cubicBezTo>
                  <a:cubicBezTo>
                    <a:pt x="343" y="225"/>
                    <a:pt x="343" y="225"/>
                    <a:pt x="343" y="225"/>
                  </a:cubicBezTo>
                  <a:cubicBezTo>
                    <a:pt x="334" y="225"/>
                    <a:pt x="334" y="225"/>
                    <a:pt x="334" y="225"/>
                  </a:cubicBezTo>
                  <a:cubicBezTo>
                    <a:pt x="352" y="289"/>
                    <a:pt x="352" y="289"/>
                    <a:pt x="352" y="289"/>
                  </a:cubicBezTo>
                  <a:cubicBezTo>
                    <a:pt x="361" y="289"/>
                    <a:pt x="361" y="289"/>
                    <a:pt x="361" y="289"/>
                  </a:cubicBezTo>
                  <a:cubicBezTo>
                    <a:pt x="375" y="237"/>
                    <a:pt x="375" y="237"/>
                    <a:pt x="375" y="237"/>
                  </a:cubicBezTo>
                  <a:cubicBezTo>
                    <a:pt x="389" y="289"/>
                    <a:pt x="389" y="289"/>
                    <a:pt x="389" y="289"/>
                  </a:cubicBezTo>
                  <a:cubicBezTo>
                    <a:pt x="397" y="289"/>
                    <a:pt x="397" y="289"/>
                    <a:pt x="397" y="289"/>
                  </a:cubicBezTo>
                  <a:cubicBezTo>
                    <a:pt x="416" y="225"/>
                    <a:pt x="416" y="225"/>
                    <a:pt x="416" y="225"/>
                  </a:cubicBezTo>
                  <a:cubicBezTo>
                    <a:pt x="407" y="225"/>
                    <a:pt x="407" y="225"/>
                    <a:pt x="407" y="225"/>
                  </a:cubicBezTo>
                  <a:lnTo>
                    <a:pt x="393" y="278"/>
                  </a:lnTo>
                  <a:close/>
                  <a:moveTo>
                    <a:pt x="422" y="289"/>
                  </a:moveTo>
                  <a:cubicBezTo>
                    <a:pt x="464" y="289"/>
                    <a:pt x="464" y="289"/>
                    <a:pt x="464" y="289"/>
                  </a:cubicBezTo>
                  <a:cubicBezTo>
                    <a:pt x="464" y="282"/>
                    <a:pt x="464" y="282"/>
                    <a:pt x="464" y="282"/>
                  </a:cubicBezTo>
                  <a:cubicBezTo>
                    <a:pt x="430" y="282"/>
                    <a:pt x="430" y="282"/>
                    <a:pt x="430" y="282"/>
                  </a:cubicBezTo>
                  <a:cubicBezTo>
                    <a:pt x="430" y="260"/>
                    <a:pt x="430" y="260"/>
                    <a:pt x="430" y="260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63" y="253"/>
                    <a:pt x="463" y="253"/>
                    <a:pt x="463" y="253"/>
                  </a:cubicBezTo>
                  <a:cubicBezTo>
                    <a:pt x="430" y="253"/>
                    <a:pt x="430" y="253"/>
                    <a:pt x="430" y="253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464" y="232"/>
                    <a:pt x="464" y="232"/>
                    <a:pt x="464" y="232"/>
                  </a:cubicBezTo>
                  <a:cubicBezTo>
                    <a:pt x="464" y="225"/>
                    <a:pt x="464" y="225"/>
                    <a:pt x="464" y="225"/>
                  </a:cubicBezTo>
                  <a:cubicBezTo>
                    <a:pt x="422" y="225"/>
                    <a:pt x="422" y="225"/>
                    <a:pt x="422" y="225"/>
                  </a:cubicBezTo>
                  <a:lnTo>
                    <a:pt x="422" y="289"/>
                  </a:lnTo>
                  <a:close/>
                  <a:moveTo>
                    <a:pt x="527" y="225"/>
                  </a:moveTo>
                  <a:cubicBezTo>
                    <a:pt x="517" y="225"/>
                    <a:pt x="517" y="225"/>
                    <a:pt x="517" y="225"/>
                  </a:cubicBezTo>
                  <a:cubicBezTo>
                    <a:pt x="498" y="251"/>
                    <a:pt x="498" y="251"/>
                    <a:pt x="498" y="251"/>
                  </a:cubicBezTo>
                  <a:cubicBezTo>
                    <a:pt x="479" y="225"/>
                    <a:pt x="479" y="225"/>
                    <a:pt x="479" y="225"/>
                  </a:cubicBezTo>
                  <a:cubicBezTo>
                    <a:pt x="470" y="225"/>
                    <a:pt x="470" y="225"/>
                    <a:pt x="470" y="225"/>
                  </a:cubicBezTo>
                  <a:cubicBezTo>
                    <a:pt x="493" y="256"/>
                    <a:pt x="493" y="256"/>
                    <a:pt x="493" y="256"/>
                  </a:cubicBezTo>
                  <a:cubicBezTo>
                    <a:pt x="468" y="289"/>
                    <a:pt x="468" y="289"/>
                    <a:pt x="468" y="289"/>
                  </a:cubicBezTo>
                  <a:cubicBezTo>
                    <a:pt x="478" y="289"/>
                    <a:pt x="478" y="289"/>
                    <a:pt x="478" y="289"/>
                  </a:cubicBezTo>
                  <a:cubicBezTo>
                    <a:pt x="498" y="262"/>
                    <a:pt x="498" y="262"/>
                    <a:pt x="498" y="262"/>
                  </a:cubicBezTo>
                  <a:cubicBezTo>
                    <a:pt x="519" y="289"/>
                    <a:pt x="519" y="289"/>
                    <a:pt x="519" y="289"/>
                  </a:cubicBezTo>
                  <a:cubicBezTo>
                    <a:pt x="528" y="289"/>
                    <a:pt x="528" y="289"/>
                    <a:pt x="528" y="289"/>
                  </a:cubicBezTo>
                  <a:cubicBezTo>
                    <a:pt x="503" y="256"/>
                    <a:pt x="503" y="256"/>
                    <a:pt x="503" y="256"/>
                  </a:cubicBezTo>
                  <a:lnTo>
                    <a:pt x="527" y="225"/>
                  </a:lnTo>
                  <a:close/>
                  <a:moveTo>
                    <a:pt x="580" y="275"/>
                  </a:moveTo>
                  <a:cubicBezTo>
                    <a:pt x="543" y="225"/>
                    <a:pt x="543" y="225"/>
                    <a:pt x="543" y="225"/>
                  </a:cubicBezTo>
                  <a:cubicBezTo>
                    <a:pt x="535" y="225"/>
                    <a:pt x="535" y="225"/>
                    <a:pt x="535" y="225"/>
                  </a:cubicBezTo>
                  <a:cubicBezTo>
                    <a:pt x="535" y="289"/>
                    <a:pt x="535" y="289"/>
                    <a:pt x="535" y="289"/>
                  </a:cubicBezTo>
                  <a:cubicBezTo>
                    <a:pt x="543" y="289"/>
                    <a:pt x="543" y="289"/>
                    <a:pt x="543" y="289"/>
                  </a:cubicBezTo>
                  <a:cubicBezTo>
                    <a:pt x="543" y="238"/>
                    <a:pt x="543" y="238"/>
                    <a:pt x="543" y="238"/>
                  </a:cubicBezTo>
                  <a:cubicBezTo>
                    <a:pt x="580" y="289"/>
                    <a:pt x="580" y="289"/>
                    <a:pt x="580" y="289"/>
                  </a:cubicBezTo>
                  <a:cubicBezTo>
                    <a:pt x="588" y="289"/>
                    <a:pt x="588" y="289"/>
                    <a:pt x="588" y="289"/>
                  </a:cubicBezTo>
                  <a:cubicBezTo>
                    <a:pt x="588" y="225"/>
                    <a:pt x="588" y="225"/>
                    <a:pt x="588" y="225"/>
                  </a:cubicBezTo>
                  <a:cubicBezTo>
                    <a:pt x="580" y="225"/>
                    <a:pt x="580" y="225"/>
                    <a:pt x="580" y="225"/>
                  </a:cubicBezTo>
                  <a:lnTo>
                    <a:pt x="580" y="275"/>
                  </a:lnTo>
                  <a:close/>
                  <a:moveTo>
                    <a:pt x="600" y="289"/>
                  </a:moveTo>
                  <a:cubicBezTo>
                    <a:pt x="642" y="289"/>
                    <a:pt x="642" y="289"/>
                    <a:pt x="642" y="289"/>
                  </a:cubicBezTo>
                  <a:cubicBezTo>
                    <a:pt x="642" y="282"/>
                    <a:pt x="642" y="282"/>
                    <a:pt x="642" y="282"/>
                  </a:cubicBezTo>
                  <a:cubicBezTo>
                    <a:pt x="608" y="282"/>
                    <a:pt x="608" y="282"/>
                    <a:pt x="608" y="282"/>
                  </a:cubicBezTo>
                  <a:cubicBezTo>
                    <a:pt x="608" y="260"/>
                    <a:pt x="608" y="260"/>
                    <a:pt x="608" y="260"/>
                  </a:cubicBezTo>
                  <a:cubicBezTo>
                    <a:pt x="641" y="260"/>
                    <a:pt x="641" y="260"/>
                    <a:pt x="641" y="260"/>
                  </a:cubicBezTo>
                  <a:cubicBezTo>
                    <a:pt x="641" y="253"/>
                    <a:pt x="641" y="253"/>
                    <a:pt x="641" y="253"/>
                  </a:cubicBezTo>
                  <a:cubicBezTo>
                    <a:pt x="608" y="253"/>
                    <a:pt x="608" y="253"/>
                    <a:pt x="608" y="253"/>
                  </a:cubicBezTo>
                  <a:cubicBezTo>
                    <a:pt x="608" y="232"/>
                    <a:pt x="608" y="232"/>
                    <a:pt x="608" y="232"/>
                  </a:cubicBezTo>
                  <a:cubicBezTo>
                    <a:pt x="642" y="232"/>
                    <a:pt x="642" y="232"/>
                    <a:pt x="642" y="232"/>
                  </a:cubicBezTo>
                  <a:cubicBezTo>
                    <a:pt x="642" y="225"/>
                    <a:pt x="642" y="225"/>
                    <a:pt x="642" y="225"/>
                  </a:cubicBezTo>
                  <a:cubicBezTo>
                    <a:pt x="600" y="225"/>
                    <a:pt x="600" y="225"/>
                    <a:pt x="600" y="225"/>
                  </a:cubicBezTo>
                  <a:lnTo>
                    <a:pt x="600" y="289"/>
                  </a:lnTo>
                  <a:close/>
                  <a:moveTo>
                    <a:pt x="698" y="244"/>
                  </a:moveTo>
                  <a:cubicBezTo>
                    <a:pt x="698" y="233"/>
                    <a:pt x="690" y="225"/>
                    <a:pt x="678" y="225"/>
                  </a:cubicBezTo>
                  <a:cubicBezTo>
                    <a:pt x="652" y="225"/>
                    <a:pt x="652" y="225"/>
                    <a:pt x="652" y="225"/>
                  </a:cubicBezTo>
                  <a:cubicBezTo>
                    <a:pt x="652" y="289"/>
                    <a:pt x="652" y="289"/>
                    <a:pt x="652" y="289"/>
                  </a:cubicBezTo>
                  <a:cubicBezTo>
                    <a:pt x="660" y="289"/>
                    <a:pt x="660" y="289"/>
                    <a:pt x="660" y="289"/>
                  </a:cubicBezTo>
                  <a:cubicBezTo>
                    <a:pt x="660" y="264"/>
                    <a:pt x="660" y="264"/>
                    <a:pt x="660" y="264"/>
                  </a:cubicBezTo>
                  <a:cubicBezTo>
                    <a:pt x="673" y="264"/>
                    <a:pt x="673" y="264"/>
                    <a:pt x="673" y="264"/>
                  </a:cubicBezTo>
                  <a:cubicBezTo>
                    <a:pt x="689" y="289"/>
                    <a:pt x="689" y="289"/>
                    <a:pt x="689" y="289"/>
                  </a:cubicBezTo>
                  <a:cubicBezTo>
                    <a:pt x="699" y="289"/>
                    <a:pt x="699" y="289"/>
                    <a:pt x="699" y="289"/>
                  </a:cubicBezTo>
                  <a:cubicBezTo>
                    <a:pt x="682" y="263"/>
                    <a:pt x="682" y="263"/>
                    <a:pt x="682" y="263"/>
                  </a:cubicBezTo>
                  <a:cubicBezTo>
                    <a:pt x="690" y="262"/>
                    <a:pt x="698" y="256"/>
                    <a:pt x="698" y="244"/>
                  </a:cubicBezTo>
                  <a:close/>
                  <a:moveTo>
                    <a:pt x="660" y="257"/>
                  </a:moveTo>
                  <a:cubicBezTo>
                    <a:pt x="660" y="232"/>
                    <a:pt x="660" y="232"/>
                    <a:pt x="660" y="232"/>
                  </a:cubicBezTo>
                  <a:cubicBezTo>
                    <a:pt x="677" y="232"/>
                    <a:pt x="677" y="232"/>
                    <a:pt x="677" y="232"/>
                  </a:cubicBezTo>
                  <a:cubicBezTo>
                    <a:pt x="685" y="232"/>
                    <a:pt x="690" y="237"/>
                    <a:pt x="690" y="244"/>
                  </a:cubicBezTo>
                  <a:cubicBezTo>
                    <a:pt x="690" y="252"/>
                    <a:pt x="685" y="257"/>
                    <a:pt x="677" y="257"/>
                  </a:cubicBezTo>
                  <a:lnTo>
                    <a:pt x="660" y="257"/>
                  </a:lnTo>
                  <a:close/>
                  <a:moveTo>
                    <a:pt x="762" y="274"/>
                  </a:moveTo>
                  <a:cubicBezTo>
                    <a:pt x="742" y="225"/>
                    <a:pt x="742" y="225"/>
                    <a:pt x="742" y="225"/>
                  </a:cubicBezTo>
                  <a:cubicBezTo>
                    <a:pt x="731" y="225"/>
                    <a:pt x="731" y="225"/>
                    <a:pt x="731" y="225"/>
                  </a:cubicBezTo>
                  <a:cubicBezTo>
                    <a:pt x="731" y="289"/>
                    <a:pt x="731" y="289"/>
                    <a:pt x="731" y="289"/>
                  </a:cubicBezTo>
                  <a:cubicBezTo>
                    <a:pt x="739" y="289"/>
                    <a:pt x="739" y="289"/>
                    <a:pt x="739" y="289"/>
                  </a:cubicBezTo>
                  <a:cubicBezTo>
                    <a:pt x="739" y="235"/>
                    <a:pt x="739" y="235"/>
                    <a:pt x="739" y="235"/>
                  </a:cubicBezTo>
                  <a:cubicBezTo>
                    <a:pt x="761" y="289"/>
                    <a:pt x="761" y="289"/>
                    <a:pt x="761" y="289"/>
                  </a:cubicBezTo>
                  <a:cubicBezTo>
                    <a:pt x="764" y="289"/>
                    <a:pt x="764" y="289"/>
                    <a:pt x="764" y="289"/>
                  </a:cubicBezTo>
                  <a:cubicBezTo>
                    <a:pt x="786" y="235"/>
                    <a:pt x="786" y="235"/>
                    <a:pt x="786" y="235"/>
                  </a:cubicBezTo>
                  <a:cubicBezTo>
                    <a:pt x="786" y="289"/>
                    <a:pt x="786" y="289"/>
                    <a:pt x="786" y="289"/>
                  </a:cubicBezTo>
                  <a:cubicBezTo>
                    <a:pt x="794" y="289"/>
                    <a:pt x="794" y="289"/>
                    <a:pt x="794" y="289"/>
                  </a:cubicBezTo>
                  <a:cubicBezTo>
                    <a:pt x="794" y="225"/>
                    <a:pt x="794" y="225"/>
                    <a:pt x="794" y="225"/>
                  </a:cubicBezTo>
                  <a:cubicBezTo>
                    <a:pt x="782" y="225"/>
                    <a:pt x="782" y="225"/>
                    <a:pt x="782" y="225"/>
                  </a:cubicBezTo>
                  <a:lnTo>
                    <a:pt x="762" y="274"/>
                  </a:lnTo>
                  <a:close/>
                  <a:moveTo>
                    <a:pt x="806" y="289"/>
                  </a:moveTo>
                  <a:cubicBezTo>
                    <a:pt x="848" y="289"/>
                    <a:pt x="848" y="289"/>
                    <a:pt x="848" y="289"/>
                  </a:cubicBezTo>
                  <a:cubicBezTo>
                    <a:pt x="848" y="282"/>
                    <a:pt x="848" y="282"/>
                    <a:pt x="848" y="282"/>
                  </a:cubicBezTo>
                  <a:cubicBezTo>
                    <a:pt x="814" y="282"/>
                    <a:pt x="814" y="282"/>
                    <a:pt x="814" y="282"/>
                  </a:cubicBezTo>
                  <a:cubicBezTo>
                    <a:pt x="814" y="260"/>
                    <a:pt x="814" y="260"/>
                    <a:pt x="814" y="260"/>
                  </a:cubicBezTo>
                  <a:cubicBezTo>
                    <a:pt x="847" y="260"/>
                    <a:pt x="847" y="260"/>
                    <a:pt x="847" y="260"/>
                  </a:cubicBezTo>
                  <a:cubicBezTo>
                    <a:pt x="847" y="253"/>
                    <a:pt x="847" y="253"/>
                    <a:pt x="847" y="253"/>
                  </a:cubicBezTo>
                  <a:cubicBezTo>
                    <a:pt x="814" y="253"/>
                    <a:pt x="814" y="253"/>
                    <a:pt x="814" y="253"/>
                  </a:cubicBezTo>
                  <a:cubicBezTo>
                    <a:pt x="814" y="232"/>
                    <a:pt x="814" y="232"/>
                    <a:pt x="814" y="232"/>
                  </a:cubicBezTo>
                  <a:cubicBezTo>
                    <a:pt x="848" y="232"/>
                    <a:pt x="848" y="232"/>
                    <a:pt x="848" y="232"/>
                  </a:cubicBezTo>
                  <a:cubicBezTo>
                    <a:pt x="848" y="225"/>
                    <a:pt x="848" y="225"/>
                    <a:pt x="848" y="225"/>
                  </a:cubicBezTo>
                  <a:cubicBezTo>
                    <a:pt x="806" y="225"/>
                    <a:pt x="806" y="225"/>
                    <a:pt x="806" y="225"/>
                  </a:cubicBezTo>
                  <a:lnTo>
                    <a:pt x="806" y="289"/>
                  </a:lnTo>
                  <a:close/>
                  <a:moveTo>
                    <a:pt x="880" y="225"/>
                  </a:moveTo>
                  <a:cubicBezTo>
                    <a:pt x="858" y="225"/>
                    <a:pt x="858" y="225"/>
                    <a:pt x="858" y="225"/>
                  </a:cubicBezTo>
                  <a:cubicBezTo>
                    <a:pt x="858" y="289"/>
                    <a:pt x="858" y="289"/>
                    <a:pt x="858" y="289"/>
                  </a:cubicBezTo>
                  <a:cubicBezTo>
                    <a:pt x="880" y="289"/>
                    <a:pt x="880" y="289"/>
                    <a:pt x="880" y="289"/>
                  </a:cubicBezTo>
                  <a:cubicBezTo>
                    <a:pt x="900" y="289"/>
                    <a:pt x="913" y="275"/>
                    <a:pt x="913" y="257"/>
                  </a:cubicBezTo>
                  <a:cubicBezTo>
                    <a:pt x="913" y="239"/>
                    <a:pt x="900" y="225"/>
                    <a:pt x="880" y="225"/>
                  </a:cubicBezTo>
                  <a:close/>
                  <a:moveTo>
                    <a:pt x="880" y="282"/>
                  </a:moveTo>
                  <a:cubicBezTo>
                    <a:pt x="866" y="282"/>
                    <a:pt x="866" y="282"/>
                    <a:pt x="866" y="282"/>
                  </a:cubicBezTo>
                  <a:cubicBezTo>
                    <a:pt x="866" y="232"/>
                    <a:pt x="866" y="232"/>
                    <a:pt x="866" y="232"/>
                  </a:cubicBezTo>
                  <a:cubicBezTo>
                    <a:pt x="880" y="232"/>
                    <a:pt x="880" y="232"/>
                    <a:pt x="880" y="232"/>
                  </a:cubicBezTo>
                  <a:cubicBezTo>
                    <a:pt x="896" y="232"/>
                    <a:pt x="905" y="243"/>
                    <a:pt x="905" y="257"/>
                  </a:cubicBezTo>
                  <a:cubicBezTo>
                    <a:pt x="905" y="271"/>
                    <a:pt x="896" y="282"/>
                    <a:pt x="880" y="282"/>
                  </a:cubicBezTo>
                  <a:close/>
                  <a:moveTo>
                    <a:pt x="923" y="289"/>
                  </a:moveTo>
                  <a:cubicBezTo>
                    <a:pt x="931" y="289"/>
                    <a:pt x="931" y="289"/>
                    <a:pt x="931" y="289"/>
                  </a:cubicBezTo>
                  <a:cubicBezTo>
                    <a:pt x="931" y="225"/>
                    <a:pt x="931" y="225"/>
                    <a:pt x="931" y="225"/>
                  </a:cubicBezTo>
                  <a:cubicBezTo>
                    <a:pt x="923" y="225"/>
                    <a:pt x="923" y="225"/>
                    <a:pt x="923" y="225"/>
                  </a:cubicBezTo>
                  <a:lnTo>
                    <a:pt x="923" y="289"/>
                  </a:lnTo>
                  <a:close/>
                  <a:moveTo>
                    <a:pt x="974" y="283"/>
                  </a:moveTo>
                  <a:cubicBezTo>
                    <a:pt x="960" y="283"/>
                    <a:pt x="949" y="272"/>
                    <a:pt x="949" y="257"/>
                  </a:cubicBezTo>
                  <a:cubicBezTo>
                    <a:pt x="949" y="242"/>
                    <a:pt x="960" y="231"/>
                    <a:pt x="974" y="231"/>
                  </a:cubicBezTo>
                  <a:cubicBezTo>
                    <a:pt x="981" y="231"/>
                    <a:pt x="988" y="235"/>
                    <a:pt x="992" y="240"/>
                  </a:cubicBezTo>
                  <a:cubicBezTo>
                    <a:pt x="998" y="237"/>
                    <a:pt x="998" y="237"/>
                    <a:pt x="998" y="237"/>
                  </a:cubicBezTo>
                  <a:cubicBezTo>
                    <a:pt x="993" y="229"/>
                    <a:pt x="985" y="224"/>
                    <a:pt x="974" y="224"/>
                  </a:cubicBezTo>
                  <a:cubicBezTo>
                    <a:pt x="956" y="224"/>
                    <a:pt x="941" y="237"/>
                    <a:pt x="941" y="257"/>
                  </a:cubicBezTo>
                  <a:cubicBezTo>
                    <a:pt x="941" y="277"/>
                    <a:pt x="956" y="290"/>
                    <a:pt x="974" y="290"/>
                  </a:cubicBezTo>
                  <a:cubicBezTo>
                    <a:pt x="985" y="290"/>
                    <a:pt x="993" y="285"/>
                    <a:pt x="998" y="277"/>
                  </a:cubicBezTo>
                  <a:cubicBezTo>
                    <a:pt x="992" y="274"/>
                    <a:pt x="992" y="274"/>
                    <a:pt x="992" y="274"/>
                  </a:cubicBezTo>
                  <a:cubicBezTo>
                    <a:pt x="988" y="279"/>
                    <a:pt x="981" y="283"/>
                    <a:pt x="974" y="283"/>
                  </a:cubicBezTo>
                  <a:close/>
                  <a:moveTo>
                    <a:pt x="1025" y="225"/>
                  </a:moveTo>
                  <a:cubicBezTo>
                    <a:pt x="999" y="289"/>
                    <a:pt x="999" y="289"/>
                    <a:pt x="999" y="289"/>
                  </a:cubicBezTo>
                  <a:cubicBezTo>
                    <a:pt x="1008" y="289"/>
                    <a:pt x="1008" y="289"/>
                    <a:pt x="1008" y="289"/>
                  </a:cubicBezTo>
                  <a:cubicBezTo>
                    <a:pt x="1014" y="275"/>
                    <a:pt x="1014" y="275"/>
                    <a:pt x="1014" y="275"/>
                  </a:cubicBezTo>
                  <a:cubicBezTo>
                    <a:pt x="1046" y="275"/>
                    <a:pt x="1046" y="275"/>
                    <a:pt x="1046" y="275"/>
                  </a:cubicBezTo>
                  <a:cubicBezTo>
                    <a:pt x="1052" y="289"/>
                    <a:pt x="1052" y="289"/>
                    <a:pt x="1052" y="289"/>
                  </a:cubicBezTo>
                  <a:cubicBezTo>
                    <a:pt x="1061" y="289"/>
                    <a:pt x="1061" y="289"/>
                    <a:pt x="1061" y="289"/>
                  </a:cubicBezTo>
                  <a:cubicBezTo>
                    <a:pt x="1035" y="225"/>
                    <a:pt x="1035" y="225"/>
                    <a:pt x="1035" y="225"/>
                  </a:cubicBezTo>
                  <a:lnTo>
                    <a:pt x="1025" y="225"/>
                  </a:lnTo>
                  <a:close/>
                  <a:moveTo>
                    <a:pt x="1017" y="268"/>
                  </a:moveTo>
                  <a:cubicBezTo>
                    <a:pt x="1030" y="233"/>
                    <a:pt x="1030" y="233"/>
                    <a:pt x="1030" y="233"/>
                  </a:cubicBezTo>
                  <a:cubicBezTo>
                    <a:pt x="1044" y="268"/>
                    <a:pt x="1044" y="268"/>
                    <a:pt x="1044" y="268"/>
                  </a:cubicBezTo>
                  <a:lnTo>
                    <a:pt x="1017" y="268"/>
                  </a:lnTo>
                  <a:close/>
                  <a:moveTo>
                    <a:pt x="1074" y="225"/>
                  </a:moveTo>
                  <a:cubicBezTo>
                    <a:pt x="1066" y="225"/>
                    <a:pt x="1066" y="225"/>
                    <a:pt x="1066" y="225"/>
                  </a:cubicBezTo>
                  <a:cubicBezTo>
                    <a:pt x="1066" y="289"/>
                    <a:pt x="1066" y="289"/>
                    <a:pt x="1066" y="289"/>
                  </a:cubicBezTo>
                  <a:cubicBezTo>
                    <a:pt x="1103" y="289"/>
                    <a:pt x="1103" y="289"/>
                    <a:pt x="1103" y="289"/>
                  </a:cubicBezTo>
                  <a:cubicBezTo>
                    <a:pt x="1103" y="282"/>
                    <a:pt x="1103" y="282"/>
                    <a:pt x="1103" y="282"/>
                  </a:cubicBezTo>
                  <a:cubicBezTo>
                    <a:pt x="1074" y="282"/>
                    <a:pt x="1074" y="282"/>
                    <a:pt x="1074" y="282"/>
                  </a:cubicBezTo>
                  <a:lnTo>
                    <a:pt x="1074" y="225"/>
                  </a:lnTo>
                  <a:close/>
                  <a:moveTo>
                    <a:pt x="1157" y="283"/>
                  </a:moveTo>
                  <a:cubicBezTo>
                    <a:pt x="1143" y="283"/>
                    <a:pt x="1133" y="272"/>
                    <a:pt x="1133" y="257"/>
                  </a:cubicBezTo>
                  <a:cubicBezTo>
                    <a:pt x="1133" y="242"/>
                    <a:pt x="1143" y="231"/>
                    <a:pt x="1157" y="231"/>
                  </a:cubicBezTo>
                  <a:cubicBezTo>
                    <a:pt x="1165" y="231"/>
                    <a:pt x="1171" y="235"/>
                    <a:pt x="1175" y="240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76" y="229"/>
                    <a:pt x="1169" y="224"/>
                    <a:pt x="1157" y="224"/>
                  </a:cubicBezTo>
                  <a:cubicBezTo>
                    <a:pt x="1139" y="224"/>
                    <a:pt x="1124" y="237"/>
                    <a:pt x="1124" y="257"/>
                  </a:cubicBezTo>
                  <a:cubicBezTo>
                    <a:pt x="1124" y="277"/>
                    <a:pt x="1139" y="290"/>
                    <a:pt x="1157" y="290"/>
                  </a:cubicBezTo>
                  <a:cubicBezTo>
                    <a:pt x="1169" y="290"/>
                    <a:pt x="1176" y="285"/>
                    <a:pt x="1182" y="277"/>
                  </a:cubicBezTo>
                  <a:cubicBezTo>
                    <a:pt x="1175" y="274"/>
                    <a:pt x="1175" y="274"/>
                    <a:pt x="1175" y="274"/>
                  </a:cubicBezTo>
                  <a:cubicBezTo>
                    <a:pt x="1171" y="279"/>
                    <a:pt x="1165" y="283"/>
                    <a:pt x="1157" y="283"/>
                  </a:cubicBezTo>
                  <a:close/>
                  <a:moveTo>
                    <a:pt x="1189" y="289"/>
                  </a:moveTo>
                  <a:cubicBezTo>
                    <a:pt x="1231" y="289"/>
                    <a:pt x="1231" y="289"/>
                    <a:pt x="1231" y="289"/>
                  </a:cubicBezTo>
                  <a:cubicBezTo>
                    <a:pt x="1231" y="282"/>
                    <a:pt x="1231" y="282"/>
                    <a:pt x="1231" y="282"/>
                  </a:cubicBezTo>
                  <a:cubicBezTo>
                    <a:pt x="1197" y="282"/>
                    <a:pt x="1197" y="282"/>
                    <a:pt x="1197" y="282"/>
                  </a:cubicBezTo>
                  <a:cubicBezTo>
                    <a:pt x="1197" y="260"/>
                    <a:pt x="1197" y="260"/>
                    <a:pt x="1197" y="260"/>
                  </a:cubicBezTo>
                  <a:cubicBezTo>
                    <a:pt x="1231" y="260"/>
                    <a:pt x="1231" y="260"/>
                    <a:pt x="1231" y="260"/>
                  </a:cubicBezTo>
                  <a:cubicBezTo>
                    <a:pt x="1231" y="253"/>
                    <a:pt x="1231" y="253"/>
                    <a:pt x="1231" y="253"/>
                  </a:cubicBezTo>
                  <a:cubicBezTo>
                    <a:pt x="1197" y="253"/>
                    <a:pt x="1197" y="253"/>
                    <a:pt x="1197" y="253"/>
                  </a:cubicBezTo>
                  <a:cubicBezTo>
                    <a:pt x="1197" y="232"/>
                    <a:pt x="1197" y="232"/>
                    <a:pt x="1197" y="232"/>
                  </a:cubicBezTo>
                  <a:cubicBezTo>
                    <a:pt x="1231" y="232"/>
                    <a:pt x="1231" y="232"/>
                    <a:pt x="1231" y="232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189" y="225"/>
                    <a:pt x="1189" y="225"/>
                    <a:pt x="1189" y="225"/>
                  </a:cubicBezTo>
                  <a:lnTo>
                    <a:pt x="1189" y="289"/>
                  </a:lnTo>
                  <a:close/>
                  <a:moveTo>
                    <a:pt x="1287" y="275"/>
                  </a:moveTo>
                  <a:cubicBezTo>
                    <a:pt x="1250" y="225"/>
                    <a:pt x="1250" y="225"/>
                    <a:pt x="1250" y="225"/>
                  </a:cubicBezTo>
                  <a:cubicBezTo>
                    <a:pt x="1242" y="225"/>
                    <a:pt x="1242" y="225"/>
                    <a:pt x="1242" y="225"/>
                  </a:cubicBezTo>
                  <a:cubicBezTo>
                    <a:pt x="1242" y="289"/>
                    <a:pt x="1242" y="289"/>
                    <a:pt x="1242" y="289"/>
                  </a:cubicBezTo>
                  <a:cubicBezTo>
                    <a:pt x="1250" y="289"/>
                    <a:pt x="1250" y="289"/>
                    <a:pt x="1250" y="289"/>
                  </a:cubicBezTo>
                  <a:cubicBezTo>
                    <a:pt x="1250" y="238"/>
                    <a:pt x="1250" y="238"/>
                    <a:pt x="1250" y="238"/>
                  </a:cubicBezTo>
                  <a:cubicBezTo>
                    <a:pt x="1287" y="289"/>
                    <a:pt x="1287" y="289"/>
                    <a:pt x="1287" y="289"/>
                  </a:cubicBezTo>
                  <a:cubicBezTo>
                    <a:pt x="1295" y="289"/>
                    <a:pt x="1295" y="289"/>
                    <a:pt x="1295" y="289"/>
                  </a:cubicBezTo>
                  <a:cubicBezTo>
                    <a:pt x="1295" y="225"/>
                    <a:pt x="1295" y="225"/>
                    <a:pt x="1295" y="225"/>
                  </a:cubicBezTo>
                  <a:cubicBezTo>
                    <a:pt x="1287" y="225"/>
                    <a:pt x="1287" y="225"/>
                    <a:pt x="1287" y="225"/>
                  </a:cubicBezTo>
                  <a:lnTo>
                    <a:pt x="1287" y="275"/>
                  </a:lnTo>
                  <a:close/>
                  <a:moveTo>
                    <a:pt x="1303" y="232"/>
                  </a:moveTo>
                  <a:cubicBezTo>
                    <a:pt x="1323" y="232"/>
                    <a:pt x="1323" y="232"/>
                    <a:pt x="1323" y="232"/>
                  </a:cubicBezTo>
                  <a:cubicBezTo>
                    <a:pt x="1323" y="289"/>
                    <a:pt x="1323" y="289"/>
                    <a:pt x="1323" y="289"/>
                  </a:cubicBezTo>
                  <a:cubicBezTo>
                    <a:pt x="1331" y="289"/>
                    <a:pt x="1331" y="289"/>
                    <a:pt x="1331" y="289"/>
                  </a:cubicBezTo>
                  <a:cubicBezTo>
                    <a:pt x="1331" y="232"/>
                    <a:pt x="1331" y="232"/>
                    <a:pt x="1331" y="232"/>
                  </a:cubicBezTo>
                  <a:cubicBezTo>
                    <a:pt x="1351" y="232"/>
                    <a:pt x="1351" y="232"/>
                    <a:pt x="1351" y="232"/>
                  </a:cubicBezTo>
                  <a:cubicBezTo>
                    <a:pt x="1351" y="225"/>
                    <a:pt x="1351" y="225"/>
                    <a:pt x="1351" y="225"/>
                  </a:cubicBezTo>
                  <a:cubicBezTo>
                    <a:pt x="1303" y="225"/>
                    <a:pt x="1303" y="225"/>
                    <a:pt x="1303" y="225"/>
                  </a:cubicBezTo>
                  <a:lnTo>
                    <a:pt x="1303" y="232"/>
                  </a:lnTo>
                  <a:close/>
                  <a:moveTo>
                    <a:pt x="1360" y="289"/>
                  </a:moveTo>
                  <a:cubicBezTo>
                    <a:pt x="1401" y="289"/>
                    <a:pt x="1401" y="289"/>
                    <a:pt x="1401" y="289"/>
                  </a:cubicBezTo>
                  <a:cubicBezTo>
                    <a:pt x="1401" y="282"/>
                    <a:pt x="1401" y="282"/>
                    <a:pt x="1401" y="282"/>
                  </a:cubicBezTo>
                  <a:cubicBezTo>
                    <a:pt x="1367" y="282"/>
                    <a:pt x="1367" y="282"/>
                    <a:pt x="1367" y="282"/>
                  </a:cubicBezTo>
                  <a:cubicBezTo>
                    <a:pt x="1367" y="260"/>
                    <a:pt x="1367" y="260"/>
                    <a:pt x="1367" y="260"/>
                  </a:cubicBezTo>
                  <a:cubicBezTo>
                    <a:pt x="1401" y="260"/>
                    <a:pt x="1401" y="260"/>
                    <a:pt x="1401" y="260"/>
                  </a:cubicBezTo>
                  <a:cubicBezTo>
                    <a:pt x="1401" y="253"/>
                    <a:pt x="1401" y="253"/>
                    <a:pt x="1401" y="253"/>
                  </a:cubicBezTo>
                  <a:cubicBezTo>
                    <a:pt x="1367" y="253"/>
                    <a:pt x="1367" y="253"/>
                    <a:pt x="1367" y="253"/>
                  </a:cubicBezTo>
                  <a:cubicBezTo>
                    <a:pt x="1367" y="232"/>
                    <a:pt x="1367" y="232"/>
                    <a:pt x="1367" y="232"/>
                  </a:cubicBezTo>
                  <a:cubicBezTo>
                    <a:pt x="1401" y="232"/>
                    <a:pt x="1401" y="232"/>
                    <a:pt x="1401" y="232"/>
                  </a:cubicBezTo>
                  <a:cubicBezTo>
                    <a:pt x="1401" y="225"/>
                    <a:pt x="1401" y="225"/>
                    <a:pt x="1401" y="225"/>
                  </a:cubicBezTo>
                  <a:cubicBezTo>
                    <a:pt x="1360" y="225"/>
                    <a:pt x="1360" y="225"/>
                    <a:pt x="1360" y="225"/>
                  </a:cubicBezTo>
                  <a:lnTo>
                    <a:pt x="1360" y="289"/>
                  </a:lnTo>
                  <a:close/>
                  <a:moveTo>
                    <a:pt x="1458" y="244"/>
                  </a:moveTo>
                  <a:cubicBezTo>
                    <a:pt x="1458" y="233"/>
                    <a:pt x="1449" y="225"/>
                    <a:pt x="1437" y="225"/>
                  </a:cubicBezTo>
                  <a:cubicBezTo>
                    <a:pt x="1412" y="225"/>
                    <a:pt x="1412" y="225"/>
                    <a:pt x="1412" y="225"/>
                  </a:cubicBezTo>
                  <a:cubicBezTo>
                    <a:pt x="1412" y="289"/>
                    <a:pt x="1412" y="289"/>
                    <a:pt x="1412" y="289"/>
                  </a:cubicBezTo>
                  <a:cubicBezTo>
                    <a:pt x="1420" y="289"/>
                    <a:pt x="1420" y="289"/>
                    <a:pt x="1420" y="289"/>
                  </a:cubicBezTo>
                  <a:cubicBezTo>
                    <a:pt x="1420" y="264"/>
                    <a:pt x="1420" y="264"/>
                    <a:pt x="1420" y="264"/>
                  </a:cubicBezTo>
                  <a:cubicBezTo>
                    <a:pt x="1433" y="264"/>
                    <a:pt x="1433" y="264"/>
                    <a:pt x="1433" y="264"/>
                  </a:cubicBezTo>
                  <a:cubicBezTo>
                    <a:pt x="1449" y="289"/>
                    <a:pt x="1449" y="289"/>
                    <a:pt x="1449" y="289"/>
                  </a:cubicBezTo>
                  <a:cubicBezTo>
                    <a:pt x="1458" y="289"/>
                    <a:pt x="1458" y="289"/>
                    <a:pt x="1458" y="289"/>
                  </a:cubicBezTo>
                  <a:cubicBezTo>
                    <a:pt x="1441" y="263"/>
                    <a:pt x="1441" y="263"/>
                    <a:pt x="1441" y="263"/>
                  </a:cubicBezTo>
                  <a:cubicBezTo>
                    <a:pt x="1450" y="262"/>
                    <a:pt x="1458" y="256"/>
                    <a:pt x="1458" y="244"/>
                  </a:cubicBezTo>
                  <a:close/>
                  <a:moveTo>
                    <a:pt x="1420" y="257"/>
                  </a:moveTo>
                  <a:cubicBezTo>
                    <a:pt x="1420" y="232"/>
                    <a:pt x="1420" y="232"/>
                    <a:pt x="1420" y="232"/>
                  </a:cubicBezTo>
                  <a:cubicBezTo>
                    <a:pt x="1437" y="232"/>
                    <a:pt x="1437" y="232"/>
                    <a:pt x="1437" y="232"/>
                  </a:cubicBezTo>
                  <a:cubicBezTo>
                    <a:pt x="1444" y="232"/>
                    <a:pt x="1449" y="237"/>
                    <a:pt x="1449" y="244"/>
                  </a:cubicBezTo>
                  <a:cubicBezTo>
                    <a:pt x="1449" y="252"/>
                    <a:pt x="1444" y="257"/>
                    <a:pt x="1437" y="257"/>
                  </a:cubicBezTo>
                  <a:lnTo>
                    <a:pt x="1420" y="257"/>
                  </a:lnTo>
                  <a:close/>
                  <a:moveTo>
                    <a:pt x="59" y="0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58" y="312"/>
                    <a:pt x="58" y="312"/>
                    <a:pt x="58" y="312"/>
                  </a:cubicBezTo>
                  <a:cubicBezTo>
                    <a:pt x="180" y="312"/>
                    <a:pt x="180" y="312"/>
                    <a:pt x="180" y="312"/>
                  </a:cubicBezTo>
                  <a:cubicBezTo>
                    <a:pt x="239" y="253"/>
                    <a:pt x="239" y="253"/>
                    <a:pt x="239" y="25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180" y="0"/>
                    <a:pt x="180" y="0"/>
                    <a:pt x="180" y="0"/>
                  </a:cubicBezTo>
                  <a:lnTo>
                    <a:pt x="59" y="0"/>
                  </a:lnTo>
                  <a:close/>
                  <a:moveTo>
                    <a:pt x="233" y="251"/>
                  </a:moveTo>
                  <a:cubicBezTo>
                    <a:pt x="178" y="307"/>
                    <a:pt x="178" y="307"/>
                    <a:pt x="178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5" y="251"/>
                    <a:pt x="5" y="251"/>
                    <a:pt x="5" y="25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233" y="60"/>
                    <a:pt x="233" y="60"/>
                    <a:pt x="233" y="60"/>
                  </a:cubicBezTo>
                  <a:lnTo>
                    <a:pt x="233" y="251"/>
                  </a:lnTo>
                  <a:close/>
                  <a:moveTo>
                    <a:pt x="89" y="75"/>
                  </a:moveTo>
                  <a:cubicBezTo>
                    <a:pt x="73" y="91"/>
                    <a:pt x="73" y="91"/>
                    <a:pt x="73" y="91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89" y="238"/>
                    <a:pt x="89" y="238"/>
                    <a:pt x="89" y="238"/>
                  </a:cubicBezTo>
                  <a:cubicBezTo>
                    <a:pt x="150" y="238"/>
                    <a:pt x="150" y="238"/>
                    <a:pt x="150" y="238"/>
                  </a:cubicBezTo>
                  <a:cubicBezTo>
                    <a:pt x="165" y="222"/>
                    <a:pt x="165" y="222"/>
                    <a:pt x="165" y="222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49" y="75"/>
                    <a:pt x="149" y="75"/>
                    <a:pt x="149" y="75"/>
                  </a:cubicBezTo>
                  <a:lnTo>
                    <a:pt x="89" y="75"/>
                  </a:lnTo>
                  <a:close/>
                  <a:moveTo>
                    <a:pt x="160" y="220"/>
                  </a:moveTo>
                  <a:cubicBezTo>
                    <a:pt x="147" y="233"/>
                    <a:pt x="147" y="233"/>
                    <a:pt x="147" y="233"/>
                  </a:cubicBezTo>
                  <a:cubicBezTo>
                    <a:pt x="91" y="233"/>
                    <a:pt x="91" y="233"/>
                    <a:pt x="91" y="233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9" y="93"/>
                    <a:pt x="79" y="93"/>
                    <a:pt x="79" y="93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60" y="93"/>
                    <a:pt x="160" y="93"/>
                    <a:pt x="160" y="93"/>
                  </a:cubicBezTo>
                  <a:lnTo>
                    <a:pt x="160" y="220"/>
                  </a:lnTo>
                  <a:close/>
                  <a:moveTo>
                    <a:pt x="318" y="169"/>
                  </a:moveTo>
                  <a:cubicBezTo>
                    <a:pt x="318" y="174"/>
                    <a:pt x="318" y="174"/>
                    <a:pt x="318" y="174"/>
                  </a:cubicBezTo>
                  <a:cubicBezTo>
                    <a:pt x="2178" y="174"/>
                    <a:pt x="2178" y="174"/>
                    <a:pt x="2178" y="174"/>
                  </a:cubicBezTo>
                  <a:cubicBezTo>
                    <a:pt x="2178" y="169"/>
                    <a:pt x="2178" y="169"/>
                    <a:pt x="2178" y="169"/>
                  </a:cubicBezTo>
                  <a:lnTo>
                    <a:pt x="318" y="169"/>
                  </a:lnTo>
                  <a:close/>
                  <a:moveTo>
                    <a:pt x="1628" y="109"/>
                  </a:moveTo>
                  <a:cubicBezTo>
                    <a:pt x="1616" y="107"/>
                    <a:pt x="1616" y="107"/>
                    <a:pt x="1616" y="107"/>
                  </a:cubicBezTo>
                  <a:cubicBezTo>
                    <a:pt x="1616" y="48"/>
                    <a:pt x="1616" y="48"/>
                    <a:pt x="1616" y="48"/>
                  </a:cubicBezTo>
                  <a:cubicBezTo>
                    <a:pt x="1628" y="46"/>
                    <a:pt x="1628" y="46"/>
                    <a:pt x="1628" y="46"/>
                  </a:cubicBezTo>
                  <a:cubicBezTo>
                    <a:pt x="1628" y="39"/>
                    <a:pt x="1628" y="39"/>
                    <a:pt x="1628" y="39"/>
                  </a:cubicBezTo>
                  <a:cubicBezTo>
                    <a:pt x="1587" y="39"/>
                    <a:pt x="1587" y="39"/>
                    <a:pt x="1587" y="39"/>
                  </a:cubicBezTo>
                  <a:cubicBezTo>
                    <a:pt x="1587" y="46"/>
                    <a:pt x="1587" y="46"/>
                    <a:pt x="1587" y="46"/>
                  </a:cubicBezTo>
                  <a:cubicBezTo>
                    <a:pt x="1599" y="48"/>
                    <a:pt x="1599" y="48"/>
                    <a:pt x="1599" y="48"/>
                  </a:cubicBezTo>
                  <a:cubicBezTo>
                    <a:pt x="1599" y="107"/>
                    <a:pt x="1599" y="107"/>
                    <a:pt x="1599" y="107"/>
                  </a:cubicBezTo>
                  <a:cubicBezTo>
                    <a:pt x="1587" y="109"/>
                    <a:pt x="1587" y="109"/>
                    <a:pt x="1587" y="109"/>
                  </a:cubicBezTo>
                  <a:cubicBezTo>
                    <a:pt x="1587" y="116"/>
                    <a:pt x="1587" y="116"/>
                    <a:pt x="1587" y="116"/>
                  </a:cubicBezTo>
                  <a:cubicBezTo>
                    <a:pt x="1628" y="116"/>
                    <a:pt x="1628" y="116"/>
                    <a:pt x="1628" y="116"/>
                  </a:cubicBezTo>
                  <a:lnTo>
                    <a:pt x="1628" y="109"/>
                  </a:lnTo>
                  <a:close/>
                  <a:moveTo>
                    <a:pt x="1526" y="109"/>
                  </a:moveTo>
                  <a:cubicBezTo>
                    <a:pt x="1515" y="107"/>
                    <a:pt x="1515" y="107"/>
                    <a:pt x="1515" y="107"/>
                  </a:cubicBezTo>
                  <a:cubicBezTo>
                    <a:pt x="1515" y="61"/>
                    <a:pt x="1515" y="61"/>
                    <a:pt x="1515" y="61"/>
                  </a:cubicBezTo>
                  <a:cubicBezTo>
                    <a:pt x="1553" y="116"/>
                    <a:pt x="1553" y="116"/>
                    <a:pt x="1553" y="116"/>
                  </a:cubicBezTo>
                  <a:cubicBezTo>
                    <a:pt x="1567" y="116"/>
                    <a:pt x="1567" y="116"/>
                    <a:pt x="1567" y="116"/>
                  </a:cubicBezTo>
                  <a:cubicBezTo>
                    <a:pt x="1567" y="48"/>
                    <a:pt x="1567" y="48"/>
                    <a:pt x="1567" y="48"/>
                  </a:cubicBezTo>
                  <a:cubicBezTo>
                    <a:pt x="1578" y="46"/>
                    <a:pt x="1578" y="46"/>
                    <a:pt x="1578" y="46"/>
                  </a:cubicBezTo>
                  <a:cubicBezTo>
                    <a:pt x="1578" y="39"/>
                    <a:pt x="1578" y="39"/>
                    <a:pt x="1578" y="39"/>
                  </a:cubicBezTo>
                  <a:cubicBezTo>
                    <a:pt x="1544" y="39"/>
                    <a:pt x="1544" y="39"/>
                    <a:pt x="1544" y="39"/>
                  </a:cubicBezTo>
                  <a:cubicBezTo>
                    <a:pt x="1544" y="46"/>
                    <a:pt x="1544" y="46"/>
                    <a:pt x="1544" y="46"/>
                  </a:cubicBezTo>
                  <a:cubicBezTo>
                    <a:pt x="1556" y="48"/>
                    <a:pt x="1556" y="48"/>
                    <a:pt x="1556" y="48"/>
                  </a:cubicBezTo>
                  <a:cubicBezTo>
                    <a:pt x="1556" y="91"/>
                    <a:pt x="1556" y="91"/>
                    <a:pt x="1556" y="91"/>
                  </a:cubicBezTo>
                  <a:cubicBezTo>
                    <a:pt x="1518" y="39"/>
                    <a:pt x="1518" y="39"/>
                    <a:pt x="1518" y="39"/>
                  </a:cubicBezTo>
                  <a:cubicBezTo>
                    <a:pt x="1492" y="39"/>
                    <a:pt x="1492" y="39"/>
                    <a:pt x="1492" y="39"/>
                  </a:cubicBezTo>
                  <a:cubicBezTo>
                    <a:pt x="1492" y="46"/>
                    <a:pt x="1492" y="46"/>
                    <a:pt x="1492" y="46"/>
                  </a:cubicBezTo>
                  <a:cubicBezTo>
                    <a:pt x="1503" y="48"/>
                    <a:pt x="1503" y="48"/>
                    <a:pt x="1503" y="48"/>
                  </a:cubicBezTo>
                  <a:cubicBezTo>
                    <a:pt x="1503" y="107"/>
                    <a:pt x="1503" y="107"/>
                    <a:pt x="1503" y="107"/>
                  </a:cubicBezTo>
                  <a:cubicBezTo>
                    <a:pt x="1492" y="109"/>
                    <a:pt x="1492" y="109"/>
                    <a:pt x="1492" y="109"/>
                  </a:cubicBezTo>
                  <a:cubicBezTo>
                    <a:pt x="1492" y="116"/>
                    <a:pt x="1492" y="116"/>
                    <a:pt x="1492" y="116"/>
                  </a:cubicBezTo>
                  <a:cubicBezTo>
                    <a:pt x="1526" y="116"/>
                    <a:pt x="1526" y="116"/>
                    <a:pt x="1526" y="116"/>
                  </a:cubicBezTo>
                  <a:lnTo>
                    <a:pt x="1526" y="109"/>
                  </a:lnTo>
                  <a:close/>
                  <a:moveTo>
                    <a:pt x="1400" y="76"/>
                  </a:moveTo>
                  <a:cubicBezTo>
                    <a:pt x="1400" y="86"/>
                    <a:pt x="1399" y="99"/>
                    <a:pt x="1407" y="107"/>
                  </a:cubicBezTo>
                  <a:cubicBezTo>
                    <a:pt x="1414" y="114"/>
                    <a:pt x="1424" y="117"/>
                    <a:pt x="1438" y="117"/>
                  </a:cubicBezTo>
                  <a:cubicBezTo>
                    <a:pt x="1451" y="117"/>
                    <a:pt x="1461" y="115"/>
                    <a:pt x="1466" y="109"/>
                  </a:cubicBezTo>
                  <a:cubicBezTo>
                    <a:pt x="1474" y="101"/>
                    <a:pt x="1475" y="94"/>
                    <a:pt x="1475" y="77"/>
                  </a:cubicBezTo>
                  <a:cubicBezTo>
                    <a:pt x="1475" y="27"/>
                    <a:pt x="1475" y="27"/>
                    <a:pt x="1475" y="27"/>
                  </a:cubicBezTo>
                  <a:cubicBezTo>
                    <a:pt x="1487" y="26"/>
                    <a:pt x="1487" y="26"/>
                    <a:pt x="1487" y="26"/>
                  </a:cubicBezTo>
                  <a:cubicBezTo>
                    <a:pt x="1487" y="18"/>
                    <a:pt x="1487" y="18"/>
                    <a:pt x="1487" y="18"/>
                  </a:cubicBezTo>
                  <a:cubicBezTo>
                    <a:pt x="1452" y="18"/>
                    <a:pt x="1452" y="18"/>
                    <a:pt x="1452" y="18"/>
                  </a:cubicBezTo>
                  <a:cubicBezTo>
                    <a:pt x="1452" y="26"/>
                    <a:pt x="1452" y="26"/>
                    <a:pt x="1452" y="26"/>
                  </a:cubicBezTo>
                  <a:cubicBezTo>
                    <a:pt x="1463" y="27"/>
                    <a:pt x="1463" y="27"/>
                    <a:pt x="1463" y="27"/>
                  </a:cubicBezTo>
                  <a:cubicBezTo>
                    <a:pt x="1463" y="84"/>
                    <a:pt x="1463" y="84"/>
                    <a:pt x="1463" y="84"/>
                  </a:cubicBezTo>
                  <a:cubicBezTo>
                    <a:pt x="1463" y="92"/>
                    <a:pt x="1461" y="97"/>
                    <a:pt x="1458" y="101"/>
                  </a:cubicBezTo>
                  <a:cubicBezTo>
                    <a:pt x="1454" y="105"/>
                    <a:pt x="1448" y="107"/>
                    <a:pt x="1441" y="107"/>
                  </a:cubicBezTo>
                  <a:cubicBezTo>
                    <a:pt x="1427" y="107"/>
                    <a:pt x="1418" y="100"/>
                    <a:pt x="1418" y="84"/>
                  </a:cubicBezTo>
                  <a:cubicBezTo>
                    <a:pt x="1418" y="27"/>
                    <a:pt x="1418" y="27"/>
                    <a:pt x="1418" y="27"/>
                  </a:cubicBezTo>
                  <a:cubicBezTo>
                    <a:pt x="1430" y="26"/>
                    <a:pt x="1430" y="26"/>
                    <a:pt x="1430" y="26"/>
                  </a:cubicBezTo>
                  <a:cubicBezTo>
                    <a:pt x="1430" y="18"/>
                    <a:pt x="1430" y="18"/>
                    <a:pt x="1430" y="18"/>
                  </a:cubicBezTo>
                  <a:cubicBezTo>
                    <a:pt x="1388" y="18"/>
                    <a:pt x="1388" y="18"/>
                    <a:pt x="1388" y="18"/>
                  </a:cubicBezTo>
                  <a:cubicBezTo>
                    <a:pt x="1388" y="26"/>
                    <a:pt x="1388" y="26"/>
                    <a:pt x="1388" y="26"/>
                  </a:cubicBezTo>
                  <a:cubicBezTo>
                    <a:pt x="1400" y="27"/>
                    <a:pt x="1400" y="27"/>
                    <a:pt x="1400" y="27"/>
                  </a:cubicBezTo>
                  <a:lnTo>
                    <a:pt x="1400" y="76"/>
                  </a:lnTo>
                  <a:close/>
                  <a:moveTo>
                    <a:pt x="1671" y="116"/>
                  </a:moveTo>
                  <a:cubicBezTo>
                    <a:pt x="1687" y="116"/>
                    <a:pt x="1687" y="116"/>
                    <a:pt x="1687" y="116"/>
                  </a:cubicBezTo>
                  <a:cubicBezTo>
                    <a:pt x="1713" y="48"/>
                    <a:pt x="1713" y="48"/>
                    <a:pt x="1713" y="48"/>
                  </a:cubicBezTo>
                  <a:cubicBezTo>
                    <a:pt x="1724" y="46"/>
                    <a:pt x="1724" y="46"/>
                    <a:pt x="1724" y="46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690" y="39"/>
                    <a:pt x="1690" y="39"/>
                    <a:pt x="1690" y="39"/>
                  </a:cubicBezTo>
                  <a:cubicBezTo>
                    <a:pt x="1690" y="46"/>
                    <a:pt x="1690" y="46"/>
                    <a:pt x="1690" y="46"/>
                  </a:cubicBezTo>
                  <a:cubicBezTo>
                    <a:pt x="1701" y="48"/>
                    <a:pt x="1701" y="48"/>
                    <a:pt x="1701" y="48"/>
                  </a:cubicBezTo>
                  <a:cubicBezTo>
                    <a:pt x="1682" y="100"/>
                    <a:pt x="1682" y="100"/>
                    <a:pt x="1682" y="100"/>
                  </a:cubicBezTo>
                  <a:cubicBezTo>
                    <a:pt x="1663" y="48"/>
                    <a:pt x="1663" y="48"/>
                    <a:pt x="1663" y="48"/>
                  </a:cubicBezTo>
                  <a:cubicBezTo>
                    <a:pt x="1674" y="46"/>
                    <a:pt x="1674" y="46"/>
                    <a:pt x="1674" y="46"/>
                  </a:cubicBezTo>
                  <a:cubicBezTo>
                    <a:pt x="1674" y="39"/>
                    <a:pt x="1674" y="39"/>
                    <a:pt x="1674" y="39"/>
                  </a:cubicBezTo>
                  <a:cubicBezTo>
                    <a:pt x="1634" y="39"/>
                    <a:pt x="1634" y="39"/>
                    <a:pt x="1634" y="39"/>
                  </a:cubicBezTo>
                  <a:cubicBezTo>
                    <a:pt x="1634" y="46"/>
                    <a:pt x="1634" y="46"/>
                    <a:pt x="1634" y="46"/>
                  </a:cubicBezTo>
                  <a:cubicBezTo>
                    <a:pt x="1645" y="48"/>
                    <a:pt x="1645" y="48"/>
                    <a:pt x="1645" y="48"/>
                  </a:cubicBezTo>
                  <a:lnTo>
                    <a:pt x="1671" y="116"/>
                  </a:lnTo>
                  <a:close/>
                  <a:moveTo>
                    <a:pt x="2003" y="109"/>
                  </a:moveTo>
                  <a:cubicBezTo>
                    <a:pt x="1992" y="107"/>
                    <a:pt x="1992" y="107"/>
                    <a:pt x="1992" y="107"/>
                  </a:cubicBezTo>
                  <a:cubicBezTo>
                    <a:pt x="1992" y="48"/>
                    <a:pt x="1992" y="48"/>
                    <a:pt x="1992" y="48"/>
                  </a:cubicBezTo>
                  <a:cubicBezTo>
                    <a:pt x="2003" y="46"/>
                    <a:pt x="2003" y="46"/>
                    <a:pt x="2003" y="46"/>
                  </a:cubicBezTo>
                  <a:cubicBezTo>
                    <a:pt x="2003" y="39"/>
                    <a:pt x="2003" y="39"/>
                    <a:pt x="2003" y="39"/>
                  </a:cubicBezTo>
                  <a:cubicBezTo>
                    <a:pt x="1963" y="39"/>
                    <a:pt x="1963" y="39"/>
                    <a:pt x="1963" y="39"/>
                  </a:cubicBezTo>
                  <a:cubicBezTo>
                    <a:pt x="1963" y="46"/>
                    <a:pt x="1963" y="46"/>
                    <a:pt x="1963" y="46"/>
                  </a:cubicBezTo>
                  <a:cubicBezTo>
                    <a:pt x="1974" y="48"/>
                    <a:pt x="1974" y="48"/>
                    <a:pt x="1974" y="48"/>
                  </a:cubicBezTo>
                  <a:cubicBezTo>
                    <a:pt x="1974" y="107"/>
                    <a:pt x="1974" y="107"/>
                    <a:pt x="1974" y="107"/>
                  </a:cubicBezTo>
                  <a:cubicBezTo>
                    <a:pt x="1963" y="109"/>
                    <a:pt x="1963" y="109"/>
                    <a:pt x="1963" y="109"/>
                  </a:cubicBezTo>
                  <a:cubicBezTo>
                    <a:pt x="1963" y="116"/>
                    <a:pt x="1963" y="116"/>
                    <a:pt x="1963" y="116"/>
                  </a:cubicBezTo>
                  <a:cubicBezTo>
                    <a:pt x="2003" y="116"/>
                    <a:pt x="2003" y="116"/>
                    <a:pt x="2003" y="116"/>
                  </a:cubicBezTo>
                  <a:lnTo>
                    <a:pt x="2003" y="109"/>
                  </a:lnTo>
                  <a:close/>
                  <a:moveTo>
                    <a:pt x="2021" y="49"/>
                  </a:moveTo>
                  <a:cubicBezTo>
                    <a:pt x="2037" y="49"/>
                    <a:pt x="2037" y="49"/>
                    <a:pt x="2037" y="49"/>
                  </a:cubicBezTo>
                  <a:cubicBezTo>
                    <a:pt x="2037" y="107"/>
                    <a:pt x="2037" y="107"/>
                    <a:pt x="2037" y="107"/>
                  </a:cubicBezTo>
                  <a:cubicBezTo>
                    <a:pt x="2026" y="109"/>
                    <a:pt x="2026" y="109"/>
                    <a:pt x="2026" y="109"/>
                  </a:cubicBezTo>
                  <a:cubicBezTo>
                    <a:pt x="2026" y="116"/>
                    <a:pt x="2026" y="116"/>
                    <a:pt x="2026" y="116"/>
                  </a:cubicBezTo>
                  <a:cubicBezTo>
                    <a:pt x="2066" y="116"/>
                    <a:pt x="2066" y="116"/>
                    <a:pt x="2066" y="116"/>
                  </a:cubicBezTo>
                  <a:cubicBezTo>
                    <a:pt x="2066" y="109"/>
                    <a:pt x="2066" y="109"/>
                    <a:pt x="2066" y="109"/>
                  </a:cubicBezTo>
                  <a:cubicBezTo>
                    <a:pt x="2055" y="107"/>
                    <a:pt x="2055" y="107"/>
                    <a:pt x="2055" y="107"/>
                  </a:cubicBezTo>
                  <a:cubicBezTo>
                    <a:pt x="2055" y="49"/>
                    <a:pt x="2055" y="49"/>
                    <a:pt x="2055" y="49"/>
                  </a:cubicBezTo>
                  <a:cubicBezTo>
                    <a:pt x="2072" y="49"/>
                    <a:pt x="2072" y="49"/>
                    <a:pt x="2072" y="49"/>
                  </a:cubicBezTo>
                  <a:cubicBezTo>
                    <a:pt x="2074" y="60"/>
                    <a:pt x="2074" y="60"/>
                    <a:pt x="2074" y="60"/>
                  </a:cubicBezTo>
                  <a:cubicBezTo>
                    <a:pt x="2081" y="60"/>
                    <a:pt x="2081" y="60"/>
                    <a:pt x="2081" y="60"/>
                  </a:cubicBezTo>
                  <a:cubicBezTo>
                    <a:pt x="2081" y="39"/>
                    <a:pt x="2081" y="39"/>
                    <a:pt x="2081" y="39"/>
                  </a:cubicBezTo>
                  <a:cubicBezTo>
                    <a:pt x="2011" y="39"/>
                    <a:pt x="2011" y="39"/>
                    <a:pt x="2011" y="39"/>
                  </a:cubicBezTo>
                  <a:cubicBezTo>
                    <a:pt x="2011" y="60"/>
                    <a:pt x="2011" y="60"/>
                    <a:pt x="2011" y="60"/>
                  </a:cubicBezTo>
                  <a:cubicBezTo>
                    <a:pt x="2019" y="60"/>
                    <a:pt x="2019" y="60"/>
                    <a:pt x="2019" y="60"/>
                  </a:cubicBezTo>
                  <a:lnTo>
                    <a:pt x="2021" y="49"/>
                  </a:lnTo>
                  <a:close/>
                  <a:moveTo>
                    <a:pt x="2122" y="82"/>
                  </a:moveTo>
                  <a:cubicBezTo>
                    <a:pt x="2122" y="107"/>
                    <a:pt x="2122" y="107"/>
                    <a:pt x="2122" y="107"/>
                  </a:cubicBezTo>
                  <a:cubicBezTo>
                    <a:pt x="2110" y="109"/>
                    <a:pt x="2110" y="109"/>
                    <a:pt x="2110" y="109"/>
                  </a:cubicBezTo>
                  <a:cubicBezTo>
                    <a:pt x="2110" y="116"/>
                    <a:pt x="2110" y="116"/>
                    <a:pt x="2110" y="116"/>
                  </a:cubicBezTo>
                  <a:cubicBezTo>
                    <a:pt x="2150" y="116"/>
                    <a:pt x="2150" y="116"/>
                    <a:pt x="2150" y="116"/>
                  </a:cubicBezTo>
                  <a:cubicBezTo>
                    <a:pt x="2150" y="109"/>
                    <a:pt x="2150" y="109"/>
                    <a:pt x="2150" y="109"/>
                  </a:cubicBezTo>
                  <a:cubicBezTo>
                    <a:pt x="2139" y="107"/>
                    <a:pt x="2139" y="107"/>
                    <a:pt x="2139" y="107"/>
                  </a:cubicBezTo>
                  <a:cubicBezTo>
                    <a:pt x="2139" y="82"/>
                    <a:pt x="2139" y="82"/>
                    <a:pt x="2139" y="82"/>
                  </a:cubicBezTo>
                  <a:cubicBezTo>
                    <a:pt x="2161" y="48"/>
                    <a:pt x="2161" y="48"/>
                    <a:pt x="2161" y="48"/>
                  </a:cubicBezTo>
                  <a:cubicBezTo>
                    <a:pt x="2172" y="46"/>
                    <a:pt x="2172" y="46"/>
                    <a:pt x="2172" y="46"/>
                  </a:cubicBezTo>
                  <a:cubicBezTo>
                    <a:pt x="2172" y="39"/>
                    <a:pt x="2172" y="39"/>
                    <a:pt x="2172" y="39"/>
                  </a:cubicBezTo>
                  <a:cubicBezTo>
                    <a:pt x="2138" y="39"/>
                    <a:pt x="2138" y="39"/>
                    <a:pt x="2138" y="39"/>
                  </a:cubicBezTo>
                  <a:cubicBezTo>
                    <a:pt x="2138" y="46"/>
                    <a:pt x="2138" y="46"/>
                    <a:pt x="2138" y="46"/>
                  </a:cubicBezTo>
                  <a:cubicBezTo>
                    <a:pt x="2149" y="48"/>
                    <a:pt x="2149" y="48"/>
                    <a:pt x="2149" y="48"/>
                  </a:cubicBezTo>
                  <a:cubicBezTo>
                    <a:pt x="2133" y="73"/>
                    <a:pt x="2133" y="73"/>
                    <a:pt x="2133" y="73"/>
                  </a:cubicBezTo>
                  <a:cubicBezTo>
                    <a:pt x="2118" y="48"/>
                    <a:pt x="2118" y="48"/>
                    <a:pt x="2118" y="48"/>
                  </a:cubicBezTo>
                  <a:cubicBezTo>
                    <a:pt x="2129" y="46"/>
                    <a:pt x="2129" y="46"/>
                    <a:pt x="2129" y="46"/>
                  </a:cubicBezTo>
                  <a:cubicBezTo>
                    <a:pt x="2129" y="39"/>
                    <a:pt x="2129" y="39"/>
                    <a:pt x="2129" y="39"/>
                  </a:cubicBezTo>
                  <a:cubicBezTo>
                    <a:pt x="2088" y="39"/>
                    <a:pt x="2088" y="39"/>
                    <a:pt x="2088" y="39"/>
                  </a:cubicBezTo>
                  <a:cubicBezTo>
                    <a:pt x="2088" y="46"/>
                    <a:pt x="2088" y="46"/>
                    <a:pt x="2088" y="46"/>
                  </a:cubicBezTo>
                  <a:cubicBezTo>
                    <a:pt x="2099" y="48"/>
                    <a:pt x="2099" y="48"/>
                    <a:pt x="2099" y="48"/>
                  </a:cubicBezTo>
                  <a:lnTo>
                    <a:pt x="2122" y="82"/>
                  </a:lnTo>
                  <a:close/>
                  <a:moveTo>
                    <a:pt x="1953" y="94"/>
                  </a:moveTo>
                  <a:cubicBezTo>
                    <a:pt x="1953" y="63"/>
                    <a:pt x="1913" y="75"/>
                    <a:pt x="1913" y="58"/>
                  </a:cubicBezTo>
                  <a:cubicBezTo>
                    <a:pt x="1913" y="50"/>
                    <a:pt x="1919" y="48"/>
                    <a:pt x="1926" y="48"/>
                  </a:cubicBezTo>
                  <a:cubicBezTo>
                    <a:pt x="1933" y="48"/>
                    <a:pt x="1939" y="49"/>
                    <a:pt x="1939" y="49"/>
                  </a:cubicBezTo>
                  <a:cubicBezTo>
                    <a:pt x="1941" y="61"/>
                    <a:pt x="1941" y="61"/>
                    <a:pt x="1941" y="61"/>
                  </a:cubicBezTo>
                  <a:cubicBezTo>
                    <a:pt x="1949" y="61"/>
                    <a:pt x="1949" y="61"/>
                    <a:pt x="1949" y="61"/>
                  </a:cubicBezTo>
                  <a:cubicBezTo>
                    <a:pt x="1949" y="42"/>
                    <a:pt x="1949" y="42"/>
                    <a:pt x="1949" y="42"/>
                  </a:cubicBezTo>
                  <a:cubicBezTo>
                    <a:pt x="1941" y="40"/>
                    <a:pt x="1933" y="38"/>
                    <a:pt x="1924" y="38"/>
                  </a:cubicBezTo>
                  <a:cubicBezTo>
                    <a:pt x="1905" y="38"/>
                    <a:pt x="1896" y="46"/>
                    <a:pt x="1896" y="60"/>
                  </a:cubicBezTo>
                  <a:cubicBezTo>
                    <a:pt x="1896" y="79"/>
                    <a:pt x="1914" y="81"/>
                    <a:pt x="1928" y="86"/>
                  </a:cubicBezTo>
                  <a:cubicBezTo>
                    <a:pt x="1933" y="87"/>
                    <a:pt x="1936" y="89"/>
                    <a:pt x="1936" y="95"/>
                  </a:cubicBezTo>
                  <a:cubicBezTo>
                    <a:pt x="1936" y="104"/>
                    <a:pt x="1929" y="107"/>
                    <a:pt x="1920" y="107"/>
                  </a:cubicBezTo>
                  <a:cubicBezTo>
                    <a:pt x="1911" y="107"/>
                    <a:pt x="1905" y="105"/>
                    <a:pt x="1905" y="105"/>
                  </a:cubicBezTo>
                  <a:cubicBezTo>
                    <a:pt x="1903" y="92"/>
                    <a:pt x="1903" y="92"/>
                    <a:pt x="1903" y="92"/>
                  </a:cubicBezTo>
                  <a:cubicBezTo>
                    <a:pt x="1896" y="92"/>
                    <a:pt x="1896" y="92"/>
                    <a:pt x="1896" y="92"/>
                  </a:cubicBezTo>
                  <a:cubicBezTo>
                    <a:pt x="1896" y="112"/>
                    <a:pt x="1896" y="112"/>
                    <a:pt x="1896" y="112"/>
                  </a:cubicBezTo>
                  <a:cubicBezTo>
                    <a:pt x="1896" y="112"/>
                    <a:pt x="1908" y="117"/>
                    <a:pt x="1922" y="117"/>
                  </a:cubicBezTo>
                  <a:cubicBezTo>
                    <a:pt x="1942" y="117"/>
                    <a:pt x="1953" y="109"/>
                    <a:pt x="1953" y="94"/>
                  </a:cubicBezTo>
                  <a:close/>
                  <a:moveTo>
                    <a:pt x="1847" y="109"/>
                  </a:moveTo>
                  <a:cubicBezTo>
                    <a:pt x="1836" y="107"/>
                    <a:pt x="1836" y="107"/>
                    <a:pt x="1836" y="107"/>
                  </a:cubicBezTo>
                  <a:cubicBezTo>
                    <a:pt x="1836" y="81"/>
                    <a:pt x="1836" y="81"/>
                    <a:pt x="1836" y="81"/>
                  </a:cubicBezTo>
                  <a:cubicBezTo>
                    <a:pt x="1838" y="81"/>
                    <a:pt x="1838" y="81"/>
                    <a:pt x="1838" y="81"/>
                  </a:cubicBezTo>
                  <a:cubicBezTo>
                    <a:pt x="1848" y="81"/>
                    <a:pt x="1851" y="86"/>
                    <a:pt x="1855" y="98"/>
                  </a:cubicBezTo>
                  <a:cubicBezTo>
                    <a:pt x="1863" y="116"/>
                    <a:pt x="1863" y="116"/>
                    <a:pt x="1863" y="116"/>
                  </a:cubicBezTo>
                  <a:cubicBezTo>
                    <a:pt x="1887" y="116"/>
                    <a:pt x="1887" y="116"/>
                    <a:pt x="1887" y="116"/>
                  </a:cubicBezTo>
                  <a:cubicBezTo>
                    <a:pt x="1887" y="109"/>
                    <a:pt x="1887" y="109"/>
                    <a:pt x="1887" y="109"/>
                  </a:cubicBezTo>
                  <a:cubicBezTo>
                    <a:pt x="1876" y="107"/>
                    <a:pt x="1876" y="107"/>
                    <a:pt x="1876" y="107"/>
                  </a:cubicBezTo>
                  <a:cubicBezTo>
                    <a:pt x="1873" y="99"/>
                    <a:pt x="1868" y="84"/>
                    <a:pt x="1861" y="79"/>
                  </a:cubicBezTo>
                  <a:cubicBezTo>
                    <a:pt x="1869" y="76"/>
                    <a:pt x="1875" y="68"/>
                    <a:pt x="1875" y="59"/>
                  </a:cubicBezTo>
                  <a:cubicBezTo>
                    <a:pt x="1875" y="54"/>
                    <a:pt x="1873" y="49"/>
                    <a:pt x="1869" y="45"/>
                  </a:cubicBezTo>
                  <a:cubicBezTo>
                    <a:pt x="1863" y="40"/>
                    <a:pt x="1854" y="39"/>
                    <a:pt x="1846" y="39"/>
                  </a:cubicBezTo>
                  <a:cubicBezTo>
                    <a:pt x="1807" y="39"/>
                    <a:pt x="1807" y="39"/>
                    <a:pt x="1807" y="39"/>
                  </a:cubicBezTo>
                  <a:cubicBezTo>
                    <a:pt x="1807" y="46"/>
                    <a:pt x="1807" y="46"/>
                    <a:pt x="1807" y="46"/>
                  </a:cubicBezTo>
                  <a:cubicBezTo>
                    <a:pt x="1819" y="48"/>
                    <a:pt x="1819" y="48"/>
                    <a:pt x="1819" y="48"/>
                  </a:cubicBezTo>
                  <a:cubicBezTo>
                    <a:pt x="1819" y="107"/>
                    <a:pt x="1819" y="107"/>
                    <a:pt x="1819" y="107"/>
                  </a:cubicBezTo>
                  <a:cubicBezTo>
                    <a:pt x="1807" y="109"/>
                    <a:pt x="1807" y="109"/>
                    <a:pt x="1807" y="109"/>
                  </a:cubicBezTo>
                  <a:cubicBezTo>
                    <a:pt x="1807" y="116"/>
                    <a:pt x="1807" y="116"/>
                    <a:pt x="1807" y="116"/>
                  </a:cubicBezTo>
                  <a:cubicBezTo>
                    <a:pt x="1847" y="116"/>
                    <a:pt x="1847" y="116"/>
                    <a:pt x="1847" y="116"/>
                  </a:cubicBezTo>
                  <a:lnTo>
                    <a:pt x="1847" y="109"/>
                  </a:lnTo>
                  <a:close/>
                  <a:moveTo>
                    <a:pt x="1836" y="48"/>
                  </a:moveTo>
                  <a:cubicBezTo>
                    <a:pt x="1841" y="48"/>
                    <a:pt x="1841" y="48"/>
                    <a:pt x="1841" y="48"/>
                  </a:cubicBezTo>
                  <a:cubicBezTo>
                    <a:pt x="1845" y="48"/>
                    <a:pt x="1852" y="48"/>
                    <a:pt x="1854" y="51"/>
                  </a:cubicBezTo>
                  <a:cubicBezTo>
                    <a:pt x="1857" y="53"/>
                    <a:pt x="1858" y="57"/>
                    <a:pt x="1858" y="60"/>
                  </a:cubicBezTo>
                  <a:cubicBezTo>
                    <a:pt x="1858" y="63"/>
                    <a:pt x="1857" y="66"/>
                    <a:pt x="1855" y="69"/>
                  </a:cubicBezTo>
                  <a:cubicBezTo>
                    <a:pt x="1851" y="73"/>
                    <a:pt x="1844" y="73"/>
                    <a:pt x="1839" y="73"/>
                  </a:cubicBezTo>
                  <a:cubicBezTo>
                    <a:pt x="1836" y="73"/>
                    <a:pt x="1836" y="73"/>
                    <a:pt x="1836" y="73"/>
                  </a:cubicBezTo>
                  <a:lnTo>
                    <a:pt x="1836" y="48"/>
                  </a:lnTo>
                  <a:close/>
                  <a:moveTo>
                    <a:pt x="1796" y="95"/>
                  </a:moveTo>
                  <a:cubicBezTo>
                    <a:pt x="1788" y="95"/>
                    <a:pt x="1788" y="95"/>
                    <a:pt x="1788" y="95"/>
                  </a:cubicBezTo>
                  <a:cubicBezTo>
                    <a:pt x="1787" y="106"/>
                    <a:pt x="1787" y="106"/>
                    <a:pt x="1787" y="106"/>
                  </a:cubicBezTo>
                  <a:cubicBezTo>
                    <a:pt x="1759" y="106"/>
                    <a:pt x="1759" y="106"/>
                    <a:pt x="1759" y="106"/>
                  </a:cubicBezTo>
                  <a:cubicBezTo>
                    <a:pt x="1759" y="80"/>
                    <a:pt x="1759" y="80"/>
                    <a:pt x="1759" y="80"/>
                  </a:cubicBezTo>
                  <a:cubicBezTo>
                    <a:pt x="1776" y="80"/>
                    <a:pt x="1776" y="80"/>
                    <a:pt x="1776" y="80"/>
                  </a:cubicBezTo>
                  <a:cubicBezTo>
                    <a:pt x="1778" y="90"/>
                    <a:pt x="1778" y="90"/>
                    <a:pt x="1778" y="90"/>
                  </a:cubicBezTo>
                  <a:cubicBezTo>
                    <a:pt x="1784" y="90"/>
                    <a:pt x="1784" y="90"/>
                    <a:pt x="1784" y="90"/>
                  </a:cubicBezTo>
                  <a:cubicBezTo>
                    <a:pt x="1784" y="61"/>
                    <a:pt x="1784" y="61"/>
                    <a:pt x="1784" y="61"/>
                  </a:cubicBezTo>
                  <a:cubicBezTo>
                    <a:pt x="1778" y="61"/>
                    <a:pt x="1778" y="61"/>
                    <a:pt x="1778" y="61"/>
                  </a:cubicBezTo>
                  <a:cubicBezTo>
                    <a:pt x="1776" y="71"/>
                    <a:pt x="1776" y="71"/>
                    <a:pt x="1776" y="71"/>
                  </a:cubicBezTo>
                  <a:cubicBezTo>
                    <a:pt x="1759" y="71"/>
                    <a:pt x="1759" y="71"/>
                    <a:pt x="1759" y="71"/>
                  </a:cubicBezTo>
                  <a:cubicBezTo>
                    <a:pt x="1759" y="49"/>
                    <a:pt x="1759" y="49"/>
                    <a:pt x="1759" y="49"/>
                  </a:cubicBezTo>
                  <a:cubicBezTo>
                    <a:pt x="1787" y="49"/>
                    <a:pt x="1787" y="49"/>
                    <a:pt x="1787" y="49"/>
                  </a:cubicBezTo>
                  <a:cubicBezTo>
                    <a:pt x="1788" y="59"/>
                    <a:pt x="1788" y="59"/>
                    <a:pt x="1788" y="59"/>
                  </a:cubicBezTo>
                  <a:cubicBezTo>
                    <a:pt x="1796" y="59"/>
                    <a:pt x="1796" y="59"/>
                    <a:pt x="1796" y="59"/>
                  </a:cubicBezTo>
                  <a:cubicBezTo>
                    <a:pt x="1796" y="39"/>
                    <a:pt x="1796" y="39"/>
                    <a:pt x="1796" y="39"/>
                  </a:cubicBezTo>
                  <a:cubicBezTo>
                    <a:pt x="1730" y="39"/>
                    <a:pt x="1730" y="39"/>
                    <a:pt x="1730" y="39"/>
                  </a:cubicBezTo>
                  <a:cubicBezTo>
                    <a:pt x="1730" y="46"/>
                    <a:pt x="1730" y="46"/>
                    <a:pt x="1730" y="46"/>
                  </a:cubicBezTo>
                  <a:cubicBezTo>
                    <a:pt x="1741" y="48"/>
                    <a:pt x="1741" y="48"/>
                    <a:pt x="1741" y="48"/>
                  </a:cubicBezTo>
                  <a:cubicBezTo>
                    <a:pt x="1741" y="107"/>
                    <a:pt x="1741" y="107"/>
                    <a:pt x="1741" y="107"/>
                  </a:cubicBezTo>
                  <a:cubicBezTo>
                    <a:pt x="1730" y="109"/>
                    <a:pt x="1730" y="109"/>
                    <a:pt x="1730" y="109"/>
                  </a:cubicBezTo>
                  <a:cubicBezTo>
                    <a:pt x="1730" y="116"/>
                    <a:pt x="1730" y="116"/>
                    <a:pt x="1730" y="116"/>
                  </a:cubicBezTo>
                  <a:cubicBezTo>
                    <a:pt x="1796" y="116"/>
                    <a:pt x="1796" y="116"/>
                    <a:pt x="1796" y="116"/>
                  </a:cubicBezTo>
                  <a:lnTo>
                    <a:pt x="1796" y="95"/>
                  </a:lnTo>
                  <a:close/>
                  <a:moveTo>
                    <a:pt x="1342" y="95"/>
                  </a:moveTo>
                  <a:cubicBezTo>
                    <a:pt x="1335" y="95"/>
                    <a:pt x="1335" y="95"/>
                    <a:pt x="1335" y="95"/>
                  </a:cubicBezTo>
                  <a:cubicBezTo>
                    <a:pt x="1333" y="106"/>
                    <a:pt x="1333" y="106"/>
                    <a:pt x="1333" y="106"/>
                  </a:cubicBezTo>
                  <a:cubicBezTo>
                    <a:pt x="1305" y="106"/>
                    <a:pt x="1305" y="106"/>
                    <a:pt x="1305" y="106"/>
                  </a:cubicBezTo>
                  <a:cubicBezTo>
                    <a:pt x="1305" y="80"/>
                    <a:pt x="1305" y="80"/>
                    <a:pt x="1305" y="80"/>
                  </a:cubicBezTo>
                  <a:cubicBezTo>
                    <a:pt x="1323" y="80"/>
                    <a:pt x="1323" y="80"/>
                    <a:pt x="1323" y="80"/>
                  </a:cubicBezTo>
                  <a:cubicBezTo>
                    <a:pt x="1325" y="90"/>
                    <a:pt x="1325" y="90"/>
                    <a:pt x="1325" y="90"/>
                  </a:cubicBezTo>
                  <a:cubicBezTo>
                    <a:pt x="1331" y="90"/>
                    <a:pt x="1331" y="90"/>
                    <a:pt x="1331" y="90"/>
                  </a:cubicBezTo>
                  <a:cubicBezTo>
                    <a:pt x="1331" y="61"/>
                    <a:pt x="1331" y="61"/>
                    <a:pt x="1331" y="61"/>
                  </a:cubicBezTo>
                  <a:cubicBezTo>
                    <a:pt x="1325" y="61"/>
                    <a:pt x="1325" y="61"/>
                    <a:pt x="1325" y="61"/>
                  </a:cubicBezTo>
                  <a:cubicBezTo>
                    <a:pt x="1323" y="71"/>
                    <a:pt x="1323" y="71"/>
                    <a:pt x="1323" y="71"/>
                  </a:cubicBezTo>
                  <a:cubicBezTo>
                    <a:pt x="1305" y="71"/>
                    <a:pt x="1305" y="71"/>
                    <a:pt x="1305" y="71"/>
                  </a:cubicBezTo>
                  <a:cubicBezTo>
                    <a:pt x="1305" y="49"/>
                    <a:pt x="1305" y="49"/>
                    <a:pt x="1305" y="49"/>
                  </a:cubicBezTo>
                  <a:cubicBezTo>
                    <a:pt x="1333" y="49"/>
                    <a:pt x="1333" y="49"/>
                    <a:pt x="1333" y="49"/>
                  </a:cubicBezTo>
                  <a:cubicBezTo>
                    <a:pt x="1335" y="59"/>
                    <a:pt x="1335" y="59"/>
                    <a:pt x="1335" y="59"/>
                  </a:cubicBezTo>
                  <a:cubicBezTo>
                    <a:pt x="1342" y="59"/>
                    <a:pt x="1342" y="59"/>
                    <a:pt x="1342" y="59"/>
                  </a:cubicBezTo>
                  <a:cubicBezTo>
                    <a:pt x="1342" y="39"/>
                    <a:pt x="1342" y="39"/>
                    <a:pt x="1342" y="39"/>
                  </a:cubicBezTo>
                  <a:cubicBezTo>
                    <a:pt x="1277" y="39"/>
                    <a:pt x="1277" y="39"/>
                    <a:pt x="1277" y="39"/>
                  </a:cubicBezTo>
                  <a:cubicBezTo>
                    <a:pt x="1277" y="46"/>
                    <a:pt x="1277" y="46"/>
                    <a:pt x="1277" y="46"/>
                  </a:cubicBezTo>
                  <a:cubicBezTo>
                    <a:pt x="1288" y="48"/>
                    <a:pt x="1288" y="48"/>
                    <a:pt x="1288" y="48"/>
                  </a:cubicBezTo>
                  <a:cubicBezTo>
                    <a:pt x="1288" y="107"/>
                    <a:pt x="1288" y="107"/>
                    <a:pt x="1288" y="107"/>
                  </a:cubicBezTo>
                  <a:cubicBezTo>
                    <a:pt x="1277" y="109"/>
                    <a:pt x="1277" y="109"/>
                    <a:pt x="1277" y="109"/>
                  </a:cubicBezTo>
                  <a:cubicBezTo>
                    <a:pt x="1277" y="116"/>
                    <a:pt x="1277" y="116"/>
                    <a:pt x="1277" y="116"/>
                  </a:cubicBezTo>
                  <a:cubicBezTo>
                    <a:pt x="1342" y="116"/>
                    <a:pt x="1342" y="116"/>
                    <a:pt x="1342" y="116"/>
                  </a:cubicBezTo>
                  <a:lnTo>
                    <a:pt x="1342" y="95"/>
                  </a:lnTo>
                  <a:close/>
                  <a:moveTo>
                    <a:pt x="566" y="95"/>
                  </a:moveTo>
                  <a:cubicBezTo>
                    <a:pt x="559" y="95"/>
                    <a:pt x="559" y="95"/>
                    <a:pt x="559" y="95"/>
                  </a:cubicBezTo>
                  <a:cubicBezTo>
                    <a:pt x="557" y="106"/>
                    <a:pt x="557" y="106"/>
                    <a:pt x="557" y="106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29" y="80"/>
                    <a:pt x="529" y="80"/>
                    <a:pt x="529" y="80"/>
                  </a:cubicBezTo>
                  <a:cubicBezTo>
                    <a:pt x="546" y="80"/>
                    <a:pt x="546" y="80"/>
                    <a:pt x="546" y="80"/>
                  </a:cubicBezTo>
                  <a:cubicBezTo>
                    <a:pt x="548" y="90"/>
                    <a:pt x="548" y="90"/>
                    <a:pt x="548" y="90"/>
                  </a:cubicBezTo>
                  <a:cubicBezTo>
                    <a:pt x="555" y="90"/>
                    <a:pt x="555" y="90"/>
                    <a:pt x="555" y="90"/>
                  </a:cubicBezTo>
                  <a:cubicBezTo>
                    <a:pt x="555" y="61"/>
                    <a:pt x="555" y="61"/>
                    <a:pt x="555" y="61"/>
                  </a:cubicBezTo>
                  <a:cubicBezTo>
                    <a:pt x="548" y="61"/>
                    <a:pt x="548" y="61"/>
                    <a:pt x="548" y="61"/>
                  </a:cubicBezTo>
                  <a:cubicBezTo>
                    <a:pt x="546" y="71"/>
                    <a:pt x="546" y="71"/>
                    <a:pt x="546" y="71"/>
                  </a:cubicBezTo>
                  <a:cubicBezTo>
                    <a:pt x="529" y="71"/>
                    <a:pt x="529" y="71"/>
                    <a:pt x="529" y="71"/>
                  </a:cubicBezTo>
                  <a:cubicBezTo>
                    <a:pt x="529" y="49"/>
                    <a:pt x="529" y="49"/>
                    <a:pt x="529" y="49"/>
                  </a:cubicBezTo>
                  <a:cubicBezTo>
                    <a:pt x="557" y="49"/>
                    <a:pt x="557" y="49"/>
                    <a:pt x="557" y="49"/>
                  </a:cubicBezTo>
                  <a:cubicBezTo>
                    <a:pt x="559" y="59"/>
                    <a:pt x="559" y="59"/>
                    <a:pt x="559" y="59"/>
                  </a:cubicBezTo>
                  <a:cubicBezTo>
                    <a:pt x="566" y="59"/>
                    <a:pt x="566" y="59"/>
                    <a:pt x="566" y="59"/>
                  </a:cubicBezTo>
                  <a:cubicBezTo>
                    <a:pt x="566" y="39"/>
                    <a:pt x="566" y="39"/>
                    <a:pt x="566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00" y="46"/>
                    <a:pt x="500" y="46"/>
                    <a:pt x="500" y="46"/>
                  </a:cubicBezTo>
                  <a:cubicBezTo>
                    <a:pt x="511" y="48"/>
                    <a:pt x="511" y="48"/>
                    <a:pt x="511" y="48"/>
                  </a:cubicBezTo>
                  <a:cubicBezTo>
                    <a:pt x="511" y="107"/>
                    <a:pt x="511" y="107"/>
                    <a:pt x="511" y="107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16"/>
                    <a:pt x="500" y="116"/>
                    <a:pt x="500" y="116"/>
                  </a:cubicBezTo>
                  <a:cubicBezTo>
                    <a:pt x="566" y="116"/>
                    <a:pt x="566" y="116"/>
                    <a:pt x="566" y="116"/>
                  </a:cubicBezTo>
                  <a:lnTo>
                    <a:pt x="566" y="95"/>
                  </a:lnTo>
                  <a:close/>
                  <a:moveTo>
                    <a:pt x="659" y="117"/>
                  </a:moveTo>
                  <a:cubicBezTo>
                    <a:pt x="689" y="117"/>
                    <a:pt x="702" y="100"/>
                    <a:pt x="702" y="67"/>
                  </a:cubicBezTo>
                  <a:cubicBezTo>
                    <a:pt x="702" y="34"/>
                    <a:pt x="689" y="16"/>
                    <a:pt x="659" y="16"/>
                  </a:cubicBezTo>
                  <a:cubicBezTo>
                    <a:pt x="629" y="16"/>
                    <a:pt x="615" y="34"/>
                    <a:pt x="615" y="67"/>
                  </a:cubicBezTo>
                  <a:cubicBezTo>
                    <a:pt x="615" y="99"/>
                    <a:pt x="628" y="117"/>
                    <a:pt x="659" y="117"/>
                  </a:cubicBezTo>
                  <a:close/>
                  <a:moveTo>
                    <a:pt x="659" y="27"/>
                  </a:moveTo>
                  <a:cubicBezTo>
                    <a:pt x="675" y="27"/>
                    <a:pt x="683" y="40"/>
                    <a:pt x="683" y="67"/>
                  </a:cubicBezTo>
                  <a:cubicBezTo>
                    <a:pt x="683" y="94"/>
                    <a:pt x="675" y="107"/>
                    <a:pt x="659" y="107"/>
                  </a:cubicBezTo>
                  <a:cubicBezTo>
                    <a:pt x="642" y="107"/>
                    <a:pt x="634" y="94"/>
                    <a:pt x="634" y="67"/>
                  </a:cubicBezTo>
                  <a:cubicBezTo>
                    <a:pt x="634" y="40"/>
                    <a:pt x="643" y="27"/>
                    <a:pt x="659" y="27"/>
                  </a:cubicBezTo>
                  <a:close/>
                  <a:moveTo>
                    <a:pt x="327" y="28"/>
                  </a:moveTo>
                  <a:cubicBezTo>
                    <a:pt x="349" y="28"/>
                    <a:pt x="349" y="28"/>
                    <a:pt x="349" y="28"/>
                  </a:cubicBezTo>
                  <a:cubicBezTo>
                    <a:pt x="349" y="106"/>
                    <a:pt x="349" y="106"/>
                    <a:pt x="349" y="106"/>
                  </a:cubicBezTo>
                  <a:cubicBezTo>
                    <a:pt x="337" y="108"/>
                    <a:pt x="337" y="108"/>
                    <a:pt x="337" y="108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79" y="116"/>
                    <a:pt x="379" y="116"/>
                    <a:pt x="379" y="116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67" y="106"/>
                    <a:pt x="367" y="106"/>
                    <a:pt x="367" y="106"/>
                  </a:cubicBezTo>
                  <a:cubicBezTo>
                    <a:pt x="367" y="28"/>
                    <a:pt x="367" y="28"/>
                    <a:pt x="367" y="28"/>
                  </a:cubicBezTo>
                  <a:cubicBezTo>
                    <a:pt x="390" y="28"/>
                    <a:pt x="390" y="28"/>
                    <a:pt x="390" y="28"/>
                  </a:cubicBezTo>
                  <a:cubicBezTo>
                    <a:pt x="391" y="40"/>
                    <a:pt x="391" y="40"/>
                    <a:pt x="391" y="40"/>
                  </a:cubicBezTo>
                  <a:cubicBezTo>
                    <a:pt x="399" y="40"/>
                    <a:pt x="399" y="40"/>
                    <a:pt x="399" y="40"/>
                  </a:cubicBezTo>
                  <a:cubicBezTo>
                    <a:pt x="399" y="18"/>
                    <a:pt x="399" y="18"/>
                    <a:pt x="399" y="18"/>
                  </a:cubicBezTo>
                  <a:cubicBezTo>
                    <a:pt x="317" y="18"/>
                    <a:pt x="317" y="18"/>
                    <a:pt x="317" y="18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25" y="40"/>
                    <a:pt x="325" y="40"/>
                    <a:pt x="325" y="40"/>
                  </a:cubicBezTo>
                  <a:lnTo>
                    <a:pt x="327" y="28"/>
                  </a:lnTo>
                  <a:close/>
                  <a:moveTo>
                    <a:pt x="750" y="109"/>
                  </a:moveTo>
                  <a:cubicBezTo>
                    <a:pt x="739" y="107"/>
                    <a:pt x="739" y="107"/>
                    <a:pt x="739" y="107"/>
                  </a:cubicBezTo>
                  <a:cubicBezTo>
                    <a:pt x="739" y="80"/>
                    <a:pt x="739" y="80"/>
                    <a:pt x="739" y="80"/>
                  </a:cubicBezTo>
                  <a:cubicBezTo>
                    <a:pt x="768" y="80"/>
                    <a:pt x="768" y="80"/>
                    <a:pt x="768" y="80"/>
                  </a:cubicBezTo>
                  <a:cubicBezTo>
                    <a:pt x="768" y="107"/>
                    <a:pt x="768" y="107"/>
                    <a:pt x="768" y="107"/>
                  </a:cubicBezTo>
                  <a:cubicBezTo>
                    <a:pt x="757" y="109"/>
                    <a:pt x="757" y="109"/>
                    <a:pt x="757" y="109"/>
                  </a:cubicBezTo>
                  <a:cubicBezTo>
                    <a:pt x="757" y="116"/>
                    <a:pt x="757" y="116"/>
                    <a:pt x="757" y="116"/>
                  </a:cubicBezTo>
                  <a:cubicBezTo>
                    <a:pt x="797" y="116"/>
                    <a:pt x="797" y="116"/>
                    <a:pt x="797" y="116"/>
                  </a:cubicBezTo>
                  <a:cubicBezTo>
                    <a:pt x="797" y="109"/>
                    <a:pt x="797" y="109"/>
                    <a:pt x="797" y="109"/>
                  </a:cubicBezTo>
                  <a:cubicBezTo>
                    <a:pt x="786" y="107"/>
                    <a:pt x="786" y="107"/>
                    <a:pt x="786" y="107"/>
                  </a:cubicBezTo>
                  <a:cubicBezTo>
                    <a:pt x="786" y="48"/>
                    <a:pt x="786" y="48"/>
                    <a:pt x="786" y="48"/>
                  </a:cubicBezTo>
                  <a:cubicBezTo>
                    <a:pt x="797" y="46"/>
                    <a:pt x="797" y="46"/>
                    <a:pt x="797" y="46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57" y="39"/>
                    <a:pt x="757" y="39"/>
                    <a:pt x="757" y="39"/>
                  </a:cubicBezTo>
                  <a:cubicBezTo>
                    <a:pt x="757" y="46"/>
                    <a:pt x="757" y="46"/>
                    <a:pt x="757" y="46"/>
                  </a:cubicBezTo>
                  <a:cubicBezTo>
                    <a:pt x="768" y="48"/>
                    <a:pt x="768" y="48"/>
                    <a:pt x="768" y="48"/>
                  </a:cubicBezTo>
                  <a:cubicBezTo>
                    <a:pt x="768" y="71"/>
                    <a:pt x="768" y="71"/>
                    <a:pt x="768" y="71"/>
                  </a:cubicBezTo>
                  <a:cubicBezTo>
                    <a:pt x="739" y="71"/>
                    <a:pt x="739" y="71"/>
                    <a:pt x="739" y="71"/>
                  </a:cubicBezTo>
                  <a:cubicBezTo>
                    <a:pt x="739" y="48"/>
                    <a:pt x="739" y="48"/>
                    <a:pt x="739" y="48"/>
                  </a:cubicBezTo>
                  <a:cubicBezTo>
                    <a:pt x="750" y="46"/>
                    <a:pt x="750" y="46"/>
                    <a:pt x="750" y="46"/>
                  </a:cubicBezTo>
                  <a:cubicBezTo>
                    <a:pt x="750" y="39"/>
                    <a:pt x="750" y="39"/>
                    <a:pt x="750" y="39"/>
                  </a:cubicBezTo>
                  <a:cubicBezTo>
                    <a:pt x="710" y="39"/>
                    <a:pt x="710" y="39"/>
                    <a:pt x="710" y="39"/>
                  </a:cubicBezTo>
                  <a:cubicBezTo>
                    <a:pt x="710" y="46"/>
                    <a:pt x="710" y="46"/>
                    <a:pt x="710" y="46"/>
                  </a:cubicBezTo>
                  <a:cubicBezTo>
                    <a:pt x="722" y="48"/>
                    <a:pt x="722" y="48"/>
                    <a:pt x="722" y="48"/>
                  </a:cubicBezTo>
                  <a:cubicBezTo>
                    <a:pt x="722" y="107"/>
                    <a:pt x="722" y="107"/>
                    <a:pt x="722" y="107"/>
                  </a:cubicBezTo>
                  <a:cubicBezTo>
                    <a:pt x="710" y="109"/>
                    <a:pt x="710" y="109"/>
                    <a:pt x="710" y="109"/>
                  </a:cubicBezTo>
                  <a:cubicBezTo>
                    <a:pt x="710" y="116"/>
                    <a:pt x="710" y="116"/>
                    <a:pt x="710" y="116"/>
                  </a:cubicBezTo>
                  <a:cubicBezTo>
                    <a:pt x="750" y="116"/>
                    <a:pt x="750" y="116"/>
                    <a:pt x="750" y="116"/>
                  </a:cubicBezTo>
                  <a:lnTo>
                    <a:pt x="750" y="109"/>
                  </a:lnTo>
                  <a:close/>
                  <a:moveTo>
                    <a:pt x="445" y="109"/>
                  </a:moveTo>
                  <a:cubicBezTo>
                    <a:pt x="434" y="107"/>
                    <a:pt x="434" y="107"/>
                    <a:pt x="434" y="107"/>
                  </a:cubicBezTo>
                  <a:cubicBezTo>
                    <a:pt x="434" y="80"/>
                    <a:pt x="434" y="80"/>
                    <a:pt x="434" y="80"/>
                  </a:cubicBezTo>
                  <a:cubicBezTo>
                    <a:pt x="463" y="80"/>
                    <a:pt x="463" y="80"/>
                    <a:pt x="463" y="80"/>
                  </a:cubicBezTo>
                  <a:cubicBezTo>
                    <a:pt x="463" y="107"/>
                    <a:pt x="463" y="107"/>
                    <a:pt x="463" y="107"/>
                  </a:cubicBezTo>
                  <a:cubicBezTo>
                    <a:pt x="452" y="109"/>
                    <a:pt x="452" y="109"/>
                    <a:pt x="452" y="109"/>
                  </a:cubicBezTo>
                  <a:cubicBezTo>
                    <a:pt x="452" y="116"/>
                    <a:pt x="452" y="116"/>
                    <a:pt x="452" y="116"/>
                  </a:cubicBezTo>
                  <a:cubicBezTo>
                    <a:pt x="492" y="116"/>
                    <a:pt x="492" y="116"/>
                    <a:pt x="492" y="116"/>
                  </a:cubicBezTo>
                  <a:cubicBezTo>
                    <a:pt x="492" y="109"/>
                    <a:pt x="492" y="109"/>
                    <a:pt x="492" y="109"/>
                  </a:cubicBezTo>
                  <a:cubicBezTo>
                    <a:pt x="480" y="107"/>
                    <a:pt x="480" y="107"/>
                    <a:pt x="480" y="107"/>
                  </a:cubicBezTo>
                  <a:cubicBezTo>
                    <a:pt x="480" y="48"/>
                    <a:pt x="480" y="48"/>
                    <a:pt x="480" y="48"/>
                  </a:cubicBezTo>
                  <a:cubicBezTo>
                    <a:pt x="492" y="46"/>
                    <a:pt x="492" y="46"/>
                    <a:pt x="492" y="46"/>
                  </a:cubicBezTo>
                  <a:cubicBezTo>
                    <a:pt x="492" y="39"/>
                    <a:pt x="492" y="39"/>
                    <a:pt x="492" y="39"/>
                  </a:cubicBezTo>
                  <a:cubicBezTo>
                    <a:pt x="452" y="39"/>
                    <a:pt x="452" y="39"/>
                    <a:pt x="452" y="39"/>
                  </a:cubicBezTo>
                  <a:cubicBezTo>
                    <a:pt x="452" y="46"/>
                    <a:pt x="452" y="46"/>
                    <a:pt x="452" y="46"/>
                  </a:cubicBezTo>
                  <a:cubicBezTo>
                    <a:pt x="463" y="48"/>
                    <a:pt x="463" y="48"/>
                    <a:pt x="463" y="48"/>
                  </a:cubicBezTo>
                  <a:cubicBezTo>
                    <a:pt x="463" y="71"/>
                    <a:pt x="463" y="71"/>
                    <a:pt x="463" y="71"/>
                  </a:cubicBezTo>
                  <a:cubicBezTo>
                    <a:pt x="434" y="71"/>
                    <a:pt x="434" y="71"/>
                    <a:pt x="434" y="71"/>
                  </a:cubicBezTo>
                  <a:cubicBezTo>
                    <a:pt x="434" y="48"/>
                    <a:pt x="434" y="48"/>
                    <a:pt x="434" y="48"/>
                  </a:cubicBezTo>
                  <a:cubicBezTo>
                    <a:pt x="445" y="46"/>
                    <a:pt x="445" y="46"/>
                    <a:pt x="445" y="46"/>
                  </a:cubicBezTo>
                  <a:cubicBezTo>
                    <a:pt x="445" y="39"/>
                    <a:pt x="445" y="39"/>
                    <a:pt x="445" y="39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46"/>
                    <a:pt x="405" y="46"/>
                    <a:pt x="405" y="46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107"/>
                    <a:pt x="416" y="107"/>
                    <a:pt x="416" y="107"/>
                  </a:cubicBezTo>
                  <a:cubicBezTo>
                    <a:pt x="405" y="109"/>
                    <a:pt x="405" y="109"/>
                    <a:pt x="405" y="109"/>
                  </a:cubicBezTo>
                  <a:cubicBezTo>
                    <a:pt x="405" y="116"/>
                    <a:pt x="405" y="116"/>
                    <a:pt x="405" y="116"/>
                  </a:cubicBezTo>
                  <a:cubicBezTo>
                    <a:pt x="445" y="116"/>
                    <a:pt x="445" y="116"/>
                    <a:pt x="445" y="116"/>
                  </a:cubicBezTo>
                  <a:lnTo>
                    <a:pt x="445" y="109"/>
                  </a:lnTo>
                  <a:close/>
                  <a:moveTo>
                    <a:pt x="1209" y="49"/>
                  </a:moveTo>
                  <a:cubicBezTo>
                    <a:pt x="1226" y="49"/>
                    <a:pt x="1226" y="49"/>
                    <a:pt x="1226" y="49"/>
                  </a:cubicBezTo>
                  <a:cubicBezTo>
                    <a:pt x="1226" y="107"/>
                    <a:pt x="1226" y="107"/>
                    <a:pt x="1226" y="107"/>
                  </a:cubicBezTo>
                  <a:cubicBezTo>
                    <a:pt x="1215" y="109"/>
                    <a:pt x="1215" y="109"/>
                    <a:pt x="1215" y="109"/>
                  </a:cubicBezTo>
                  <a:cubicBezTo>
                    <a:pt x="1215" y="116"/>
                    <a:pt x="1215" y="116"/>
                    <a:pt x="1215" y="116"/>
                  </a:cubicBezTo>
                  <a:cubicBezTo>
                    <a:pt x="1255" y="116"/>
                    <a:pt x="1255" y="116"/>
                    <a:pt x="1255" y="116"/>
                  </a:cubicBezTo>
                  <a:cubicBezTo>
                    <a:pt x="1255" y="109"/>
                    <a:pt x="1255" y="109"/>
                    <a:pt x="1255" y="109"/>
                  </a:cubicBezTo>
                  <a:cubicBezTo>
                    <a:pt x="1244" y="107"/>
                    <a:pt x="1244" y="107"/>
                    <a:pt x="1244" y="107"/>
                  </a:cubicBezTo>
                  <a:cubicBezTo>
                    <a:pt x="1244" y="49"/>
                    <a:pt x="1244" y="49"/>
                    <a:pt x="1244" y="49"/>
                  </a:cubicBezTo>
                  <a:cubicBezTo>
                    <a:pt x="1261" y="49"/>
                    <a:pt x="1261" y="49"/>
                    <a:pt x="1261" y="49"/>
                  </a:cubicBezTo>
                  <a:cubicBezTo>
                    <a:pt x="1262" y="60"/>
                    <a:pt x="1262" y="60"/>
                    <a:pt x="1262" y="60"/>
                  </a:cubicBezTo>
                  <a:cubicBezTo>
                    <a:pt x="1270" y="60"/>
                    <a:pt x="1270" y="60"/>
                    <a:pt x="1270" y="60"/>
                  </a:cubicBezTo>
                  <a:cubicBezTo>
                    <a:pt x="1270" y="39"/>
                    <a:pt x="1270" y="39"/>
                    <a:pt x="1270" y="39"/>
                  </a:cubicBezTo>
                  <a:cubicBezTo>
                    <a:pt x="1200" y="39"/>
                    <a:pt x="1200" y="39"/>
                    <a:pt x="1200" y="39"/>
                  </a:cubicBezTo>
                  <a:cubicBezTo>
                    <a:pt x="1200" y="60"/>
                    <a:pt x="1200" y="60"/>
                    <a:pt x="1200" y="60"/>
                  </a:cubicBezTo>
                  <a:cubicBezTo>
                    <a:pt x="1208" y="60"/>
                    <a:pt x="1208" y="60"/>
                    <a:pt x="1208" y="60"/>
                  </a:cubicBezTo>
                  <a:lnTo>
                    <a:pt x="1209" y="49"/>
                  </a:lnTo>
                  <a:close/>
                  <a:moveTo>
                    <a:pt x="1058" y="49"/>
                  </a:moveTo>
                  <a:cubicBezTo>
                    <a:pt x="1075" y="49"/>
                    <a:pt x="1075" y="49"/>
                    <a:pt x="1075" y="49"/>
                  </a:cubicBezTo>
                  <a:cubicBezTo>
                    <a:pt x="1075" y="107"/>
                    <a:pt x="1075" y="107"/>
                    <a:pt x="1075" y="107"/>
                  </a:cubicBezTo>
                  <a:cubicBezTo>
                    <a:pt x="1064" y="109"/>
                    <a:pt x="1064" y="109"/>
                    <a:pt x="1064" y="109"/>
                  </a:cubicBezTo>
                  <a:cubicBezTo>
                    <a:pt x="1064" y="116"/>
                    <a:pt x="1064" y="116"/>
                    <a:pt x="1064" y="116"/>
                  </a:cubicBezTo>
                  <a:cubicBezTo>
                    <a:pt x="1104" y="116"/>
                    <a:pt x="1104" y="116"/>
                    <a:pt x="1104" y="116"/>
                  </a:cubicBezTo>
                  <a:cubicBezTo>
                    <a:pt x="1104" y="109"/>
                    <a:pt x="1104" y="109"/>
                    <a:pt x="1104" y="109"/>
                  </a:cubicBezTo>
                  <a:cubicBezTo>
                    <a:pt x="1093" y="107"/>
                    <a:pt x="1093" y="107"/>
                    <a:pt x="1093" y="107"/>
                  </a:cubicBezTo>
                  <a:cubicBezTo>
                    <a:pt x="1093" y="49"/>
                    <a:pt x="1093" y="49"/>
                    <a:pt x="1093" y="49"/>
                  </a:cubicBezTo>
                  <a:cubicBezTo>
                    <a:pt x="1110" y="49"/>
                    <a:pt x="1110" y="49"/>
                    <a:pt x="1110" y="49"/>
                  </a:cubicBezTo>
                  <a:cubicBezTo>
                    <a:pt x="1111" y="60"/>
                    <a:pt x="1111" y="60"/>
                    <a:pt x="1111" y="60"/>
                  </a:cubicBezTo>
                  <a:cubicBezTo>
                    <a:pt x="1119" y="60"/>
                    <a:pt x="1119" y="60"/>
                    <a:pt x="1119" y="60"/>
                  </a:cubicBezTo>
                  <a:cubicBezTo>
                    <a:pt x="1119" y="39"/>
                    <a:pt x="1119" y="39"/>
                    <a:pt x="1119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60"/>
                    <a:pt x="1049" y="60"/>
                    <a:pt x="1049" y="60"/>
                  </a:cubicBezTo>
                  <a:cubicBezTo>
                    <a:pt x="1057" y="60"/>
                    <a:pt x="1057" y="60"/>
                    <a:pt x="1057" y="60"/>
                  </a:cubicBezTo>
                  <a:lnTo>
                    <a:pt x="1058" y="49"/>
                  </a:lnTo>
                  <a:close/>
                  <a:moveTo>
                    <a:pt x="1114" y="116"/>
                  </a:moveTo>
                  <a:cubicBezTo>
                    <a:pt x="1147" y="116"/>
                    <a:pt x="1147" y="116"/>
                    <a:pt x="1147" y="116"/>
                  </a:cubicBezTo>
                  <a:cubicBezTo>
                    <a:pt x="1147" y="109"/>
                    <a:pt x="1147" y="109"/>
                    <a:pt x="1147" y="109"/>
                  </a:cubicBezTo>
                  <a:cubicBezTo>
                    <a:pt x="1136" y="107"/>
                    <a:pt x="1136" y="107"/>
                    <a:pt x="1136" y="107"/>
                  </a:cubicBezTo>
                  <a:cubicBezTo>
                    <a:pt x="1142" y="93"/>
                    <a:pt x="1142" y="93"/>
                    <a:pt x="1142" y="93"/>
                  </a:cubicBezTo>
                  <a:cubicBezTo>
                    <a:pt x="1171" y="93"/>
                    <a:pt x="1171" y="93"/>
                    <a:pt x="1171" y="93"/>
                  </a:cubicBezTo>
                  <a:cubicBezTo>
                    <a:pt x="1176" y="107"/>
                    <a:pt x="1176" y="107"/>
                    <a:pt x="1176" y="107"/>
                  </a:cubicBezTo>
                  <a:cubicBezTo>
                    <a:pt x="1165" y="109"/>
                    <a:pt x="1165" y="109"/>
                    <a:pt x="1165" y="109"/>
                  </a:cubicBezTo>
                  <a:cubicBezTo>
                    <a:pt x="1165" y="116"/>
                    <a:pt x="1165" y="116"/>
                    <a:pt x="1165" y="116"/>
                  </a:cubicBezTo>
                  <a:cubicBezTo>
                    <a:pt x="1205" y="116"/>
                    <a:pt x="1205" y="116"/>
                    <a:pt x="1205" y="116"/>
                  </a:cubicBezTo>
                  <a:cubicBezTo>
                    <a:pt x="1205" y="109"/>
                    <a:pt x="1205" y="109"/>
                    <a:pt x="1205" y="109"/>
                  </a:cubicBezTo>
                  <a:cubicBezTo>
                    <a:pt x="1194" y="107"/>
                    <a:pt x="1194" y="107"/>
                    <a:pt x="1194" y="107"/>
                  </a:cubicBezTo>
                  <a:cubicBezTo>
                    <a:pt x="1168" y="39"/>
                    <a:pt x="1168" y="39"/>
                    <a:pt x="1168" y="39"/>
                  </a:cubicBezTo>
                  <a:cubicBezTo>
                    <a:pt x="1151" y="39"/>
                    <a:pt x="1151" y="39"/>
                    <a:pt x="1151" y="39"/>
                  </a:cubicBezTo>
                  <a:cubicBezTo>
                    <a:pt x="1125" y="107"/>
                    <a:pt x="1125" y="107"/>
                    <a:pt x="1125" y="107"/>
                  </a:cubicBezTo>
                  <a:cubicBezTo>
                    <a:pt x="1114" y="109"/>
                    <a:pt x="1114" y="109"/>
                    <a:pt x="1114" y="109"/>
                  </a:cubicBezTo>
                  <a:lnTo>
                    <a:pt x="1114" y="116"/>
                  </a:lnTo>
                  <a:close/>
                  <a:moveTo>
                    <a:pt x="1156" y="54"/>
                  </a:moveTo>
                  <a:cubicBezTo>
                    <a:pt x="1167" y="84"/>
                    <a:pt x="1167" y="84"/>
                    <a:pt x="1167" y="84"/>
                  </a:cubicBezTo>
                  <a:cubicBezTo>
                    <a:pt x="1145" y="84"/>
                    <a:pt x="1145" y="84"/>
                    <a:pt x="1145" y="84"/>
                  </a:cubicBezTo>
                  <a:lnTo>
                    <a:pt x="1156" y="54"/>
                  </a:lnTo>
                  <a:close/>
                  <a:moveTo>
                    <a:pt x="1042" y="88"/>
                  </a:moveTo>
                  <a:cubicBezTo>
                    <a:pt x="1042" y="49"/>
                    <a:pt x="993" y="65"/>
                    <a:pt x="993" y="41"/>
                  </a:cubicBezTo>
                  <a:cubicBezTo>
                    <a:pt x="993" y="30"/>
                    <a:pt x="1002" y="27"/>
                    <a:pt x="1011" y="27"/>
                  </a:cubicBezTo>
                  <a:cubicBezTo>
                    <a:pt x="1019" y="27"/>
                    <a:pt x="1028" y="29"/>
                    <a:pt x="1028" y="29"/>
                  </a:cubicBezTo>
                  <a:cubicBezTo>
                    <a:pt x="1030" y="41"/>
                    <a:pt x="1030" y="41"/>
                    <a:pt x="1030" y="41"/>
                  </a:cubicBezTo>
                  <a:cubicBezTo>
                    <a:pt x="1038" y="41"/>
                    <a:pt x="1038" y="41"/>
                    <a:pt x="1038" y="41"/>
                  </a:cubicBezTo>
                  <a:cubicBezTo>
                    <a:pt x="1038" y="22"/>
                    <a:pt x="1038" y="22"/>
                    <a:pt x="1038" y="22"/>
                  </a:cubicBezTo>
                  <a:cubicBezTo>
                    <a:pt x="1030" y="19"/>
                    <a:pt x="1019" y="16"/>
                    <a:pt x="1009" y="16"/>
                  </a:cubicBezTo>
                  <a:cubicBezTo>
                    <a:pt x="987" y="16"/>
                    <a:pt x="976" y="27"/>
                    <a:pt x="976" y="44"/>
                  </a:cubicBezTo>
                  <a:cubicBezTo>
                    <a:pt x="976" y="65"/>
                    <a:pt x="992" y="69"/>
                    <a:pt x="1007" y="74"/>
                  </a:cubicBezTo>
                  <a:cubicBezTo>
                    <a:pt x="1017" y="77"/>
                    <a:pt x="1025" y="79"/>
                    <a:pt x="1025" y="90"/>
                  </a:cubicBezTo>
                  <a:cubicBezTo>
                    <a:pt x="1025" y="102"/>
                    <a:pt x="1015" y="106"/>
                    <a:pt x="1003" y="106"/>
                  </a:cubicBezTo>
                  <a:cubicBezTo>
                    <a:pt x="992" y="106"/>
                    <a:pt x="986" y="104"/>
                    <a:pt x="986" y="104"/>
                  </a:cubicBezTo>
                  <a:cubicBezTo>
                    <a:pt x="984" y="91"/>
                    <a:pt x="984" y="91"/>
                    <a:pt x="984" y="91"/>
                  </a:cubicBezTo>
                  <a:cubicBezTo>
                    <a:pt x="976" y="91"/>
                    <a:pt x="976" y="91"/>
                    <a:pt x="976" y="91"/>
                  </a:cubicBezTo>
                  <a:cubicBezTo>
                    <a:pt x="976" y="112"/>
                    <a:pt x="976" y="112"/>
                    <a:pt x="976" y="112"/>
                  </a:cubicBezTo>
                  <a:cubicBezTo>
                    <a:pt x="976" y="112"/>
                    <a:pt x="989" y="117"/>
                    <a:pt x="1006" y="117"/>
                  </a:cubicBezTo>
                  <a:cubicBezTo>
                    <a:pt x="1030" y="117"/>
                    <a:pt x="1042" y="107"/>
                    <a:pt x="1042" y="88"/>
                  </a:cubicBezTo>
                  <a:close/>
                  <a:moveTo>
                    <a:pt x="847" y="109"/>
                  </a:moveTo>
                  <a:cubicBezTo>
                    <a:pt x="835" y="107"/>
                    <a:pt x="835" y="107"/>
                    <a:pt x="835" y="107"/>
                  </a:cubicBezTo>
                  <a:cubicBezTo>
                    <a:pt x="835" y="48"/>
                    <a:pt x="835" y="48"/>
                    <a:pt x="835" y="48"/>
                  </a:cubicBezTo>
                  <a:cubicBezTo>
                    <a:pt x="847" y="46"/>
                    <a:pt x="847" y="46"/>
                    <a:pt x="847" y="46"/>
                  </a:cubicBezTo>
                  <a:cubicBezTo>
                    <a:pt x="847" y="39"/>
                    <a:pt x="847" y="39"/>
                    <a:pt x="847" y="39"/>
                  </a:cubicBezTo>
                  <a:cubicBezTo>
                    <a:pt x="806" y="39"/>
                    <a:pt x="806" y="39"/>
                    <a:pt x="806" y="39"/>
                  </a:cubicBezTo>
                  <a:cubicBezTo>
                    <a:pt x="806" y="46"/>
                    <a:pt x="806" y="46"/>
                    <a:pt x="806" y="46"/>
                  </a:cubicBezTo>
                  <a:cubicBezTo>
                    <a:pt x="818" y="48"/>
                    <a:pt x="818" y="48"/>
                    <a:pt x="818" y="48"/>
                  </a:cubicBezTo>
                  <a:cubicBezTo>
                    <a:pt x="818" y="107"/>
                    <a:pt x="818" y="107"/>
                    <a:pt x="818" y="107"/>
                  </a:cubicBezTo>
                  <a:cubicBezTo>
                    <a:pt x="806" y="109"/>
                    <a:pt x="806" y="109"/>
                    <a:pt x="806" y="109"/>
                  </a:cubicBezTo>
                  <a:cubicBezTo>
                    <a:pt x="806" y="116"/>
                    <a:pt x="806" y="116"/>
                    <a:pt x="806" y="116"/>
                  </a:cubicBezTo>
                  <a:cubicBezTo>
                    <a:pt x="847" y="116"/>
                    <a:pt x="847" y="116"/>
                    <a:pt x="847" y="116"/>
                  </a:cubicBezTo>
                  <a:lnTo>
                    <a:pt x="847" y="109"/>
                  </a:lnTo>
                  <a:close/>
                  <a:moveTo>
                    <a:pt x="890" y="117"/>
                  </a:moveTo>
                  <a:cubicBezTo>
                    <a:pt x="915" y="117"/>
                    <a:pt x="927" y="103"/>
                    <a:pt x="927" y="78"/>
                  </a:cubicBezTo>
                  <a:cubicBezTo>
                    <a:pt x="927" y="52"/>
                    <a:pt x="915" y="38"/>
                    <a:pt x="890" y="38"/>
                  </a:cubicBezTo>
                  <a:cubicBezTo>
                    <a:pt x="864" y="38"/>
                    <a:pt x="853" y="52"/>
                    <a:pt x="853" y="77"/>
                  </a:cubicBezTo>
                  <a:cubicBezTo>
                    <a:pt x="853" y="103"/>
                    <a:pt x="864" y="117"/>
                    <a:pt x="890" y="117"/>
                  </a:cubicBezTo>
                  <a:close/>
                  <a:moveTo>
                    <a:pt x="890" y="48"/>
                  </a:moveTo>
                  <a:cubicBezTo>
                    <a:pt x="902" y="48"/>
                    <a:pt x="908" y="57"/>
                    <a:pt x="908" y="78"/>
                  </a:cubicBezTo>
                  <a:cubicBezTo>
                    <a:pt x="908" y="98"/>
                    <a:pt x="902" y="107"/>
                    <a:pt x="889" y="107"/>
                  </a:cubicBezTo>
                  <a:cubicBezTo>
                    <a:pt x="877" y="107"/>
                    <a:pt x="871" y="98"/>
                    <a:pt x="871" y="77"/>
                  </a:cubicBezTo>
                  <a:cubicBezTo>
                    <a:pt x="871" y="57"/>
                    <a:pt x="877" y="48"/>
                    <a:pt x="890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550485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4" r:id="rId19"/>
    <p:sldLayoutId id="2147483706" r:id="rId20"/>
    <p:sldLayoutId id="2147483707" r:id="rId21"/>
  </p:sldLayoutIdLst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733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267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267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267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267">
          <a:solidFill>
            <a:schemeClr val="tx1"/>
          </a:solidFill>
          <a:latin typeface="Arial" charset="0"/>
          <a:cs typeface="Arial" charset="0"/>
        </a:defRPr>
      </a:lvl5pPr>
      <a:lvl6pPr marL="609585" algn="l" rtl="0" fontAlgn="base">
        <a:lnSpc>
          <a:spcPct val="85000"/>
        </a:lnSpc>
        <a:spcBef>
          <a:spcPct val="0"/>
        </a:spcBef>
        <a:spcAft>
          <a:spcPct val="0"/>
        </a:spcAft>
        <a:defRPr sz="4267">
          <a:solidFill>
            <a:schemeClr val="tx1"/>
          </a:solidFill>
          <a:latin typeface="Arial" charset="0"/>
          <a:cs typeface="Arial" charset="0"/>
        </a:defRPr>
      </a:lvl6pPr>
      <a:lvl7pPr marL="1219170" algn="l" rtl="0" fontAlgn="base">
        <a:lnSpc>
          <a:spcPct val="85000"/>
        </a:lnSpc>
        <a:spcBef>
          <a:spcPct val="0"/>
        </a:spcBef>
        <a:spcAft>
          <a:spcPct val="0"/>
        </a:spcAft>
        <a:defRPr sz="4267">
          <a:solidFill>
            <a:schemeClr val="tx1"/>
          </a:solidFill>
          <a:latin typeface="Arial" charset="0"/>
          <a:cs typeface="Arial" charset="0"/>
        </a:defRPr>
      </a:lvl7pPr>
      <a:lvl8pPr marL="1828754" algn="l" rtl="0" fontAlgn="base">
        <a:lnSpc>
          <a:spcPct val="85000"/>
        </a:lnSpc>
        <a:spcBef>
          <a:spcPct val="0"/>
        </a:spcBef>
        <a:spcAft>
          <a:spcPct val="0"/>
        </a:spcAft>
        <a:defRPr sz="4267">
          <a:solidFill>
            <a:schemeClr val="tx1"/>
          </a:solidFill>
          <a:latin typeface="Arial" charset="0"/>
          <a:cs typeface="Arial" charset="0"/>
        </a:defRPr>
      </a:lvl8pPr>
      <a:lvl9pPr marL="2438339" algn="l" rtl="0" fontAlgn="base">
        <a:lnSpc>
          <a:spcPct val="85000"/>
        </a:lnSpc>
        <a:spcBef>
          <a:spcPct val="0"/>
        </a:spcBef>
        <a:spcAft>
          <a:spcPct val="0"/>
        </a:spcAft>
        <a:defRPr sz="4267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87341" indent="-387341" algn="l" rtl="0" eaLnBrk="0" fontAlgn="base" hangingPunct="0">
        <a:lnSpc>
          <a:spcPct val="85000"/>
        </a:lnSpc>
        <a:spcBef>
          <a:spcPts val="1600"/>
        </a:spcBef>
        <a:spcAft>
          <a:spcPct val="0"/>
        </a:spcAft>
        <a:buClr>
          <a:srgbClr val="B2B2B2"/>
        </a:buClr>
        <a:buFont typeface="Times New Roman" panose="02020603050405020304" pitchFamily="18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lnSpc>
          <a:spcPct val="85000"/>
        </a:lnSpc>
        <a:spcBef>
          <a:spcPts val="800"/>
        </a:spcBef>
        <a:spcAft>
          <a:spcPct val="0"/>
        </a:spcAft>
        <a:buClr>
          <a:srgbClr val="B2B2B2"/>
        </a:buClr>
        <a:buFont typeface="Arial" panose="020B0604020202020204" pitchFamily="34" charset="0"/>
        <a:buChar char="‒"/>
        <a:defRPr sz="2933" kern="1200">
          <a:solidFill>
            <a:schemeClr val="tx2"/>
          </a:solidFill>
          <a:latin typeface="+mn-lt"/>
          <a:ea typeface="+mn-ea"/>
          <a:cs typeface="+mn-cs"/>
        </a:defRPr>
      </a:lvl2pPr>
      <a:lvl3pPr marL="1523962" indent="-304792" algn="l" rtl="0" eaLnBrk="0" fontAlgn="base" hangingPunct="0">
        <a:lnSpc>
          <a:spcPct val="85000"/>
        </a:lnSpc>
        <a:spcBef>
          <a:spcPts val="800"/>
        </a:spcBef>
        <a:spcAft>
          <a:spcPct val="0"/>
        </a:spcAft>
        <a:buClr>
          <a:srgbClr val="B2B2B2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2133547" indent="-304792" algn="l" rtl="0" eaLnBrk="0" fontAlgn="base" hangingPunct="0">
        <a:lnSpc>
          <a:spcPct val="85000"/>
        </a:lnSpc>
        <a:spcBef>
          <a:spcPct val="35000"/>
        </a:spcBef>
        <a:spcAft>
          <a:spcPct val="0"/>
        </a:spcAft>
        <a:buClr>
          <a:srgbClr val="B2B2B2"/>
        </a:buClr>
        <a:buFont typeface="Arial" panose="020B0604020202020204" pitchFamily="34" charset="0"/>
        <a:buChar char="•"/>
        <a:defRPr kern="1200">
          <a:solidFill>
            <a:schemeClr val="tx2"/>
          </a:solidFill>
          <a:latin typeface="+mn-lt"/>
          <a:ea typeface="+mn-ea"/>
          <a:cs typeface="+mn-cs"/>
        </a:defRPr>
      </a:lvl4pPr>
      <a:lvl5pPr marL="2743131" indent="-304792" algn="l" rtl="0" eaLnBrk="0" fontAlgn="base" hangingPunct="0">
        <a:lnSpc>
          <a:spcPct val="85000"/>
        </a:lnSpc>
        <a:spcBef>
          <a:spcPct val="35000"/>
        </a:spcBef>
        <a:spcAft>
          <a:spcPct val="0"/>
        </a:spcAft>
        <a:buClr>
          <a:srgbClr val="B2B2B2"/>
        </a:buClr>
        <a:buFont typeface="Arial" panose="020B0604020202020204" pitchFamily="34" charset="0"/>
        <a:buChar char="•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4FAD739-1842-0C79-5290-A97DD4EEEA49}"/>
              </a:ext>
            </a:extLst>
          </p:cNvPr>
          <p:cNvCxnSpPr>
            <a:cxnSpLocks/>
          </p:cNvCxnSpPr>
          <p:nvPr userDrawn="1"/>
        </p:nvCxnSpPr>
        <p:spPr>
          <a:xfrm>
            <a:off x="341737" y="6257042"/>
            <a:ext cx="1150852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F9D3EF63-D25B-0BC9-EAAB-C9904615D9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C24A760C-CB58-78E1-BB40-69C109118B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 descr="Text&#10;&#10;Description automatically generated">
            <a:extLst>
              <a:ext uri="{FF2B5EF4-FFF2-40B4-BE49-F238E27FC236}">
                <a16:creationId xmlns:a16="http://schemas.microsoft.com/office/drawing/2014/main" id="{4D58E60E-946E-2B19-18A8-EF6E90F0F67C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540379" y="6356348"/>
            <a:ext cx="1309884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593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005496"/>
          </a:solidFill>
          <a:latin typeface="+mj-lt"/>
          <a:ea typeface="+mj-ea"/>
          <a:cs typeface="Times New Roman" panose="02020603050405020304" pitchFamily="18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5496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8989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8989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8989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8989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D16B5A4-8CDC-D04E-8F2D-C088E8DC2DB4}"/>
              </a:ext>
            </a:extLst>
          </p:cNvPr>
          <p:cNvSpPr/>
          <p:nvPr userDrawn="1"/>
        </p:nvSpPr>
        <p:spPr>
          <a:xfrm>
            <a:off x="-1" y="-1"/>
            <a:ext cx="9948672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B50869D-B6B3-FD4D-BE73-64FDFA297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9110471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5D84D9-01F6-3141-84AD-FEDB4B79A2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87532"/>
            <a:ext cx="10515600" cy="4968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F56814-A06A-8942-9F65-38B45AFED3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1816" y="6356350"/>
            <a:ext cx="1066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/>
            <a:r>
              <a:rPr lang="en-US" dirty="0"/>
              <a:t>2020-01-1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8E31FC-571A-4043-8B5F-657625C348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67016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DE85C3-6D28-E14E-813E-551F29994D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48617" y="6356350"/>
            <a:ext cx="3918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8CF157-D6EC-3C45-8E11-9E818C0132D3}"/>
              </a:ext>
            </a:extLst>
          </p:cNvPr>
          <p:cNvSpPr/>
          <p:nvPr userDrawn="1"/>
        </p:nvSpPr>
        <p:spPr>
          <a:xfrm>
            <a:off x="9948670" y="908956"/>
            <a:ext cx="2243329" cy="1188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 descr="A blue and white logo&#10;&#10;AI-generated content may be incorrect.">
            <a:extLst>
              <a:ext uri="{FF2B5EF4-FFF2-40B4-BE49-F238E27FC236}">
                <a16:creationId xmlns:a16="http://schemas.microsoft.com/office/drawing/2014/main" id="{453CB86B-5C42-DF94-BFCA-3D45FEF485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70572" y="225017"/>
            <a:ext cx="2210246" cy="528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692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DD5468A-BF86-9E63-4153-33584B1503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691913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7" imgH="348" progId="TCLayout.ActiveDocument.1">
                  <p:embed/>
                </p:oleObj>
              </mc:Choice>
              <mc:Fallback>
                <p:oleObj name="think-cell Slide" r:id="rId11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D5468A-BF86-9E63-4153-33584B150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4FAD739-1842-0C79-5290-A97DD4EEEA49}"/>
              </a:ext>
            </a:extLst>
          </p:cNvPr>
          <p:cNvCxnSpPr>
            <a:cxnSpLocks/>
          </p:cNvCxnSpPr>
          <p:nvPr userDrawn="1"/>
        </p:nvCxnSpPr>
        <p:spPr>
          <a:xfrm>
            <a:off x="341737" y="6257042"/>
            <a:ext cx="1150852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F9D3EF63-D25B-0BC9-EAAB-C9904615D9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752" y="6356350"/>
            <a:ext cx="4488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C24A760C-CB58-78E1-BB40-69C109118B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1737" y="6356350"/>
            <a:ext cx="3410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934D9-447A-DE44-AA34-6021915176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 descr="Text&#10;&#10;Description automatically generated">
            <a:extLst>
              <a:ext uri="{FF2B5EF4-FFF2-40B4-BE49-F238E27FC236}">
                <a16:creationId xmlns:a16="http://schemas.microsoft.com/office/drawing/2014/main" id="{4D58E60E-946E-2B19-18A8-EF6E90F0F67C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540379" y="6356348"/>
            <a:ext cx="1309884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213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005496"/>
          </a:solidFill>
          <a:latin typeface="+mj-lt"/>
          <a:ea typeface="+mj-ea"/>
          <a:cs typeface="Times New Roman" panose="02020603050405020304" pitchFamily="18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5496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8989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8989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8989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8989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7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336617" y="6356375"/>
            <a:ext cx="171026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46E08A31-AB5F-4B42-9AA0-989A37F5E38B}" type="datetimeFigureOut">
              <a:rPr lang="en-US"/>
              <a:pPr>
                <a:defRPr/>
              </a:pPr>
              <a:t>11/1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18517" y="6356375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6901" y="6356375"/>
            <a:ext cx="58843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07F2748E-B202-423B-A41C-B4B22D7D3D6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7" descr="SLHS Cross white.wmf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45486" y="6210300"/>
            <a:ext cx="529302" cy="561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65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000" b="0" kern="1200">
          <a:solidFill>
            <a:srgbClr val="FFCC0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ＭＳ Ｐゴシック" charset="0"/>
          <a:cs typeface="Times New Roman" pitchFamily="18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FFFF00"/>
          </a:solidFill>
          <a:latin typeface="Arial" pitchFamily="34" charset="0"/>
          <a:ea typeface="ＭＳ Ｐゴシック" charset="0"/>
          <a:cs typeface="Arial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FFFF00"/>
          </a:solidFill>
          <a:latin typeface="Arial" pitchFamily="34" charset="0"/>
          <a:ea typeface="ＭＳ Ｐゴシック" charset="0"/>
          <a:cs typeface="Arial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FFFF00"/>
          </a:solidFill>
          <a:latin typeface="Arial" pitchFamily="34" charset="0"/>
          <a:ea typeface="ＭＳ Ｐゴシック" charset="0"/>
          <a:cs typeface="Arial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FFFF00"/>
          </a:solidFill>
          <a:latin typeface="Arial" pitchFamily="34" charset="0"/>
          <a:ea typeface="ＭＳ Ｐゴシック" charset="0"/>
          <a:cs typeface="Arial" pitchFamily="34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•"/>
        <a:defRPr sz="3200" b="0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ＭＳ Ｐゴシック" charset="0"/>
          <a:cs typeface="Times New Roman" pitchFamily="18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–"/>
        <a:defRPr sz="2800" b="0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ＭＳ Ｐゴシック" charset="-128"/>
          <a:cs typeface="Times New Roman" pitchFamily="18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•"/>
        <a:defRPr sz="2400" b="0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ＭＳ Ｐゴシック" charset="-128"/>
          <a:cs typeface="Times New Roman" pitchFamily="18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–"/>
        <a:defRPr sz="2000" b="0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ＭＳ Ｐゴシック" charset="-128"/>
          <a:cs typeface="Times New Roman" pitchFamily="18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»"/>
        <a:defRPr sz="2000" b="0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ＭＳ Ｐゴシック" charset="-128"/>
          <a:cs typeface="Times New Roman" pitchFamily="18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0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6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5.jpg"/><Relationship Id="rId4" Type="http://schemas.openxmlformats.org/officeDocument/2006/relationships/image" Target="../media/image36.e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C07B1A-3DE1-D181-5A84-3551D85A7ABF}"/>
              </a:ext>
            </a:extLst>
          </p:cNvPr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r>
              <a:rPr lang="en-US"/>
              <a:t>SAINT LUKE'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B954F0-CEAA-A758-8DAF-88D7201BE90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8C863F-AC80-2A4C-28CA-764B5C82D7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7214" y="1701"/>
            <a:ext cx="12246428" cy="685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1247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FEC74A-9B58-21AE-DF8E-9FB8CB002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Void in Device-based Ca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CB642-3975-4D01-45EC-CD08F25498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63C13F-A3EC-4D41-8C52-AB98F405356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D293C1-96F1-30B5-88CF-F31D2CFF9F76}"/>
              </a:ext>
            </a:extLst>
          </p:cNvPr>
          <p:cNvSpPr txBox="1"/>
          <p:nvPr/>
        </p:nvSpPr>
        <p:spPr>
          <a:xfrm>
            <a:off x="136067" y="6412915"/>
            <a:ext cx="7181774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0" i="1" u="none" strike="noStrike" baseline="30000" dirty="0">
                <a:solidFill>
                  <a:schemeClr val="bg1">
                    <a:lumMod val="50000"/>
                  </a:schemeClr>
                </a:solidFill>
                <a:latin typeface="GillSansStd"/>
              </a:rPr>
              <a:t>1</a:t>
            </a:r>
            <a:r>
              <a:rPr lang="en-US" sz="900" b="0" i="1" u="none" strike="noStrike" dirty="0">
                <a:solidFill>
                  <a:schemeClr val="bg1">
                    <a:lumMod val="50000"/>
                  </a:schemeClr>
                </a:solidFill>
                <a:latin typeface="GillSansStd"/>
              </a:rPr>
              <a:t> 2020 Groenewegen, et al, EJHF - Epidemiology of Heart </a:t>
            </a:r>
            <a:r>
              <a:rPr lang="en-US" sz="900" i="1" dirty="0">
                <a:solidFill>
                  <a:schemeClr val="bg1">
                    <a:lumMod val="50000"/>
                  </a:schemeClr>
                </a:solidFill>
                <a:latin typeface="GillSansStd"/>
              </a:rPr>
              <a:t>F</a:t>
            </a:r>
            <a:r>
              <a:rPr lang="en-US" sz="900" b="0" i="1" u="none" strike="noStrike" dirty="0">
                <a:solidFill>
                  <a:schemeClr val="bg1">
                    <a:lumMod val="50000"/>
                  </a:schemeClr>
                </a:solidFill>
                <a:latin typeface="GillSansStd"/>
              </a:rPr>
              <a:t>ailure - doi:10.1002/ejhf.1858</a:t>
            </a:r>
          </a:p>
          <a:p>
            <a:r>
              <a:rPr lang="en-US" sz="900" i="1" baseline="30000" dirty="0">
                <a:solidFill>
                  <a:schemeClr val="bg1">
                    <a:lumMod val="50000"/>
                  </a:schemeClr>
                </a:solidFill>
                <a:latin typeface="GillSansStd"/>
              </a:rPr>
              <a:t>2 </a:t>
            </a:r>
            <a:r>
              <a:rPr lang="en-US" sz="900" i="1" dirty="0">
                <a:solidFill>
                  <a:schemeClr val="bg1">
                    <a:lumMod val="50000"/>
                  </a:schemeClr>
                </a:solidFill>
                <a:latin typeface="GillSansStd"/>
              </a:rPr>
              <a:t>2017 Braunschweig - doi:10.1002/ejhf.563, 2017 Stork - doi: 10.1007/s00392-017-1137-7. 2018 Zhang - https://doi.org/10.1186/s12911-018-0625-7</a:t>
            </a:r>
          </a:p>
          <a:p>
            <a:endParaRPr lang="en-US" sz="9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944889CC-4816-313E-F24E-290F0701D9DE}"/>
              </a:ext>
            </a:extLst>
          </p:cNvPr>
          <p:cNvSpPr/>
          <p:nvPr/>
        </p:nvSpPr>
        <p:spPr>
          <a:xfrm>
            <a:off x="2325751" y="2454927"/>
            <a:ext cx="3113589" cy="3067291"/>
          </a:xfrm>
          <a:custGeom>
            <a:avLst/>
            <a:gdLst>
              <a:gd name="connsiteX0" fmla="*/ 0 w 3113589"/>
              <a:gd name="connsiteY0" fmla="*/ 2314937 h 3067291"/>
              <a:gd name="connsiteX1" fmla="*/ 1875098 w 3113589"/>
              <a:gd name="connsiteY1" fmla="*/ 2430683 h 3067291"/>
              <a:gd name="connsiteX2" fmla="*/ 3113589 w 3113589"/>
              <a:gd name="connsiteY2" fmla="*/ 3067291 h 3067291"/>
              <a:gd name="connsiteX3" fmla="*/ 2974693 w 3113589"/>
              <a:gd name="connsiteY3" fmla="*/ 0 h 3067291"/>
              <a:gd name="connsiteX4" fmla="*/ 1875098 w 3113589"/>
              <a:gd name="connsiteY4" fmla="*/ 729205 h 3067291"/>
              <a:gd name="connsiteX5" fmla="*/ 23149 w 3113589"/>
              <a:gd name="connsiteY5" fmla="*/ 821802 h 3067291"/>
              <a:gd name="connsiteX6" fmla="*/ 0 w 3113589"/>
              <a:gd name="connsiteY6" fmla="*/ 2314937 h 3067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13589" h="3067291">
                <a:moveTo>
                  <a:pt x="0" y="2314937"/>
                </a:moveTo>
                <a:lnTo>
                  <a:pt x="1875098" y="2430683"/>
                </a:lnTo>
                <a:lnTo>
                  <a:pt x="3113589" y="3067291"/>
                </a:lnTo>
                <a:lnTo>
                  <a:pt x="2974693" y="0"/>
                </a:lnTo>
                <a:lnTo>
                  <a:pt x="1875098" y="729205"/>
                </a:lnTo>
                <a:lnTo>
                  <a:pt x="23149" y="821802"/>
                </a:lnTo>
                <a:lnTo>
                  <a:pt x="0" y="2314937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29000">
                <a:srgbClr val="FFCDCD"/>
              </a:gs>
              <a:gs pos="100000">
                <a:srgbClr val="FF8B8B"/>
              </a:gs>
            </a:gsLst>
            <a:lin ang="10800000" scaled="0"/>
          </a:gra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6276300-F75A-4D0B-2B61-EFD9D0AC55CD}"/>
              </a:ext>
            </a:extLst>
          </p:cNvPr>
          <p:cNvGrpSpPr/>
          <p:nvPr/>
        </p:nvGrpSpPr>
        <p:grpSpPr>
          <a:xfrm>
            <a:off x="-8531" y="1581647"/>
            <a:ext cx="4913885" cy="4404729"/>
            <a:chOff x="3565432" y="1640187"/>
            <a:chExt cx="4913885" cy="4404729"/>
          </a:xfrm>
        </p:grpSpPr>
        <p:graphicFrame>
          <p:nvGraphicFramePr>
            <p:cNvPr id="24" name="Chart 23">
              <a:extLst>
                <a:ext uri="{FF2B5EF4-FFF2-40B4-BE49-F238E27FC236}">
                  <a16:creationId xmlns:a16="http://schemas.microsoft.com/office/drawing/2014/main" id="{5F079029-E39E-BC88-4328-C9EAA894301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33169351"/>
                </p:ext>
              </p:extLst>
            </p:nvPr>
          </p:nvGraphicFramePr>
          <p:xfrm>
            <a:off x="3565432" y="1640187"/>
            <a:ext cx="4913885" cy="440472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04062ED-393C-BEF5-98E0-B28B1EA17035}"/>
                </a:ext>
              </a:extLst>
            </p:cNvPr>
            <p:cNvSpPr txBox="1"/>
            <p:nvPr/>
          </p:nvSpPr>
          <p:spPr>
            <a:xfrm>
              <a:off x="5514456" y="5047890"/>
              <a:ext cx="9492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713,387</a:t>
              </a:r>
              <a:endParaRPr lang="en-US" sz="1050" baseline="30000" dirty="0">
                <a:solidFill>
                  <a:schemeClr val="bg1"/>
                </a:solidFill>
              </a:endParaRPr>
            </a:p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NYHA Class IV </a:t>
              </a:r>
              <a:r>
                <a:rPr lang="en-US" sz="800" baseline="30000" dirty="0">
                  <a:solidFill>
                    <a:schemeClr val="bg1"/>
                  </a:solidFill>
                </a:rPr>
                <a:t>9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6E5FD06-9478-1AC7-88CF-1130390A668C}"/>
                </a:ext>
              </a:extLst>
            </p:cNvPr>
            <p:cNvSpPr txBox="1"/>
            <p:nvPr/>
          </p:nvSpPr>
          <p:spPr>
            <a:xfrm>
              <a:off x="5408884" y="4274925"/>
              <a:ext cx="1210588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2,544,497</a:t>
              </a:r>
            </a:p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NYHA Class III </a:t>
              </a:r>
              <a:r>
                <a:rPr lang="en-US" sz="800" baseline="30000" dirty="0">
                  <a:solidFill>
                    <a:schemeClr val="bg1"/>
                  </a:solidFill>
                </a:rPr>
                <a:t>9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C49F683-B3BB-BA20-027C-0ABAF40E8B11}"/>
                </a:ext>
              </a:extLst>
            </p:cNvPr>
            <p:cNvSpPr txBox="1"/>
            <p:nvPr/>
          </p:nvSpPr>
          <p:spPr>
            <a:xfrm>
              <a:off x="5543856" y="3514478"/>
              <a:ext cx="90922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3,152,974</a:t>
              </a:r>
            </a:p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NYHA Class II </a:t>
              </a:r>
              <a:r>
                <a:rPr lang="en-US" sz="800" baseline="30000" dirty="0">
                  <a:solidFill>
                    <a:schemeClr val="bg1"/>
                  </a:solidFill>
                </a:rPr>
                <a:t>9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D5FF5366-8EFE-A0DB-6B31-B8B9FBE2EBC1}"/>
                </a:ext>
              </a:extLst>
            </p:cNvPr>
            <p:cNvSpPr txBox="1"/>
            <p:nvPr/>
          </p:nvSpPr>
          <p:spPr>
            <a:xfrm>
              <a:off x="5548922" y="2734981"/>
              <a:ext cx="88036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889,142</a:t>
              </a:r>
            </a:p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NYHA Class I </a:t>
              </a:r>
              <a:r>
                <a:rPr lang="en-US" sz="800" baseline="30000" dirty="0">
                  <a:solidFill>
                    <a:schemeClr val="bg1"/>
                  </a:solidFill>
                </a:rPr>
                <a:t>9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29" name="Content Placeholder 7">
            <a:extLst>
              <a:ext uri="{FF2B5EF4-FFF2-40B4-BE49-F238E27FC236}">
                <a16:creationId xmlns:a16="http://schemas.microsoft.com/office/drawing/2014/main" id="{322209DE-BA4B-BFEB-4B10-28CFE4A79B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1170565"/>
              </p:ext>
            </p:extLst>
          </p:nvPr>
        </p:nvGraphicFramePr>
        <p:xfrm>
          <a:off x="3999922" y="1381375"/>
          <a:ext cx="4192155" cy="4404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050" name="Picture 2" descr="149,700+ Iceberg Stock Photos, Pictures &amp; Royalty-Free ...">
            <a:extLst>
              <a:ext uri="{FF2B5EF4-FFF2-40B4-BE49-F238E27FC236}">
                <a16:creationId xmlns:a16="http://schemas.microsoft.com/office/drawing/2014/main" id="{F6CAD26E-10B3-B7FA-F523-7C6BBDDFD7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803"/>
          <a:stretch>
            <a:fillRect/>
          </a:stretch>
        </p:blipFill>
        <p:spPr bwMode="auto">
          <a:xfrm>
            <a:off x="8112403" y="2092781"/>
            <a:ext cx="3507690" cy="3429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2232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5860B1-E861-2F07-074C-6CEEDA8AC5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D55D34-B154-99F1-EC61-A4F3D013D1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diac Contractility Modul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D4EF09-3B1B-61AB-4D74-7387BD2878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63C13F-A3EC-4D41-8C52-AB98F405356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2" descr="CCM® Around the World - A Modern Approach for the Treatment of Heart  Failure - YouTube">
            <a:extLst>
              <a:ext uri="{FF2B5EF4-FFF2-40B4-BE49-F238E27FC236}">
                <a16:creationId xmlns:a16="http://schemas.microsoft.com/office/drawing/2014/main" id="{23C55F34-1B00-62AF-91B9-8021497E40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50" t="15556" r="24375" b="14444"/>
          <a:stretch/>
        </p:blipFill>
        <p:spPr bwMode="auto">
          <a:xfrm>
            <a:off x="662617" y="1350160"/>
            <a:ext cx="5423413" cy="432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07CA5B3-5717-99BF-9E7D-F6FA12E7A1E8}"/>
              </a:ext>
            </a:extLst>
          </p:cNvPr>
          <p:cNvSpPr/>
          <p:nvPr/>
        </p:nvSpPr>
        <p:spPr>
          <a:xfrm>
            <a:off x="152400" y="1447800"/>
            <a:ext cx="1371600" cy="533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5C7419D-AD70-7530-4FE6-75BAAA392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43109" y="1557548"/>
            <a:ext cx="4992829" cy="4445000"/>
          </a:xfrm>
        </p:spPr>
        <p:txBody>
          <a:bodyPr/>
          <a:lstStyle/>
          <a:p>
            <a:r>
              <a:rPr lang="en-US" sz="2400" dirty="0"/>
              <a:t>Indication: HF with EF 25-45%, NYHA III symptoms, not receiving CRT</a:t>
            </a:r>
          </a:p>
          <a:p>
            <a:r>
              <a:rPr lang="en-US" sz="2400" dirty="0"/>
              <a:t>Pacing therapy delivered during absolute ventricular refractory period </a:t>
            </a:r>
          </a:p>
          <a:p>
            <a:r>
              <a:rPr lang="en-US" sz="2400" dirty="0"/>
              <a:t>Requires 2 leads for sensing and delivery</a:t>
            </a:r>
          </a:p>
          <a:p>
            <a:r>
              <a:rPr lang="en-US" sz="2400" dirty="0"/>
              <a:t>Five 1-hour therapy sessions daily</a:t>
            </a:r>
          </a:p>
          <a:p>
            <a:r>
              <a:rPr lang="en-US" sz="2400" dirty="0"/>
              <a:t>20 year rechargeable battery</a:t>
            </a:r>
          </a:p>
          <a:p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02F748D-469E-441D-03AD-B0DD54C928ED}"/>
              </a:ext>
            </a:extLst>
          </p:cNvPr>
          <p:cNvGrpSpPr/>
          <p:nvPr/>
        </p:nvGrpSpPr>
        <p:grpSpPr>
          <a:xfrm>
            <a:off x="1752599" y="5410200"/>
            <a:ext cx="4897093" cy="1220412"/>
            <a:chOff x="893433" y="3877669"/>
            <a:chExt cx="9906337" cy="2285069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CF57A25-1010-F70F-F8CE-D87745D1C168}"/>
                </a:ext>
              </a:extLst>
            </p:cNvPr>
            <p:cNvGrpSpPr/>
            <p:nvPr/>
          </p:nvGrpSpPr>
          <p:grpSpPr>
            <a:xfrm>
              <a:off x="893433" y="3991999"/>
              <a:ext cx="4776056" cy="2102515"/>
              <a:chOff x="340360" y="4041120"/>
              <a:chExt cx="5054600" cy="2225135"/>
            </a:xfrm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8C02AC4C-626A-66FC-3AFA-F5429FAC8343}"/>
                  </a:ext>
                </a:extLst>
              </p:cNvPr>
              <p:cNvSpPr/>
              <p:nvPr/>
            </p:nvSpPr>
            <p:spPr>
              <a:xfrm>
                <a:off x="340360" y="4338318"/>
                <a:ext cx="5054600" cy="1625739"/>
              </a:xfrm>
              <a:custGeom>
                <a:avLst/>
                <a:gdLst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738"/>
                  <a:gd name="connsiteX1" fmla="*/ 629920 w 5054600"/>
                  <a:gd name="connsiteY1" fmla="*/ 1356360 h 1625738"/>
                  <a:gd name="connsiteX2" fmla="*/ 1021080 w 5054600"/>
                  <a:gd name="connsiteY2" fmla="*/ 1021080 h 1625738"/>
                  <a:gd name="connsiteX3" fmla="*/ 1457960 w 5054600"/>
                  <a:gd name="connsiteY3" fmla="*/ 1361440 h 1625738"/>
                  <a:gd name="connsiteX4" fmla="*/ 2067560 w 5054600"/>
                  <a:gd name="connsiteY4" fmla="*/ 1361440 h 1625738"/>
                  <a:gd name="connsiteX5" fmla="*/ 2219960 w 5054600"/>
                  <a:gd name="connsiteY5" fmla="*/ 1625600 h 1625738"/>
                  <a:gd name="connsiteX6" fmla="*/ 2534920 w 5054600"/>
                  <a:gd name="connsiteY6" fmla="*/ 0 h 1625738"/>
                  <a:gd name="connsiteX7" fmla="*/ 2773680 w 5054600"/>
                  <a:gd name="connsiteY7" fmla="*/ 1625600 h 1625738"/>
                  <a:gd name="connsiteX8" fmla="*/ 2936240 w 5054600"/>
                  <a:gd name="connsiteY8" fmla="*/ 1366520 h 1625738"/>
                  <a:gd name="connsiteX9" fmla="*/ 3469640 w 5054600"/>
                  <a:gd name="connsiteY9" fmla="*/ 1366520 h 1625738"/>
                  <a:gd name="connsiteX10" fmla="*/ 3835400 w 5054600"/>
                  <a:gd name="connsiteY10" fmla="*/ 772160 h 1625738"/>
                  <a:gd name="connsiteX11" fmla="*/ 4267200 w 5054600"/>
                  <a:gd name="connsiteY11" fmla="*/ 1366520 h 1625738"/>
                  <a:gd name="connsiteX12" fmla="*/ 5054600 w 5054600"/>
                  <a:gd name="connsiteY12" fmla="*/ 1366520 h 1625738"/>
                  <a:gd name="connsiteX0" fmla="*/ 0 w 5054600"/>
                  <a:gd name="connsiteY0" fmla="*/ 1356360 h 1625738"/>
                  <a:gd name="connsiteX1" fmla="*/ 629920 w 5054600"/>
                  <a:gd name="connsiteY1" fmla="*/ 1356360 h 1625738"/>
                  <a:gd name="connsiteX2" fmla="*/ 1021080 w 5054600"/>
                  <a:gd name="connsiteY2" fmla="*/ 1021080 h 1625738"/>
                  <a:gd name="connsiteX3" fmla="*/ 1457960 w 5054600"/>
                  <a:gd name="connsiteY3" fmla="*/ 1361440 h 1625738"/>
                  <a:gd name="connsiteX4" fmla="*/ 2067560 w 5054600"/>
                  <a:gd name="connsiteY4" fmla="*/ 1361440 h 1625738"/>
                  <a:gd name="connsiteX5" fmla="*/ 2219960 w 5054600"/>
                  <a:gd name="connsiteY5" fmla="*/ 1625600 h 1625738"/>
                  <a:gd name="connsiteX6" fmla="*/ 2534920 w 5054600"/>
                  <a:gd name="connsiteY6" fmla="*/ 0 h 1625738"/>
                  <a:gd name="connsiteX7" fmla="*/ 2773680 w 5054600"/>
                  <a:gd name="connsiteY7" fmla="*/ 1625600 h 1625738"/>
                  <a:gd name="connsiteX8" fmla="*/ 2936240 w 5054600"/>
                  <a:gd name="connsiteY8" fmla="*/ 1366520 h 1625738"/>
                  <a:gd name="connsiteX9" fmla="*/ 3469640 w 5054600"/>
                  <a:gd name="connsiteY9" fmla="*/ 1366520 h 1625738"/>
                  <a:gd name="connsiteX10" fmla="*/ 3835400 w 5054600"/>
                  <a:gd name="connsiteY10" fmla="*/ 772160 h 1625738"/>
                  <a:gd name="connsiteX11" fmla="*/ 4267200 w 5054600"/>
                  <a:gd name="connsiteY11" fmla="*/ 1366520 h 1625738"/>
                  <a:gd name="connsiteX12" fmla="*/ 5054600 w 5054600"/>
                  <a:gd name="connsiteY12" fmla="*/ 1366520 h 1625738"/>
                  <a:gd name="connsiteX0" fmla="*/ 0 w 5054600"/>
                  <a:gd name="connsiteY0" fmla="*/ 1451491 h 1720869"/>
                  <a:gd name="connsiteX1" fmla="*/ 629920 w 5054600"/>
                  <a:gd name="connsiteY1" fmla="*/ 1451491 h 1720869"/>
                  <a:gd name="connsiteX2" fmla="*/ 1021080 w 5054600"/>
                  <a:gd name="connsiteY2" fmla="*/ 1116211 h 1720869"/>
                  <a:gd name="connsiteX3" fmla="*/ 1457960 w 5054600"/>
                  <a:gd name="connsiteY3" fmla="*/ 1456571 h 1720869"/>
                  <a:gd name="connsiteX4" fmla="*/ 2067560 w 5054600"/>
                  <a:gd name="connsiteY4" fmla="*/ 1456571 h 1720869"/>
                  <a:gd name="connsiteX5" fmla="*/ 2219960 w 5054600"/>
                  <a:gd name="connsiteY5" fmla="*/ 1720731 h 1720869"/>
                  <a:gd name="connsiteX6" fmla="*/ 2534920 w 5054600"/>
                  <a:gd name="connsiteY6" fmla="*/ 95131 h 1720869"/>
                  <a:gd name="connsiteX7" fmla="*/ 2773680 w 5054600"/>
                  <a:gd name="connsiteY7" fmla="*/ 1720731 h 1720869"/>
                  <a:gd name="connsiteX8" fmla="*/ 2936240 w 5054600"/>
                  <a:gd name="connsiteY8" fmla="*/ 1461651 h 1720869"/>
                  <a:gd name="connsiteX9" fmla="*/ 3469640 w 5054600"/>
                  <a:gd name="connsiteY9" fmla="*/ 1461651 h 1720869"/>
                  <a:gd name="connsiteX10" fmla="*/ 3835400 w 5054600"/>
                  <a:gd name="connsiteY10" fmla="*/ 867291 h 1720869"/>
                  <a:gd name="connsiteX11" fmla="*/ 4267200 w 5054600"/>
                  <a:gd name="connsiteY11" fmla="*/ 1461651 h 1720869"/>
                  <a:gd name="connsiteX12" fmla="*/ 5054600 w 5054600"/>
                  <a:gd name="connsiteY12" fmla="*/ 1461651 h 172086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9740 w 5054600"/>
                  <a:gd name="connsiteY11" fmla="*/ 1361441 h 1625739"/>
                  <a:gd name="connsiteX12" fmla="*/ 5054600 w 5054600"/>
                  <a:gd name="connsiteY12" fmla="*/ 1366521 h 1625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54600" h="1625739">
                    <a:moveTo>
                      <a:pt x="0" y="1356361"/>
                    </a:moveTo>
                    <a:lnTo>
                      <a:pt x="629920" y="1356361"/>
                    </a:lnTo>
                    <a:cubicBezTo>
                      <a:pt x="777240" y="1270001"/>
                      <a:pt x="935778" y="1021504"/>
                      <a:pt x="1021080" y="1021081"/>
                    </a:cubicBezTo>
                    <a:cubicBezTo>
                      <a:pt x="1106382" y="1020658"/>
                      <a:pt x="1317837" y="1296459"/>
                      <a:pt x="1457960" y="1361441"/>
                    </a:cubicBezTo>
                    <a:lnTo>
                      <a:pt x="2067560" y="1361441"/>
                    </a:lnTo>
                    <a:cubicBezTo>
                      <a:pt x="2124075" y="1356149"/>
                      <a:pt x="2171065" y="1632798"/>
                      <a:pt x="2219960" y="1625601"/>
                    </a:cubicBezTo>
                    <a:cubicBezTo>
                      <a:pt x="2254462" y="1634279"/>
                      <a:pt x="2445173" y="848"/>
                      <a:pt x="2534920" y="1"/>
                    </a:cubicBezTo>
                    <a:cubicBezTo>
                      <a:pt x="2624667" y="-846"/>
                      <a:pt x="2725843" y="1609303"/>
                      <a:pt x="2773680" y="1625601"/>
                    </a:cubicBezTo>
                    <a:cubicBezTo>
                      <a:pt x="2816437" y="1626871"/>
                      <a:pt x="2876338" y="1397636"/>
                      <a:pt x="2936240" y="1366521"/>
                    </a:cubicBezTo>
                    <a:cubicBezTo>
                      <a:pt x="3114040" y="1366521"/>
                      <a:pt x="3366135" y="1366838"/>
                      <a:pt x="3446780" y="1360806"/>
                    </a:cubicBezTo>
                    <a:cubicBezTo>
                      <a:pt x="3527425" y="1354774"/>
                      <a:pt x="3759623" y="772161"/>
                      <a:pt x="3843020" y="770256"/>
                    </a:cubicBezTo>
                    <a:cubicBezTo>
                      <a:pt x="3937423" y="762636"/>
                      <a:pt x="4182533" y="1357631"/>
                      <a:pt x="4269740" y="1361441"/>
                    </a:cubicBezTo>
                    <a:cubicBezTo>
                      <a:pt x="4356947" y="1365251"/>
                      <a:pt x="4792133" y="1366521"/>
                      <a:pt x="5054600" y="1366521"/>
                    </a:cubicBezTo>
                  </a:path>
                </a:pathLst>
              </a:custGeom>
              <a:noFill/>
              <a:ln w="38100">
                <a:solidFill>
                  <a:srgbClr val="FFC000"/>
                </a:solidFill>
              </a:ln>
            </p:spPr>
            <p:txBody>
              <a:bodyPr rtlCol="0" anchor="ctr"/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2DE25E9E-A93B-C27B-2F3A-C276FAA6221C}"/>
                  </a:ext>
                </a:extLst>
              </p:cNvPr>
              <p:cNvSpPr txBox="1"/>
              <p:nvPr/>
            </p:nvSpPr>
            <p:spPr>
              <a:xfrm>
                <a:off x="1194733" y="5087213"/>
                <a:ext cx="358720" cy="21545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2D3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6BAEB3F2-F701-5EF3-8934-12F571DC465A}"/>
                  </a:ext>
                </a:extLst>
              </p:cNvPr>
              <p:cNvSpPr txBox="1"/>
              <p:nvPr/>
            </p:nvSpPr>
            <p:spPr>
              <a:xfrm>
                <a:off x="2371771" y="6050804"/>
                <a:ext cx="416115" cy="21545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2D3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Q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C9B2241E-F644-458D-6A24-E099DAD177A5}"/>
                  </a:ext>
                </a:extLst>
              </p:cNvPr>
              <p:cNvSpPr txBox="1"/>
              <p:nvPr/>
            </p:nvSpPr>
            <p:spPr>
              <a:xfrm>
                <a:off x="2917871" y="6050804"/>
                <a:ext cx="416115" cy="21545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2D3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00F3CB0F-DE94-76B2-E7D0-AB1E96CAF5DA}"/>
                  </a:ext>
                </a:extLst>
              </p:cNvPr>
              <p:cNvSpPr txBox="1"/>
              <p:nvPr/>
            </p:nvSpPr>
            <p:spPr>
              <a:xfrm>
                <a:off x="4018616" y="4843372"/>
                <a:ext cx="358720" cy="21545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2D3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18A027E5-1A2A-3E09-4E0A-107F5BE1B335}"/>
                  </a:ext>
                </a:extLst>
              </p:cNvPr>
              <p:cNvSpPr txBox="1"/>
              <p:nvPr/>
            </p:nvSpPr>
            <p:spPr>
              <a:xfrm>
                <a:off x="2608526" y="4065091"/>
                <a:ext cx="358720" cy="21545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2D3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14A81FF8-D68F-FCA5-9EFF-E59342802015}"/>
                  </a:ext>
                </a:extLst>
              </p:cNvPr>
              <p:cNvSpPr/>
              <p:nvPr/>
            </p:nvSpPr>
            <p:spPr>
              <a:xfrm>
                <a:off x="356121" y="4041120"/>
                <a:ext cx="2015650" cy="1036799"/>
              </a:xfrm>
              <a:prstGeom prst="rect">
                <a:avLst/>
              </a:prstGeom>
              <a:solidFill>
                <a:srgbClr val="C00000"/>
              </a:solidFill>
            </p:spPr>
            <p:txBody>
              <a:bodyPr wrap="square">
                <a:sp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ormal QRS</a:t>
                </a:r>
              </a:p>
            </p:txBody>
          </p:sp>
        </p:grp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FCA5DDA-4582-EF5B-3364-BB5E4328DC65}"/>
                </a:ext>
              </a:extLst>
            </p:cNvPr>
            <p:cNvSpPr/>
            <p:nvPr/>
          </p:nvSpPr>
          <p:spPr>
            <a:xfrm>
              <a:off x="6023714" y="4283380"/>
              <a:ext cx="4776056" cy="1536149"/>
            </a:xfrm>
            <a:custGeom>
              <a:avLst/>
              <a:gdLst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738"/>
                <a:gd name="connsiteX1" fmla="*/ 629920 w 5054600"/>
                <a:gd name="connsiteY1" fmla="*/ 1356360 h 1625738"/>
                <a:gd name="connsiteX2" fmla="*/ 1021080 w 5054600"/>
                <a:gd name="connsiteY2" fmla="*/ 1021080 h 1625738"/>
                <a:gd name="connsiteX3" fmla="*/ 1457960 w 5054600"/>
                <a:gd name="connsiteY3" fmla="*/ 1361440 h 1625738"/>
                <a:gd name="connsiteX4" fmla="*/ 2067560 w 5054600"/>
                <a:gd name="connsiteY4" fmla="*/ 1361440 h 1625738"/>
                <a:gd name="connsiteX5" fmla="*/ 2219960 w 5054600"/>
                <a:gd name="connsiteY5" fmla="*/ 1625600 h 1625738"/>
                <a:gd name="connsiteX6" fmla="*/ 2534920 w 5054600"/>
                <a:gd name="connsiteY6" fmla="*/ 0 h 1625738"/>
                <a:gd name="connsiteX7" fmla="*/ 2773680 w 5054600"/>
                <a:gd name="connsiteY7" fmla="*/ 1625600 h 1625738"/>
                <a:gd name="connsiteX8" fmla="*/ 2936240 w 5054600"/>
                <a:gd name="connsiteY8" fmla="*/ 1366520 h 1625738"/>
                <a:gd name="connsiteX9" fmla="*/ 3469640 w 5054600"/>
                <a:gd name="connsiteY9" fmla="*/ 1366520 h 1625738"/>
                <a:gd name="connsiteX10" fmla="*/ 3835400 w 5054600"/>
                <a:gd name="connsiteY10" fmla="*/ 772160 h 1625738"/>
                <a:gd name="connsiteX11" fmla="*/ 4267200 w 5054600"/>
                <a:gd name="connsiteY11" fmla="*/ 1366520 h 1625738"/>
                <a:gd name="connsiteX12" fmla="*/ 5054600 w 5054600"/>
                <a:gd name="connsiteY12" fmla="*/ 1366520 h 1625738"/>
                <a:gd name="connsiteX0" fmla="*/ 0 w 5054600"/>
                <a:gd name="connsiteY0" fmla="*/ 1356360 h 1625738"/>
                <a:gd name="connsiteX1" fmla="*/ 629920 w 5054600"/>
                <a:gd name="connsiteY1" fmla="*/ 1356360 h 1625738"/>
                <a:gd name="connsiteX2" fmla="*/ 1021080 w 5054600"/>
                <a:gd name="connsiteY2" fmla="*/ 1021080 h 1625738"/>
                <a:gd name="connsiteX3" fmla="*/ 1457960 w 5054600"/>
                <a:gd name="connsiteY3" fmla="*/ 1361440 h 1625738"/>
                <a:gd name="connsiteX4" fmla="*/ 2067560 w 5054600"/>
                <a:gd name="connsiteY4" fmla="*/ 1361440 h 1625738"/>
                <a:gd name="connsiteX5" fmla="*/ 2219960 w 5054600"/>
                <a:gd name="connsiteY5" fmla="*/ 1625600 h 1625738"/>
                <a:gd name="connsiteX6" fmla="*/ 2534920 w 5054600"/>
                <a:gd name="connsiteY6" fmla="*/ 0 h 1625738"/>
                <a:gd name="connsiteX7" fmla="*/ 2773680 w 5054600"/>
                <a:gd name="connsiteY7" fmla="*/ 1625600 h 1625738"/>
                <a:gd name="connsiteX8" fmla="*/ 2936240 w 5054600"/>
                <a:gd name="connsiteY8" fmla="*/ 1366520 h 1625738"/>
                <a:gd name="connsiteX9" fmla="*/ 3469640 w 5054600"/>
                <a:gd name="connsiteY9" fmla="*/ 1366520 h 1625738"/>
                <a:gd name="connsiteX10" fmla="*/ 3835400 w 5054600"/>
                <a:gd name="connsiteY10" fmla="*/ 772160 h 1625738"/>
                <a:gd name="connsiteX11" fmla="*/ 4267200 w 5054600"/>
                <a:gd name="connsiteY11" fmla="*/ 1366520 h 1625738"/>
                <a:gd name="connsiteX12" fmla="*/ 5054600 w 5054600"/>
                <a:gd name="connsiteY12" fmla="*/ 1366520 h 1625738"/>
                <a:gd name="connsiteX0" fmla="*/ 0 w 5054600"/>
                <a:gd name="connsiteY0" fmla="*/ 1451491 h 1720869"/>
                <a:gd name="connsiteX1" fmla="*/ 629920 w 5054600"/>
                <a:gd name="connsiteY1" fmla="*/ 1451491 h 1720869"/>
                <a:gd name="connsiteX2" fmla="*/ 1021080 w 5054600"/>
                <a:gd name="connsiteY2" fmla="*/ 1116211 h 1720869"/>
                <a:gd name="connsiteX3" fmla="*/ 1457960 w 5054600"/>
                <a:gd name="connsiteY3" fmla="*/ 1456571 h 1720869"/>
                <a:gd name="connsiteX4" fmla="*/ 2067560 w 5054600"/>
                <a:gd name="connsiteY4" fmla="*/ 1456571 h 1720869"/>
                <a:gd name="connsiteX5" fmla="*/ 2219960 w 5054600"/>
                <a:gd name="connsiteY5" fmla="*/ 1720731 h 1720869"/>
                <a:gd name="connsiteX6" fmla="*/ 2534920 w 5054600"/>
                <a:gd name="connsiteY6" fmla="*/ 95131 h 1720869"/>
                <a:gd name="connsiteX7" fmla="*/ 2773680 w 5054600"/>
                <a:gd name="connsiteY7" fmla="*/ 1720731 h 1720869"/>
                <a:gd name="connsiteX8" fmla="*/ 2936240 w 5054600"/>
                <a:gd name="connsiteY8" fmla="*/ 1461651 h 1720869"/>
                <a:gd name="connsiteX9" fmla="*/ 3469640 w 5054600"/>
                <a:gd name="connsiteY9" fmla="*/ 1461651 h 1720869"/>
                <a:gd name="connsiteX10" fmla="*/ 3835400 w 5054600"/>
                <a:gd name="connsiteY10" fmla="*/ 867291 h 1720869"/>
                <a:gd name="connsiteX11" fmla="*/ 4267200 w 5054600"/>
                <a:gd name="connsiteY11" fmla="*/ 1461651 h 1720869"/>
                <a:gd name="connsiteX12" fmla="*/ 5054600 w 5054600"/>
                <a:gd name="connsiteY12" fmla="*/ 1461651 h 172086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9740 w 5054600"/>
                <a:gd name="connsiteY11" fmla="*/ 1361441 h 1625739"/>
                <a:gd name="connsiteX12" fmla="*/ 5054600 w 5054600"/>
                <a:gd name="connsiteY12" fmla="*/ 1366521 h 1625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54600" h="1625739">
                  <a:moveTo>
                    <a:pt x="0" y="1356361"/>
                  </a:moveTo>
                  <a:lnTo>
                    <a:pt x="629920" y="1356361"/>
                  </a:lnTo>
                  <a:cubicBezTo>
                    <a:pt x="777240" y="1270001"/>
                    <a:pt x="935778" y="1021504"/>
                    <a:pt x="1021080" y="1021081"/>
                  </a:cubicBezTo>
                  <a:cubicBezTo>
                    <a:pt x="1106382" y="1020658"/>
                    <a:pt x="1317837" y="1296459"/>
                    <a:pt x="1457960" y="1361441"/>
                  </a:cubicBezTo>
                  <a:lnTo>
                    <a:pt x="2067560" y="1361441"/>
                  </a:lnTo>
                  <a:cubicBezTo>
                    <a:pt x="2124075" y="1356149"/>
                    <a:pt x="2171065" y="1632798"/>
                    <a:pt x="2219960" y="1625601"/>
                  </a:cubicBezTo>
                  <a:cubicBezTo>
                    <a:pt x="2254462" y="1634279"/>
                    <a:pt x="2445173" y="848"/>
                    <a:pt x="2534920" y="1"/>
                  </a:cubicBezTo>
                  <a:cubicBezTo>
                    <a:pt x="2624667" y="-846"/>
                    <a:pt x="2725843" y="1609303"/>
                    <a:pt x="2773680" y="1625601"/>
                  </a:cubicBezTo>
                  <a:cubicBezTo>
                    <a:pt x="2816437" y="1626871"/>
                    <a:pt x="2876338" y="1397636"/>
                    <a:pt x="2936240" y="1366521"/>
                  </a:cubicBezTo>
                  <a:cubicBezTo>
                    <a:pt x="3114040" y="1366521"/>
                    <a:pt x="3366135" y="1366838"/>
                    <a:pt x="3446780" y="1360806"/>
                  </a:cubicBezTo>
                  <a:cubicBezTo>
                    <a:pt x="3527425" y="1354774"/>
                    <a:pt x="3759623" y="772161"/>
                    <a:pt x="3843020" y="770256"/>
                  </a:cubicBezTo>
                  <a:cubicBezTo>
                    <a:pt x="3937423" y="762636"/>
                    <a:pt x="4182533" y="1357631"/>
                    <a:pt x="4269740" y="1361441"/>
                  </a:cubicBezTo>
                  <a:cubicBezTo>
                    <a:pt x="4356947" y="1365251"/>
                    <a:pt x="4792133" y="1366521"/>
                    <a:pt x="5054600" y="1366521"/>
                  </a:cubicBezTo>
                </a:path>
              </a:pathLst>
            </a:custGeom>
            <a:noFill/>
            <a:ln w="38100">
              <a:solidFill>
                <a:srgbClr val="FFC000"/>
              </a:solidFill>
            </a:ln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D4A2167-8CF7-C226-0767-FBF4A02E69EB}"/>
                </a:ext>
              </a:extLst>
            </p:cNvPr>
            <p:cNvSpPr txBox="1"/>
            <p:nvPr/>
          </p:nvSpPr>
          <p:spPr>
            <a:xfrm>
              <a:off x="6831005" y="4991005"/>
              <a:ext cx="338952" cy="2035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E2D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C469D99-929D-39E1-5016-FCA3ED0FFCFF}"/>
                </a:ext>
              </a:extLst>
            </p:cNvPr>
            <p:cNvSpPr txBox="1"/>
            <p:nvPr/>
          </p:nvSpPr>
          <p:spPr>
            <a:xfrm>
              <a:off x="8459186" y="5901495"/>
              <a:ext cx="393184" cy="2035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E2D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49961BE-D119-7305-05E9-16F437BCADF2}"/>
                </a:ext>
              </a:extLst>
            </p:cNvPr>
            <p:cNvSpPr txBox="1"/>
            <p:nvPr/>
          </p:nvSpPr>
          <p:spPr>
            <a:xfrm>
              <a:off x="9499273" y="4760602"/>
              <a:ext cx="338952" cy="2035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E2D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A22370F-9937-E014-9C37-F68EDAECB842}"/>
                </a:ext>
              </a:extLst>
            </p:cNvPr>
            <p:cNvSpPr txBox="1"/>
            <p:nvPr/>
          </p:nvSpPr>
          <p:spPr>
            <a:xfrm>
              <a:off x="8102318" y="4003031"/>
              <a:ext cx="338952" cy="2035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E2D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06BD5-31F8-185C-B645-ED634931C2E6}"/>
                </a:ext>
              </a:extLst>
            </p:cNvPr>
            <p:cNvGrpSpPr/>
            <p:nvPr/>
          </p:nvGrpSpPr>
          <p:grpSpPr>
            <a:xfrm>
              <a:off x="8432258" y="3877669"/>
              <a:ext cx="597481" cy="2271734"/>
              <a:chOff x="8934147" y="1699550"/>
              <a:chExt cx="632327" cy="2404224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C1AD69CA-517D-F477-1162-59AE51C24A13}"/>
                  </a:ext>
                </a:extLst>
              </p:cNvPr>
              <p:cNvSpPr/>
              <p:nvPr/>
            </p:nvSpPr>
            <p:spPr>
              <a:xfrm>
                <a:off x="8934322" y="1979347"/>
                <a:ext cx="497840" cy="1841499"/>
              </a:xfrm>
              <a:prstGeom prst="rect">
                <a:avLst/>
              </a:prstGeom>
              <a:solidFill>
                <a:schemeClr val="bg1"/>
              </a:solidFill>
              <a:ln w="38100"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251A04E-D80C-A073-AFB7-5BC7E47F511C}"/>
                  </a:ext>
                </a:extLst>
              </p:cNvPr>
              <p:cNvSpPr/>
              <p:nvPr/>
            </p:nvSpPr>
            <p:spPr>
              <a:xfrm>
                <a:off x="9068637" y="2126665"/>
                <a:ext cx="380387" cy="1625739"/>
              </a:xfrm>
              <a:custGeom>
                <a:avLst/>
                <a:gdLst>
                  <a:gd name="connsiteX0" fmla="*/ 0 w 12110720"/>
                  <a:gd name="connsiteY0" fmla="*/ 1463040 h 1981200"/>
                  <a:gd name="connsiteX1" fmla="*/ 3362960 w 12110720"/>
                  <a:gd name="connsiteY1" fmla="*/ 1463040 h 1981200"/>
                  <a:gd name="connsiteX2" fmla="*/ 3535680 w 12110720"/>
                  <a:gd name="connsiteY2" fmla="*/ 1615440 h 1981200"/>
                  <a:gd name="connsiteX3" fmla="*/ 3911600 w 12110720"/>
                  <a:gd name="connsiteY3" fmla="*/ 101600 h 1981200"/>
                  <a:gd name="connsiteX4" fmla="*/ 4124960 w 12110720"/>
                  <a:gd name="connsiteY4" fmla="*/ 995680 h 1981200"/>
                  <a:gd name="connsiteX5" fmla="*/ 4155440 w 12110720"/>
                  <a:gd name="connsiteY5" fmla="*/ 0 h 1981200"/>
                  <a:gd name="connsiteX6" fmla="*/ 4307840 w 12110720"/>
                  <a:gd name="connsiteY6" fmla="*/ 1981200 h 1981200"/>
                  <a:gd name="connsiteX7" fmla="*/ 4318000 w 12110720"/>
                  <a:gd name="connsiteY7" fmla="*/ 10160 h 1981200"/>
                  <a:gd name="connsiteX8" fmla="*/ 4429760 w 12110720"/>
                  <a:gd name="connsiteY8" fmla="*/ 1981200 h 1981200"/>
                  <a:gd name="connsiteX9" fmla="*/ 4521200 w 12110720"/>
                  <a:gd name="connsiteY9" fmla="*/ 1473200 h 1981200"/>
                  <a:gd name="connsiteX10" fmla="*/ 12110720 w 12110720"/>
                  <a:gd name="connsiteY10" fmla="*/ 1473200 h 1981200"/>
                  <a:gd name="connsiteX0" fmla="*/ 0 w 12110720"/>
                  <a:gd name="connsiteY0" fmla="*/ 1463040 h 1981200"/>
                  <a:gd name="connsiteX1" fmla="*/ 2054352 w 12110720"/>
                  <a:gd name="connsiteY1" fmla="*/ 1458976 h 1981200"/>
                  <a:gd name="connsiteX2" fmla="*/ 3362960 w 12110720"/>
                  <a:gd name="connsiteY2" fmla="*/ 1463040 h 1981200"/>
                  <a:gd name="connsiteX3" fmla="*/ 3535680 w 12110720"/>
                  <a:gd name="connsiteY3" fmla="*/ 1615440 h 1981200"/>
                  <a:gd name="connsiteX4" fmla="*/ 3911600 w 12110720"/>
                  <a:gd name="connsiteY4" fmla="*/ 101600 h 1981200"/>
                  <a:gd name="connsiteX5" fmla="*/ 4124960 w 12110720"/>
                  <a:gd name="connsiteY5" fmla="*/ 995680 h 1981200"/>
                  <a:gd name="connsiteX6" fmla="*/ 4155440 w 12110720"/>
                  <a:gd name="connsiteY6" fmla="*/ 0 h 1981200"/>
                  <a:gd name="connsiteX7" fmla="*/ 4307840 w 12110720"/>
                  <a:gd name="connsiteY7" fmla="*/ 1981200 h 1981200"/>
                  <a:gd name="connsiteX8" fmla="*/ 4318000 w 12110720"/>
                  <a:gd name="connsiteY8" fmla="*/ 10160 h 1981200"/>
                  <a:gd name="connsiteX9" fmla="*/ 4429760 w 12110720"/>
                  <a:gd name="connsiteY9" fmla="*/ 1981200 h 1981200"/>
                  <a:gd name="connsiteX10" fmla="*/ 4521200 w 12110720"/>
                  <a:gd name="connsiteY10" fmla="*/ 1473200 h 1981200"/>
                  <a:gd name="connsiteX11" fmla="*/ 12110720 w 12110720"/>
                  <a:gd name="connsiteY11" fmla="*/ 1473200 h 1981200"/>
                  <a:gd name="connsiteX0" fmla="*/ 0 w 10056368"/>
                  <a:gd name="connsiteY0" fmla="*/ 1458976 h 1981200"/>
                  <a:gd name="connsiteX1" fmla="*/ 1308608 w 10056368"/>
                  <a:gd name="connsiteY1" fmla="*/ 1463040 h 1981200"/>
                  <a:gd name="connsiteX2" fmla="*/ 1481328 w 10056368"/>
                  <a:gd name="connsiteY2" fmla="*/ 1615440 h 1981200"/>
                  <a:gd name="connsiteX3" fmla="*/ 1857248 w 10056368"/>
                  <a:gd name="connsiteY3" fmla="*/ 101600 h 1981200"/>
                  <a:gd name="connsiteX4" fmla="*/ 2070608 w 10056368"/>
                  <a:gd name="connsiteY4" fmla="*/ 995680 h 1981200"/>
                  <a:gd name="connsiteX5" fmla="*/ 2101088 w 10056368"/>
                  <a:gd name="connsiteY5" fmla="*/ 0 h 1981200"/>
                  <a:gd name="connsiteX6" fmla="*/ 2253488 w 10056368"/>
                  <a:gd name="connsiteY6" fmla="*/ 1981200 h 1981200"/>
                  <a:gd name="connsiteX7" fmla="*/ 2263648 w 10056368"/>
                  <a:gd name="connsiteY7" fmla="*/ 10160 h 1981200"/>
                  <a:gd name="connsiteX8" fmla="*/ 2375408 w 10056368"/>
                  <a:gd name="connsiteY8" fmla="*/ 1981200 h 1981200"/>
                  <a:gd name="connsiteX9" fmla="*/ 2466848 w 10056368"/>
                  <a:gd name="connsiteY9" fmla="*/ 1473200 h 1981200"/>
                  <a:gd name="connsiteX10" fmla="*/ 10056368 w 10056368"/>
                  <a:gd name="connsiteY10" fmla="*/ 1473200 h 1981200"/>
                  <a:gd name="connsiteX0" fmla="*/ 0 w 10056368"/>
                  <a:gd name="connsiteY0" fmla="*/ 1458976 h 1981200"/>
                  <a:gd name="connsiteX1" fmla="*/ 1308608 w 10056368"/>
                  <a:gd name="connsiteY1" fmla="*/ 1463040 h 1981200"/>
                  <a:gd name="connsiteX2" fmla="*/ 1481328 w 10056368"/>
                  <a:gd name="connsiteY2" fmla="*/ 1615440 h 1981200"/>
                  <a:gd name="connsiteX3" fmla="*/ 1857248 w 10056368"/>
                  <a:gd name="connsiteY3" fmla="*/ 101600 h 1981200"/>
                  <a:gd name="connsiteX4" fmla="*/ 2070608 w 10056368"/>
                  <a:gd name="connsiteY4" fmla="*/ 995680 h 1981200"/>
                  <a:gd name="connsiteX5" fmla="*/ 2101088 w 10056368"/>
                  <a:gd name="connsiteY5" fmla="*/ 0 h 1981200"/>
                  <a:gd name="connsiteX6" fmla="*/ 2253488 w 10056368"/>
                  <a:gd name="connsiteY6" fmla="*/ 1981200 h 1981200"/>
                  <a:gd name="connsiteX7" fmla="*/ 2263648 w 10056368"/>
                  <a:gd name="connsiteY7" fmla="*/ 10160 h 1981200"/>
                  <a:gd name="connsiteX8" fmla="*/ 2375408 w 10056368"/>
                  <a:gd name="connsiteY8" fmla="*/ 1981200 h 1981200"/>
                  <a:gd name="connsiteX9" fmla="*/ 2466848 w 10056368"/>
                  <a:gd name="connsiteY9" fmla="*/ 1473200 h 1981200"/>
                  <a:gd name="connsiteX10" fmla="*/ 4773168 w 10056368"/>
                  <a:gd name="connsiteY10" fmla="*/ 1473835 h 1981200"/>
                  <a:gd name="connsiteX11" fmla="*/ 10056368 w 10056368"/>
                  <a:gd name="connsiteY11" fmla="*/ 1473200 h 1981200"/>
                  <a:gd name="connsiteX0" fmla="*/ 0 w 4773168"/>
                  <a:gd name="connsiteY0" fmla="*/ 1458976 h 1981200"/>
                  <a:gd name="connsiteX1" fmla="*/ 1308608 w 4773168"/>
                  <a:gd name="connsiteY1" fmla="*/ 1463040 h 1981200"/>
                  <a:gd name="connsiteX2" fmla="*/ 1481328 w 4773168"/>
                  <a:gd name="connsiteY2" fmla="*/ 1615440 h 1981200"/>
                  <a:gd name="connsiteX3" fmla="*/ 1857248 w 4773168"/>
                  <a:gd name="connsiteY3" fmla="*/ 101600 h 1981200"/>
                  <a:gd name="connsiteX4" fmla="*/ 2070608 w 4773168"/>
                  <a:gd name="connsiteY4" fmla="*/ 995680 h 1981200"/>
                  <a:gd name="connsiteX5" fmla="*/ 2101088 w 4773168"/>
                  <a:gd name="connsiteY5" fmla="*/ 0 h 1981200"/>
                  <a:gd name="connsiteX6" fmla="*/ 2253488 w 4773168"/>
                  <a:gd name="connsiteY6" fmla="*/ 1981200 h 1981200"/>
                  <a:gd name="connsiteX7" fmla="*/ 2263648 w 4773168"/>
                  <a:gd name="connsiteY7" fmla="*/ 10160 h 1981200"/>
                  <a:gd name="connsiteX8" fmla="*/ 2375408 w 4773168"/>
                  <a:gd name="connsiteY8" fmla="*/ 1981200 h 1981200"/>
                  <a:gd name="connsiteX9" fmla="*/ 2466848 w 4773168"/>
                  <a:gd name="connsiteY9" fmla="*/ 1473200 h 1981200"/>
                  <a:gd name="connsiteX10" fmla="*/ 4773168 w 4773168"/>
                  <a:gd name="connsiteY10" fmla="*/ 1473835 h 1981200"/>
                  <a:gd name="connsiteX0" fmla="*/ 0 w 3464560"/>
                  <a:gd name="connsiteY0" fmla="*/ 1463040 h 1981200"/>
                  <a:gd name="connsiteX1" fmla="*/ 172720 w 3464560"/>
                  <a:gd name="connsiteY1" fmla="*/ 1615440 h 1981200"/>
                  <a:gd name="connsiteX2" fmla="*/ 548640 w 3464560"/>
                  <a:gd name="connsiteY2" fmla="*/ 101600 h 1981200"/>
                  <a:gd name="connsiteX3" fmla="*/ 762000 w 3464560"/>
                  <a:gd name="connsiteY3" fmla="*/ 995680 h 1981200"/>
                  <a:gd name="connsiteX4" fmla="*/ 792480 w 3464560"/>
                  <a:gd name="connsiteY4" fmla="*/ 0 h 1981200"/>
                  <a:gd name="connsiteX5" fmla="*/ 944880 w 3464560"/>
                  <a:gd name="connsiteY5" fmla="*/ 1981200 h 1981200"/>
                  <a:gd name="connsiteX6" fmla="*/ 955040 w 3464560"/>
                  <a:gd name="connsiteY6" fmla="*/ 10160 h 1981200"/>
                  <a:gd name="connsiteX7" fmla="*/ 1066800 w 3464560"/>
                  <a:gd name="connsiteY7" fmla="*/ 1981200 h 1981200"/>
                  <a:gd name="connsiteX8" fmla="*/ 1158240 w 3464560"/>
                  <a:gd name="connsiteY8" fmla="*/ 1473200 h 1981200"/>
                  <a:gd name="connsiteX9" fmla="*/ 3464560 w 3464560"/>
                  <a:gd name="connsiteY9" fmla="*/ 1473835 h 1981200"/>
                  <a:gd name="connsiteX0" fmla="*/ 0 w 3291840"/>
                  <a:gd name="connsiteY0" fmla="*/ 1615440 h 1981200"/>
                  <a:gd name="connsiteX1" fmla="*/ 375920 w 3291840"/>
                  <a:gd name="connsiteY1" fmla="*/ 101600 h 1981200"/>
                  <a:gd name="connsiteX2" fmla="*/ 589280 w 3291840"/>
                  <a:gd name="connsiteY2" fmla="*/ 995680 h 1981200"/>
                  <a:gd name="connsiteX3" fmla="*/ 619760 w 3291840"/>
                  <a:gd name="connsiteY3" fmla="*/ 0 h 1981200"/>
                  <a:gd name="connsiteX4" fmla="*/ 772160 w 3291840"/>
                  <a:gd name="connsiteY4" fmla="*/ 1981200 h 1981200"/>
                  <a:gd name="connsiteX5" fmla="*/ 782320 w 3291840"/>
                  <a:gd name="connsiteY5" fmla="*/ 10160 h 1981200"/>
                  <a:gd name="connsiteX6" fmla="*/ 894080 w 3291840"/>
                  <a:gd name="connsiteY6" fmla="*/ 1981200 h 1981200"/>
                  <a:gd name="connsiteX7" fmla="*/ 985520 w 3291840"/>
                  <a:gd name="connsiteY7" fmla="*/ 1473200 h 1981200"/>
                  <a:gd name="connsiteX8" fmla="*/ 3291840 w 3291840"/>
                  <a:gd name="connsiteY8" fmla="*/ 1473835 h 1981200"/>
                  <a:gd name="connsiteX0" fmla="*/ 0 w 2915920"/>
                  <a:gd name="connsiteY0" fmla="*/ 101600 h 1981200"/>
                  <a:gd name="connsiteX1" fmla="*/ 213360 w 2915920"/>
                  <a:gd name="connsiteY1" fmla="*/ 995680 h 1981200"/>
                  <a:gd name="connsiteX2" fmla="*/ 243840 w 2915920"/>
                  <a:gd name="connsiteY2" fmla="*/ 0 h 1981200"/>
                  <a:gd name="connsiteX3" fmla="*/ 396240 w 2915920"/>
                  <a:gd name="connsiteY3" fmla="*/ 1981200 h 1981200"/>
                  <a:gd name="connsiteX4" fmla="*/ 406400 w 2915920"/>
                  <a:gd name="connsiteY4" fmla="*/ 10160 h 1981200"/>
                  <a:gd name="connsiteX5" fmla="*/ 518160 w 2915920"/>
                  <a:gd name="connsiteY5" fmla="*/ 1981200 h 1981200"/>
                  <a:gd name="connsiteX6" fmla="*/ 609600 w 2915920"/>
                  <a:gd name="connsiteY6" fmla="*/ 1473200 h 1981200"/>
                  <a:gd name="connsiteX7" fmla="*/ 2915920 w 2915920"/>
                  <a:gd name="connsiteY7" fmla="*/ 1473835 h 1981200"/>
                  <a:gd name="connsiteX0" fmla="*/ 0 w 2702560"/>
                  <a:gd name="connsiteY0" fmla="*/ 995680 h 1981200"/>
                  <a:gd name="connsiteX1" fmla="*/ 30480 w 2702560"/>
                  <a:gd name="connsiteY1" fmla="*/ 0 h 1981200"/>
                  <a:gd name="connsiteX2" fmla="*/ 182880 w 2702560"/>
                  <a:gd name="connsiteY2" fmla="*/ 1981200 h 1981200"/>
                  <a:gd name="connsiteX3" fmla="*/ 193040 w 2702560"/>
                  <a:gd name="connsiteY3" fmla="*/ 10160 h 1981200"/>
                  <a:gd name="connsiteX4" fmla="*/ 304800 w 2702560"/>
                  <a:gd name="connsiteY4" fmla="*/ 1981200 h 1981200"/>
                  <a:gd name="connsiteX5" fmla="*/ 396240 w 2702560"/>
                  <a:gd name="connsiteY5" fmla="*/ 1473200 h 1981200"/>
                  <a:gd name="connsiteX6" fmla="*/ 2702560 w 2702560"/>
                  <a:gd name="connsiteY6" fmla="*/ 1473835 h 1981200"/>
                  <a:gd name="connsiteX0" fmla="*/ 0 w 396240"/>
                  <a:gd name="connsiteY0" fmla="*/ 995680 h 1981200"/>
                  <a:gd name="connsiteX1" fmla="*/ 30480 w 396240"/>
                  <a:gd name="connsiteY1" fmla="*/ 0 h 1981200"/>
                  <a:gd name="connsiteX2" fmla="*/ 182880 w 396240"/>
                  <a:gd name="connsiteY2" fmla="*/ 1981200 h 1981200"/>
                  <a:gd name="connsiteX3" fmla="*/ 193040 w 396240"/>
                  <a:gd name="connsiteY3" fmla="*/ 10160 h 1981200"/>
                  <a:gd name="connsiteX4" fmla="*/ 304800 w 396240"/>
                  <a:gd name="connsiteY4" fmla="*/ 1981200 h 1981200"/>
                  <a:gd name="connsiteX5" fmla="*/ 396240 w 396240"/>
                  <a:gd name="connsiteY5" fmla="*/ 1473200 h 1981200"/>
                  <a:gd name="connsiteX0" fmla="*/ 0 w 359268"/>
                  <a:gd name="connsiteY0" fmla="*/ 995680 h 1981200"/>
                  <a:gd name="connsiteX1" fmla="*/ 30480 w 359268"/>
                  <a:gd name="connsiteY1" fmla="*/ 0 h 1981200"/>
                  <a:gd name="connsiteX2" fmla="*/ 182880 w 359268"/>
                  <a:gd name="connsiteY2" fmla="*/ 1981200 h 1981200"/>
                  <a:gd name="connsiteX3" fmla="*/ 193040 w 359268"/>
                  <a:gd name="connsiteY3" fmla="*/ 10160 h 1981200"/>
                  <a:gd name="connsiteX4" fmla="*/ 304800 w 359268"/>
                  <a:gd name="connsiteY4" fmla="*/ 1981200 h 1981200"/>
                  <a:gd name="connsiteX5" fmla="*/ 359268 w 359268"/>
                  <a:gd name="connsiteY5" fmla="*/ 1668208 h 1981200"/>
                  <a:gd name="connsiteX0" fmla="*/ 0 w 369127"/>
                  <a:gd name="connsiteY0" fmla="*/ 995680 h 1981200"/>
                  <a:gd name="connsiteX1" fmla="*/ 30480 w 369127"/>
                  <a:gd name="connsiteY1" fmla="*/ 0 h 1981200"/>
                  <a:gd name="connsiteX2" fmla="*/ 182880 w 369127"/>
                  <a:gd name="connsiteY2" fmla="*/ 1981200 h 1981200"/>
                  <a:gd name="connsiteX3" fmla="*/ 193040 w 369127"/>
                  <a:gd name="connsiteY3" fmla="*/ 10160 h 1981200"/>
                  <a:gd name="connsiteX4" fmla="*/ 304800 w 369127"/>
                  <a:gd name="connsiteY4" fmla="*/ 1981200 h 1981200"/>
                  <a:gd name="connsiteX5" fmla="*/ 369127 w 369127"/>
                  <a:gd name="connsiteY5" fmla="*/ 1643445 h 1981200"/>
                  <a:gd name="connsiteX0" fmla="*/ 0 w 370976"/>
                  <a:gd name="connsiteY0" fmla="*/ 995680 h 1981200"/>
                  <a:gd name="connsiteX1" fmla="*/ 30480 w 370976"/>
                  <a:gd name="connsiteY1" fmla="*/ 0 h 1981200"/>
                  <a:gd name="connsiteX2" fmla="*/ 182880 w 370976"/>
                  <a:gd name="connsiteY2" fmla="*/ 1981200 h 1981200"/>
                  <a:gd name="connsiteX3" fmla="*/ 193040 w 370976"/>
                  <a:gd name="connsiteY3" fmla="*/ 10160 h 1981200"/>
                  <a:gd name="connsiteX4" fmla="*/ 304800 w 370976"/>
                  <a:gd name="connsiteY4" fmla="*/ 1981200 h 1981200"/>
                  <a:gd name="connsiteX5" fmla="*/ 370976 w 370976"/>
                  <a:gd name="connsiteY5" fmla="*/ 1655053 h 1981200"/>
                  <a:gd name="connsiteX0" fmla="*/ 0 w 367279"/>
                  <a:gd name="connsiteY0" fmla="*/ 995680 h 1981200"/>
                  <a:gd name="connsiteX1" fmla="*/ 30480 w 367279"/>
                  <a:gd name="connsiteY1" fmla="*/ 0 h 1981200"/>
                  <a:gd name="connsiteX2" fmla="*/ 182880 w 367279"/>
                  <a:gd name="connsiteY2" fmla="*/ 1981200 h 1981200"/>
                  <a:gd name="connsiteX3" fmla="*/ 193040 w 367279"/>
                  <a:gd name="connsiteY3" fmla="*/ 10160 h 1981200"/>
                  <a:gd name="connsiteX4" fmla="*/ 304800 w 367279"/>
                  <a:gd name="connsiteY4" fmla="*/ 1981200 h 1981200"/>
                  <a:gd name="connsiteX5" fmla="*/ 367279 w 367279"/>
                  <a:gd name="connsiteY5" fmla="*/ 1652731 h 1981200"/>
                  <a:gd name="connsiteX0" fmla="*/ 0 w 369128"/>
                  <a:gd name="connsiteY0" fmla="*/ 995680 h 1981200"/>
                  <a:gd name="connsiteX1" fmla="*/ 30480 w 369128"/>
                  <a:gd name="connsiteY1" fmla="*/ 0 h 1981200"/>
                  <a:gd name="connsiteX2" fmla="*/ 182880 w 369128"/>
                  <a:gd name="connsiteY2" fmla="*/ 1981200 h 1981200"/>
                  <a:gd name="connsiteX3" fmla="*/ 193040 w 369128"/>
                  <a:gd name="connsiteY3" fmla="*/ 10160 h 1981200"/>
                  <a:gd name="connsiteX4" fmla="*/ 304800 w 369128"/>
                  <a:gd name="connsiteY4" fmla="*/ 1981200 h 1981200"/>
                  <a:gd name="connsiteX5" fmla="*/ 369128 w 369128"/>
                  <a:gd name="connsiteY5" fmla="*/ 1645767 h 198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9128" h="1981200">
                    <a:moveTo>
                      <a:pt x="0" y="995680"/>
                    </a:moveTo>
                    <a:lnTo>
                      <a:pt x="30480" y="0"/>
                    </a:lnTo>
                    <a:lnTo>
                      <a:pt x="182880" y="1981200"/>
                    </a:lnTo>
                    <a:cubicBezTo>
                      <a:pt x="186267" y="1324187"/>
                      <a:pt x="189653" y="667173"/>
                      <a:pt x="193040" y="10160"/>
                    </a:cubicBezTo>
                    <a:lnTo>
                      <a:pt x="304800" y="1981200"/>
                    </a:lnTo>
                    <a:cubicBezTo>
                      <a:pt x="335280" y="1811867"/>
                      <a:pt x="338648" y="1815100"/>
                      <a:pt x="369128" y="1645767"/>
                    </a:cubicBezTo>
                  </a:path>
                </a:pathLst>
              </a:custGeom>
              <a:noFill/>
              <a:ln w="38100">
                <a:noFill/>
              </a:ln>
            </p:spPr>
            <p:txBody>
              <a:bodyPr rtlCol="0" anchor="ctr"/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6F7E078B-7940-76F1-33A1-A4707712DBB7}"/>
                  </a:ext>
                </a:extLst>
              </p:cNvPr>
              <p:cNvSpPr/>
              <p:nvPr/>
            </p:nvSpPr>
            <p:spPr>
              <a:xfrm>
                <a:off x="8934147" y="2122463"/>
                <a:ext cx="130175" cy="819785"/>
              </a:xfrm>
              <a:custGeom>
                <a:avLst/>
                <a:gdLst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600"/>
                  <a:gd name="connsiteX1" fmla="*/ 629920 w 5054600"/>
                  <a:gd name="connsiteY1" fmla="*/ 1356360 h 1625600"/>
                  <a:gd name="connsiteX2" fmla="*/ 1021080 w 5054600"/>
                  <a:gd name="connsiteY2" fmla="*/ 1021080 h 1625600"/>
                  <a:gd name="connsiteX3" fmla="*/ 1457960 w 5054600"/>
                  <a:gd name="connsiteY3" fmla="*/ 1361440 h 1625600"/>
                  <a:gd name="connsiteX4" fmla="*/ 2067560 w 5054600"/>
                  <a:gd name="connsiteY4" fmla="*/ 1361440 h 1625600"/>
                  <a:gd name="connsiteX5" fmla="*/ 2219960 w 5054600"/>
                  <a:gd name="connsiteY5" fmla="*/ 1625600 h 1625600"/>
                  <a:gd name="connsiteX6" fmla="*/ 2534920 w 5054600"/>
                  <a:gd name="connsiteY6" fmla="*/ 0 h 1625600"/>
                  <a:gd name="connsiteX7" fmla="*/ 2773680 w 5054600"/>
                  <a:gd name="connsiteY7" fmla="*/ 1625600 h 1625600"/>
                  <a:gd name="connsiteX8" fmla="*/ 2936240 w 5054600"/>
                  <a:gd name="connsiteY8" fmla="*/ 1366520 h 1625600"/>
                  <a:gd name="connsiteX9" fmla="*/ 3469640 w 5054600"/>
                  <a:gd name="connsiteY9" fmla="*/ 1366520 h 1625600"/>
                  <a:gd name="connsiteX10" fmla="*/ 3835400 w 5054600"/>
                  <a:gd name="connsiteY10" fmla="*/ 772160 h 1625600"/>
                  <a:gd name="connsiteX11" fmla="*/ 4267200 w 5054600"/>
                  <a:gd name="connsiteY11" fmla="*/ 1366520 h 1625600"/>
                  <a:gd name="connsiteX12" fmla="*/ 5054600 w 5054600"/>
                  <a:gd name="connsiteY12" fmla="*/ 1366520 h 1625600"/>
                  <a:gd name="connsiteX0" fmla="*/ 0 w 5054600"/>
                  <a:gd name="connsiteY0" fmla="*/ 1356360 h 1625738"/>
                  <a:gd name="connsiteX1" fmla="*/ 629920 w 5054600"/>
                  <a:gd name="connsiteY1" fmla="*/ 1356360 h 1625738"/>
                  <a:gd name="connsiteX2" fmla="*/ 1021080 w 5054600"/>
                  <a:gd name="connsiteY2" fmla="*/ 1021080 h 1625738"/>
                  <a:gd name="connsiteX3" fmla="*/ 1457960 w 5054600"/>
                  <a:gd name="connsiteY3" fmla="*/ 1361440 h 1625738"/>
                  <a:gd name="connsiteX4" fmla="*/ 2067560 w 5054600"/>
                  <a:gd name="connsiteY4" fmla="*/ 1361440 h 1625738"/>
                  <a:gd name="connsiteX5" fmla="*/ 2219960 w 5054600"/>
                  <a:gd name="connsiteY5" fmla="*/ 1625600 h 1625738"/>
                  <a:gd name="connsiteX6" fmla="*/ 2534920 w 5054600"/>
                  <a:gd name="connsiteY6" fmla="*/ 0 h 1625738"/>
                  <a:gd name="connsiteX7" fmla="*/ 2773680 w 5054600"/>
                  <a:gd name="connsiteY7" fmla="*/ 1625600 h 1625738"/>
                  <a:gd name="connsiteX8" fmla="*/ 2936240 w 5054600"/>
                  <a:gd name="connsiteY8" fmla="*/ 1366520 h 1625738"/>
                  <a:gd name="connsiteX9" fmla="*/ 3469640 w 5054600"/>
                  <a:gd name="connsiteY9" fmla="*/ 1366520 h 1625738"/>
                  <a:gd name="connsiteX10" fmla="*/ 3835400 w 5054600"/>
                  <a:gd name="connsiteY10" fmla="*/ 772160 h 1625738"/>
                  <a:gd name="connsiteX11" fmla="*/ 4267200 w 5054600"/>
                  <a:gd name="connsiteY11" fmla="*/ 1366520 h 1625738"/>
                  <a:gd name="connsiteX12" fmla="*/ 5054600 w 5054600"/>
                  <a:gd name="connsiteY12" fmla="*/ 1366520 h 1625738"/>
                  <a:gd name="connsiteX0" fmla="*/ 0 w 5054600"/>
                  <a:gd name="connsiteY0" fmla="*/ 1356360 h 1625738"/>
                  <a:gd name="connsiteX1" fmla="*/ 629920 w 5054600"/>
                  <a:gd name="connsiteY1" fmla="*/ 1356360 h 1625738"/>
                  <a:gd name="connsiteX2" fmla="*/ 1021080 w 5054600"/>
                  <a:gd name="connsiteY2" fmla="*/ 1021080 h 1625738"/>
                  <a:gd name="connsiteX3" fmla="*/ 1457960 w 5054600"/>
                  <a:gd name="connsiteY3" fmla="*/ 1361440 h 1625738"/>
                  <a:gd name="connsiteX4" fmla="*/ 2067560 w 5054600"/>
                  <a:gd name="connsiteY4" fmla="*/ 1361440 h 1625738"/>
                  <a:gd name="connsiteX5" fmla="*/ 2219960 w 5054600"/>
                  <a:gd name="connsiteY5" fmla="*/ 1625600 h 1625738"/>
                  <a:gd name="connsiteX6" fmla="*/ 2534920 w 5054600"/>
                  <a:gd name="connsiteY6" fmla="*/ 0 h 1625738"/>
                  <a:gd name="connsiteX7" fmla="*/ 2773680 w 5054600"/>
                  <a:gd name="connsiteY7" fmla="*/ 1625600 h 1625738"/>
                  <a:gd name="connsiteX8" fmla="*/ 2936240 w 5054600"/>
                  <a:gd name="connsiteY8" fmla="*/ 1366520 h 1625738"/>
                  <a:gd name="connsiteX9" fmla="*/ 3469640 w 5054600"/>
                  <a:gd name="connsiteY9" fmla="*/ 1366520 h 1625738"/>
                  <a:gd name="connsiteX10" fmla="*/ 3835400 w 5054600"/>
                  <a:gd name="connsiteY10" fmla="*/ 772160 h 1625738"/>
                  <a:gd name="connsiteX11" fmla="*/ 4267200 w 5054600"/>
                  <a:gd name="connsiteY11" fmla="*/ 1366520 h 1625738"/>
                  <a:gd name="connsiteX12" fmla="*/ 5054600 w 5054600"/>
                  <a:gd name="connsiteY12" fmla="*/ 1366520 h 1625738"/>
                  <a:gd name="connsiteX0" fmla="*/ 0 w 5054600"/>
                  <a:gd name="connsiteY0" fmla="*/ 1451491 h 1720869"/>
                  <a:gd name="connsiteX1" fmla="*/ 629920 w 5054600"/>
                  <a:gd name="connsiteY1" fmla="*/ 1451491 h 1720869"/>
                  <a:gd name="connsiteX2" fmla="*/ 1021080 w 5054600"/>
                  <a:gd name="connsiteY2" fmla="*/ 1116211 h 1720869"/>
                  <a:gd name="connsiteX3" fmla="*/ 1457960 w 5054600"/>
                  <a:gd name="connsiteY3" fmla="*/ 1456571 h 1720869"/>
                  <a:gd name="connsiteX4" fmla="*/ 2067560 w 5054600"/>
                  <a:gd name="connsiteY4" fmla="*/ 1456571 h 1720869"/>
                  <a:gd name="connsiteX5" fmla="*/ 2219960 w 5054600"/>
                  <a:gd name="connsiteY5" fmla="*/ 1720731 h 1720869"/>
                  <a:gd name="connsiteX6" fmla="*/ 2534920 w 5054600"/>
                  <a:gd name="connsiteY6" fmla="*/ 95131 h 1720869"/>
                  <a:gd name="connsiteX7" fmla="*/ 2773680 w 5054600"/>
                  <a:gd name="connsiteY7" fmla="*/ 1720731 h 1720869"/>
                  <a:gd name="connsiteX8" fmla="*/ 2936240 w 5054600"/>
                  <a:gd name="connsiteY8" fmla="*/ 1461651 h 1720869"/>
                  <a:gd name="connsiteX9" fmla="*/ 3469640 w 5054600"/>
                  <a:gd name="connsiteY9" fmla="*/ 1461651 h 1720869"/>
                  <a:gd name="connsiteX10" fmla="*/ 3835400 w 5054600"/>
                  <a:gd name="connsiteY10" fmla="*/ 867291 h 1720869"/>
                  <a:gd name="connsiteX11" fmla="*/ 4267200 w 5054600"/>
                  <a:gd name="connsiteY11" fmla="*/ 1461651 h 1720869"/>
                  <a:gd name="connsiteX12" fmla="*/ 5054600 w 5054600"/>
                  <a:gd name="connsiteY12" fmla="*/ 1461651 h 172086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69640 w 5054600"/>
                  <a:gd name="connsiteY9" fmla="*/ 1366521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35400 w 5054600"/>
                  <a:gd name="connsiteY10" fmla="*/ 772161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7200 w 5054600"/>
                  <a:gd name="connsiteY11" fmla="*/ 1366521 h 1625739"/>
                  <a:gd name="connsiteX12" fmla="*/ 5054600 w 5054600"/>
                  <a:gd name="connsiteY12" fmla="*/ 1366521 h 1625739"/>
                  <a:gd name="connsiteX0" fmla="*/ 0 w 5054600"/>
                  <a:gd name="connsiteY0" fmla="*/ 1356361 h 1625739"/>
                  <a:gd name="connsiteX1" fmla="*/ 629920 w 5054600"/>
                  <a:gd name="connsiteY1" fmla="*/ 1356361 h 1625739"/>
                  <a:gd name="connsiteX2" fmla="*/ 1021080 w 5054600"/>
                  <a:gd name="connsiteY2" fmla="*/ 1021081 h 1625739"/>
                  <a:gd name="connsiteX3" fmla="*/ 1457960 w 5054600"/>
                  <a:gd name="connsiteY3" fmla="*/ 1361441 h 1625739"/>
                  <a:gd name="connsiteX4" fmla="*/ 2067560 w 5054600"/>
                  <a:gd name="connsiteY4" fmla="*/ 1361441 h 1625739"/>
                  <a:gd name="connsiteX5" fmla="*/ 2219960 w 5054600"/>
                  <a:gd name="connsiteY5" fmla="*/ 1625601 h 1625739"/>
                  <a:gd name="connsiteX6" fmla="*/ 2534920 w 5054600"/>
                  <a:gd name="connsiteY6" fmla="*/ 1 h 1625739"/>
                  <a:gd name="connsiteX7" fmla="*/ 2773680 w 5054600"/>
                  <a:gd name="connsiteY7" fmla="*/ 1625601 h 1625739"/>
                  <a:gd name="connsiteX8" fmla="*/ 2936240 w 5054600"/>
                  <a:gd name="connsiteY8" fmla="*/ 1366521 h 1625739"/>
                  <a:gd name="connsiteX9" fmla="*/ 3446780 w 5054600"/>
                  <a:gd name="connsiteY9" fmla="*/ 1360806 h 1625739"/>
                  <a:gd name="connsiteX10" fmla="*/ 3843020 w 5054600"/>
                  <a:gd name="connsiteY10" fmla="*/ 770256 h 1625739"/>
                  <a:gd name="connsiteX11" fmla="*/ 4269740 w 5054600"/>
                  <a:gd name="connsiteY11" fmla="*/ 1361441 h 1625739"/>
                  <a:gd name="connsiteX12" fmla="*/ 5054600 w 5054600"/>
                  <a:gd name="connsiteY12" fmla="*/ 1366521 h 1625739"/>
                  <a:gd name="connsiteX0" fmla="*/ 0 w 4424680"/>
                  <a:gd name="connsiteY0" fmla="*/ 1356361 h 1625739"/>
                  <a:gd name="connsiteX1" fmla="*/ 391160 w 4424680"/>
                  <a:gd name="connsiteY1" fmla="*/ 1021081 h 1625739"/>
                  <a:gd name="connsiteX2" fmla="*/ 828040 w 4424680"/>
                  <a:gd name="connsiteY2" fmla="*/ 1361441 h 1625739"/>
                  <a:gd name="connsiteX3" fmla="*/ 1437640 w 4424680"/>
                  <a:gd name="connsiteY3" fmla="*/ 1361441 h 1625739"/>
                  <a:gd name="connsiteX4" fmla="*/ 1590040 w 4424680"/>
                  <a:gd name="connsiteY4" fmla="*/ 1625601 h 1625739"/>
                  <a:gd name="connsiteX5" fmla="*/ 1905000 w 4424680"/>
                  <a:gd name="connsiteY5" fmla="*/ 1 h 1625739"/>
                  <a:gd name="connsiteX6" fmla="*/ 2143760 w 4424680"/>
                  <a:gd name="connsiteY6" fmla="*/ 1625601 h 1625739"/>
                  <a:gd name="connsiteX7" fmla="*/ 2306320 w 4424680"/>
                  <a:gd name="connsiteY7" fmla="*/ 1366521 h 1625739"/>
                  <a:gd name="connsiteX8" fmla="*/ 2816860 w 4424680"/>
                  <a:gd name="connsiteY8" fmla="*/ 1360806 h 1625739"/>
                  <a:gd name="connsiteX9" fmla="*/ 3213100 w 4424680"/>
                  <a:gd name="connsiteY9" fmla="*/ 770256 h 1625739"/>
                  <a:gd name="connsiteX10" fmla="*/ 3639820 w 4424680"/>
                  <a:gd name="connsiteY10" fmla="*/ 1361441 h 1625739"/>
                  <a:gd name="connsiteX11" fmla="*/ 4424680 w 4424680"/>
                  <a:gd name="connsiteY11" fmla="*/ 1366521 h 1625739"/>
                  <a:gd name="connsiteX0" fmla="*/ 0 w 4033520"/>
                  <a:gd name="connsiteY0" fmla="*/ 1021081 h 1625739"/>
                  <a:gd name="connsiteX1" fmla="*/ 436880 w 4033520"/>
                  <a:gd name="connsiteY1" fmla="*/ 1361441 h 1625739"/>
                  <a:gd name="connsiteX2" fmla="*/ 1046480 w 4033520"/>
                  <a:gd name="connsiteY2" fmla="*/ 1361441 h 1625739"/>
                  <a:gd name="connsiteX3" fmla="*/ 1198880 w 4033520"/>
                  <a:gd name="connsiteY3" fmla="*/ 1625601 h 1625739"/>
                  <a:gd name="connsiteX4" fmla="*/ 1513840 w 4033520"/>
                  <a:gd name="connsiteY4" fmla="*/ 1 h 1625739"/>
                  <a:gd name="connsiteX5" fmla="*/ 1752600 w 4033520"/>
                  <a:gd name="connsiteY5" fmla="*/ 1625601 h 1625739"/>
                  <a:gd name="connsiteX6" fmla="*/ 1915160 w 4033520"/>
                  <a:gd name="connsiteY6" fmla="*/ 1366521 h 1625739"/>
                  <a:gd name="connsiteX7" fmla="*/ 2425700 w 4033520"/>
                  <a:gd name="connsiteY7" fmla="*/ 1360806 h 1625739"/>
                  <a:gd name="connsiteX8" fmla="*/ 2821940 w 4033520"/>
                  <a:gd name="connsiteY8" fmla="*/ 770256 h 1625739"/>
                  <a:gd name="connsiteX9" fmla="*/ 3248660 w 4033520"/>
                  <a:gd name="connsiteY9" fmla="*/ 1361441 h 1625739"/>
                  <a:gd name="connsiteX10" fmla="*/ 4033520 w 4033520"/>
                  <a:gd name="connsiteY10" fmla="*/ 1366521 h 1625739"/>
                  <a:gd name="connsiteX0" fmla="*/ 0 w 3596640"/>
                  <a:gd name="connsiteY0" fmla="*/ 1361441 h 1625739"/>
                  <a:gd name="connsiteX1" fmla="*/ 609600 w 3596640"/>
                  <a:gd name="connsiteY1" fmla="*/ 1361441 h 1625739"/>
                  <a:gd name="connsiteX2" fmla="*/ 762000 w 3596640"/>
                  <a:gd name="connsiteY2" fmla="*/ 1625601 h 1625739"/>
                  <a:gd name="connsiteX3" fmla="*/ 1076960 w 3596640"/>
                  <a:gd name="connsiteY3" fmla="*/ 1 h 1625739"/>
                  <a:gd name="connsiteX4" fmla="*/ 1315720 w 3596640"/>
                  <a:gd name="connsiteY4" fmla="*/ 1625601 h 1625739"/>
                  <a:gd name="connsiteX5" fmla="*/ 1478280 w 3596640"/>
                  <a:gd name="connsiteY5" fmla="*/ 1366521 h 1625739"/>
                  <a:gd name="connsiteX6" fmla="*/ 1988820 w 3596640"/>
                  <a:gd name="connsiteY6" fmla="*/ 1360806 h 1625739"/>
                  <a:gd name="connsiteX7" fmla="*/ 2385060 w 3596640"/>
                  <a:gd name="connsiteY7" fmla="*/ 770256 h 1625739"/>
                  <a:gd name="connsiteX8" fmla="*/ 2811780 w 3596640"/>
                  <a:gd name="connsiteY8" fmla="*/ 1361441 h 1625739"/>
                  <a:gd name="connsiteX9" fmla="*/ 3596640 w 3596640"/>
                  <a:gd name="connsiteY9" fmla="*/ 1366521 h 1625739"/>
                  <a:gd name="connsiteX0" fmla="*/ 0 w 2987040"/>
                  <a:gd name="connsiteY0" fmla="*/ 1361441 h 1625739"/>
                  <a:gd name="connsiteX1" fmla="*/ 152400 w 2987040"/>
                  <a:gd name="connsiteY1" fmla="*/ 1625601 h 1625739"/>
                  <a:gd name="connsiteX2" fmla="*/ 467360 w 2987040"/>
                  <a:gd name="connsiteY2" fmla="*/ 1 h 1625739"/>
                  <a:gd name="connsiteX3" fmla="*/ 706120 w 2987040"/>
                  <a:gd name="connsiteY3" fmla="*/ 1625601 h 1625739"/>
                  <a:gd name="connsiteX4" fmla="*/ 868680 w 2987040"/>
                  <a:gd name="connsiteY4" fmla="*/ 1366521 h 1625739"/>
                  <a:gd name="connsiteX5" fmla="*/ 1379220 w 2987040"/>
                  <a:gd name="connsiteY5" fmla="*/ 1360806 h 1625739"/>
                  <a:gd name="connsiteX6" fmla="*/ 1775460 w 2987040"/>
                  <a:gd name="connsiteY6" fmla="*/ 770256 h 1625739"/>
                  <a:gd name="connsiteX7" fmla="*/ 2202180 w 2987040"/>
                  <a:gd name="connsiteY7" fmla="*/ 1361441 h 1625739"/>
                  <a:gd name="connsiteX8" fmla="*/ 2987040 w 2987040"/>
                  <a:gd name="connsiteY8" fmla="*/ 1366521 h 1625739"/>
                  <a:gd name="connsiteX0" fmla="*/ 0 w 2834640"/>
                  <a:gd name="connsiteY0" fmla="*/ 1625601 h 1625635"/>
                  <a:gd name="connsiteX1" fmla="*/ 314960 w 2834640"/>
                  <a:gd name="connsiteY1" fmla="*/ 1 h 1625635"/>
                  <a:gd name="connsiteX2" fmla="*/ 553720 w 2834640"/>
                  <a:gd name="connsiteY2" fmla="*/ 1625601 h 1625635"/>
                  <a:gd name="connsiteX3" fmla="*/ 716280 w 2834640"/>
                  <a:gd name="connsiteY3" fmla="*/ 1366521 h 1625635"/>
                  <a:gd name="connsiteX4" fmla="*/ 1226820 w 2834640"/>
                  <a:gd name="connsiteY4" fmla="*/ 1360806 h 1625635"/>
                  <a:gd name="connsiteX5" fmla="*/ 1623060 w 2834640"/>
                  <a:gd name="connsiteY5" fmla="*/ 770256 h 1625635"/>
                  <a:gd name="connsiteX6" fmla="*/ 2049780 w 2834640"/>
                  <a:gd name="connsiteY6" fmla="*/ 1361441 h 1625635"/>
                  <a:gd name="connsiteX7" fmla="*/ 2834640 w 2834640"/>
                  <a:gd name="connsiteY7" fmla="*/ 1366521 h 1625635"/>
                  <a:gd name="connsiteX0" fmla="*/ 0 w 2519680"/>
                  <a:gd name="connsiteY0" fmla="*/ 1 h 1625606"/>
                  <a:gd name="connsiteX1" fmla="*/ 238760 w 2519680"/>
                  <a:gd name="connsiteY1" fmla="*/ 1625601 h 1625606"/>
                  <a:gd name="connsiteX2" fmla="*/ 401320 w 2519680"/>
                  <a:gd name="connsiteY2" fmla="*/ 1366521 h 1625606"/>
                  <a:gd name="connsiteX3" fmla="*/ 911860 w 2519680"/>
                  <a:gd name="connsiteY3" fmla="*/ 1360806 h 1625606"/>
                  <a:gd name="connsiteX4" fmla="*/ 1308100 w 2519680"/>
                  <a:gd name="connsiteY4" fmla="*/ 770256 h 1625606"/>
                  <a:gd name="connsiteX5" fmla="*/ 1734820 w 2519680"/>
                  <a:gd name="connsiteY5" fmla="*/ 1361441 h 1625606"/>
                  <a:gd name="connsiteX6" fmla="*/ 2519680 w 2519680"/>
                  <a:gd name="connsiteY6" fmla="*/ 1366521 h 1625606"/>
                  <a:gd name="connsiteX0" fmla="*/ 0 w 2519680"/>
                  <a:gd name="connsiteY0" fmla="*/ 1 h 1700247"/>
                  <a:gd name="connsiteX1" fmla="*/ 238760 w 2519680"/>
                  <a:gd name="connsiteY1" fmla="*/ 1625601 h 1700247"/>
                  <a:gd name="connsiteX2" fmla="*/ 911860 w 2519680"/>
                  <a:gd name="connsiteY2" fmla="*/ 1360806 h 1700247"/>
                  <a:gd name="connsiteX3" fmla="*/ 1308100 w 2519680"/>
                  <a:gd name="connsiteY3" fmla="*/ 770256 h 1700247"/>
                  <a:gd name="connsiteX4" fmla="*/ 1734820 w 2519680"/>
                  <a:gd name="connsiteY4" fmla="*/ 1361441 h 1700247"/>
                  <a:gd name="connsiteX5" fmla="*/ 2519680 w 2519680"/>
                  <a:gd name="connsiteY5" fmla="*/ 1366521 h 1700247"/>
                  <a:gd name="connsiteX0" fmla="*/ 0 w 2519680"/>
                  <a:gd name="connsiteY0" fmla="*/ 1 h 1637639"/>
                  <a:gd name="connsiteX1" fmla="*/ 238760 w 2519680"/>
                  <a:gd name="connsiteY1" fmla="*/ 1625601 h 1637639"/>
                  <a:gd name="connsiteX2" fmla="*/ 1308100 w 2519680"/>
                  <a:gd name="connsiteY2" fmla="*/ 770256 h 1637639"/>
                  <a:gd name="connsiteX3" fmla="*/ 1734820 w 2519680"/>
                  <a:gd name="connsiteY3" fmla="*/ 1361441 h 1637639"/>
                  <a:gd name="connsiteX4" fmla="*/ 2519680 w 2519680"/>
                  <a:gd name="connsiteY4" fmla="*/ 1366521 h 1637639"/>
                  <a:gd name="connsiteX0" fmla="*/ 0 w 2519680"/>
                  <a:gd name="connsiteY0" fmla="*/ 1 h 1689405"/>
                  <a:gd name="connsiteX1" fmla="*/ 238760 w 2519680"/>
                  <a:gd name="connsiteY1" fmla="*/ 1625601 h 1689405"/>
                  <a:gd name="connsiteX2" fmla="*/ 1734820 w 2519680"/>
                  <a:gd name="connsiteY2" fmla="*/ 1361441 h 1689405"/>
                  <a:gd name="connsiteX3" fmla="*/ 2519680 w 2519680"/>
                  <a:gd name="connsiteY3" fmla="*/ 1366521 h 1689405"/>
                  <a:gd name="connsiteX0" fmla="*/ 0 w 2519680"/>
                  <a:gd name="connsiteY0" fmla="*/ 1 h 1691338"/>
                  <a:gd name="connsiteX1" fmla="*/ 238760 w 2519680"/>
                  <a:gd name="connsiteY1" fmla="*/ 1625601 h 1691338"/>
                  <a:gd name="connsiteX2" fmla="*/ 2519680 w 2519680"/>
                  <a:gd name="connsiteY2" fmla="*/ 1366521 h 1691338"/>
                  <a:gd name="connsiteX0" fmla="*/ 0 w 238760"/>
                  <a:gd name="connsiteY0" fmla="*/ 1 h 1625601"/>
                  <a:gd name="connsiteX1" fmla="*/ 238760 w 238760"/>
                  <a:gd name="connsiteY1" fmla="*/ 1625601 h 1625601"/>
                  <a:gd name="connsiteX0" fmla="*/ 0 w 147320"/>
                  <a:gd name="connsiteY0" fmla="*/ 1 h 814071"/>
                  <a:gd name="connsiteX1" fmla="*/ 147320 w 147320"/>
                  <a:gd name="connsiteY1" fmla="*/ 814071 h 814071"/>
                  <a:gd name="connsiteX0" fmla="*/ 0 w 147320"/>
                  <a:gd name="connsiteY0" fmla="*/ 0 h 814070"/>
                  <a:gd name="connsiteX1" fmla="*/ 147320 w 147320"/>
                  <a:gd name="connsiteY1" fmla="*/ 814070 h 814070"/>
                  <a:gd name="connsiteX0" fmla="*/ 0 w 147320"/>
                  <a:gd name="connsiteY0" fmla="*/ 0 h 814070"/>
                  <a:gd name="connsiteX1" fmla="*/ 147320 w 147320"/>
                  <a:gd name="connsiteY1" fmla="*/ 814070 h 814070"/>
                  <a:gd name="connsiteX0" fmla="*/ 0 w 128270"/>
                  <a:gd name="connsiteY0" fmla="*/ 0 h 814070"/>
                  <a:gd name="connsiteX1" fmla="*/ 128270 w 128270"/>
                  <a:gd name="connsiteY1" fmla="*/ 814070 h 814070"/>
                  <a:gd name="connsiteX0" fmla="*/ 0 w 130175"/>
                  <a:gd name="connsiteY0" fmla="*/ 0 h 819785"/>
                  <a:gd name="connsiteX1" fmla="*/ 130175 w 130175"/>
                  <a:gd name="connsiteY1" fmla="*/ 819785 h 819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175" h="819785">
                    <a:moveTo>
                      <a:pt x="0" y="0"/>
                    </a:moveTo>
                    <a:cubicBezTo>
                      <a:pt x="74507" y="52493"/>
                      <a:pt x="116628" y="767292"/>
                      <a:pt x="130175" y="819785"/>
                    </a:cubicBezTo>
                  </a:path>
                </a:pathLst>
              </a:custGeom>
              <a:noFill/>
              <a:ln w="38100">
                <a:noFill/>
              </a:ln>
            </p:spPr>
            <p:txBody>
              <a:bodyPr rtlCol="0" anchor="ctr"/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0C85A301-15E8-C668-40BF-EC8E15D2FE0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432175" y="3493152"/>
                <a:ext cx="130925" cy="0"/>
              </a:xfrm>
              <a:prstGeom prst="line">
                <a:avLst/>
              </a:prstGeom>
              <a:noFill/>
              <a:ln w="38100">
                <a:noFill/>
              </a:ln>
            </p:spPr>
          </p:cxn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9AB26514-14B7-5BC7-95F9-06167615A4D2}"/>
                  </a:ext>
                </a:extLst>
              </p:cNvPr>
              <p:cNvSpPr/>
              <p:nvPr/>
            </p:nvSpPr>
            <p:spPr>
              <a:xfrm>
                <a:off x="8934450" y="1699550"/>
                <a:ext cx="632024" cy="240422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D2FEAC3-FA09-C544-87DA-E44013717087}"/>
                </a:ext>
              </a:extLst>
            </p:cNvPr>
            <p:cNvCxnSpPr>
              <a:cxnSpLocks/>
              <a:stCxn id="27" idx="12"/>
              <a:endCxn id="9" idx="0"/>
            </p:cNvCxnSpPr>
            <p:nvPr/>
          </p:nvCxnSpPr>
          <p:spPr bwMode="auto">
            <a:xfrm>
              <a:off x="5669487" y="5564036"/>
              <a:ext cx="354227" cy="960"/>
            </a:xfrm>
            <a:prstGeom prst="line">
              <a:avLst/>
            </a:prstGeom>
            <a:noFill/>
            <a:ln w="38100">
              <a:solidFill>
                <a:srgbClr val="FFC000"/>
              </a:solidFill>
            </a:ln>
          </p:spPr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A30F3C6-22A1-B841-5E94-525E20375BFF}"/>
                </a:ext>
              </a:extLst>
            </p:cNvPr>
            <p:cNvSpPr txBox="1"/>
            <p:nvPr/>
          </p:nvSpPr>
          <p:spPr>
            <a:xfrm>
              <a:off x="8509452" y="5899364"/>
              <a:ext cx="399102" cy="26337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E2D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</a:t>
              </a: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8F0CB6C-9C9D-13EA-A2D3-796283102C9E}"/>
                </a:ext>
              </a:extLst>
            </p:cNvPr>
            <p:cNvSpPr/>
            <p:nvPr/>
          </p:nvSpPr>
          <p:spPr>
            <a:xfrm>
              <a:off x="8551336" y="4285943"/>
              <a:ext cx="359425" cy="1536149"/>
            </a:xfrm>
            <a:custGeom>
              <a:avLst/>
              <a:gdLst>
                <a:gd name="connsiteX0" fmla="*/ 0 w 12110720"/>
                <a:gd name="connsiteY0" fmla="*/ 1463040 h 1981200"/>
                <a:gd name="connsiteX1" fmla="*/ 3362960 w 12110720"/>
                <a:gd name="connsiteY1" fmla="*/ 1463040 h 1981200"/>
                <a:gd name="connsiteX2" fmla="*/ 3535680 w 12110720"/>
                <a:gd name="connsiteY2" fmla="*/ 1615440 h 1981200"/>
                <a:gd name="connsiteX3" fmla="*/ 3911600 w 12110720"/>
                <a:gd name="connsiteY3" fmla="*/ 101600 h 1981200"/>
                <a:gd name="connsiteX4" fmla="*/ 4124960 w 12110720"/>
                <a:gd name="connsiteY4" fmla="*/ 995680 h 1981200"/>
                <a:gd name="connsiteX5" fmla="*/ 4155440 w 12110720"/>
                <a:gd name="connsiteY5" fmla="*/ 0 h 1981200"/>
                <a:gd name="connsiteX6" fmla="*/ 4307840 w 12110720"/>
                <a:gd name="connsiteY6" fmla="*/ 1981200 h 1981200"/>
                <a:gd name="connsiteX7" fmla="*/ 4318000 w 12110720"/>
                <a:gd name="connsiteY7" fmla="*/ 10160 h 1981200"/>
                <a:gd name="connsiteX8" fmla="*/ 4429760 w 12110720"/>
                <a:gd name="connsiteY8" fmla="*/ 1981200 h 1981200"/>
                <a:gd name="connsiteX9" fmla="*/ 4521200 w 12110720"/>
                <a:gd name="connsiteY9" fmla="*/ 1473200 h 1981200"/>
                <a:gd name="connsiteX10" fmla="*/ 12110720 w 12110720"/>
                <a:gd name="connsiteY10" fmla="*/ 1473200 h 1981200"/>
                <a:gd name="connsiteX0" fmla="*/ 0 w 12110720"/>
                <a:gd name="connsiteY0" fmla="*/ 1463040 h 1981200"/>
                <a:gd name="connsiteX1" fmla="*/ 2054352 w 12110720"/>
                <a:gd name="connsiteY1" fmla="*/ 1458976 h 1981200"/>
                <a:gd name="connsiteX2" fmla="*/ 3362960 w 12110720"/>
                <a:gd name="connsiteY2" fmla="*/ 1463040 h 1981200"/>
                <a:gd name="connsiteX3" fmla="*/ 3535680 w 12110720"/>
                <a:gd name="connsiteY3" fmla="*/ 1615440 h 1981200"/>
                <a:gd name="connsiteX4" fmla="*/ 3911600 w 12110720"/>
                <a:gd name="connsiteY4" fmla="*/ 101600 h 1981200"/>
                <a:gd name="connsiteX5" fmla="*/ 4124960 w 12110720"/>
                <a:gd name="connsiteY5" fmla="*/ 995680 h 1981200"/>
                <a:gd name="connsiteX6" fmla="*/ 4155440 w 12110720"/>
                <a:gd name="connsiteY6" fmla="*/ 0 h 1981200"/>
                <a:gd name="connsiteX7" fmla="*/ 4307840 w 12110720"/>
                <a:gd name="connsiteY7" fmla="*/ 1981200 h 1981200"/>
                <a:gd name="connsiteX8" fmla="*/ 4318000 w 12110720"/>
                <a:gd name="connsiteY8" fmla="*/ 10160 h 1981200"/>
                <a:gd name="connsiteX9" fmla="*/ 4429760 w 12110720"/>
                <a:gd name="connsiteY9" fmla="*/ 1981200 h 1981200"/>
                <a:gd name="connsiteX10" fmla="*/ 4521200 w 12110720"/>
                <a:gd name="connsiteY10" fmla="*/ 1473200 h 1981200"/>
                <a:gd name="connsiteX11" fmla="*/ 12110720 w 12110720"/>
                <a:gd name="connsiteY11" fmla="*/ 1473200 h 1981200"/>
                <a:gd name="connsiteX0" fmla="*/ 0 w 10056368"/>
                <a:gd name="connsiteY0" fmla="*/ 1458976 h 1981200"/>
                <a:gd name="connsiteX1" fmla="*/ 1308608 w 10056368"/>
                <a:gd name="connsiteY1" fmla="*/ 1463040 h 1981200"/>
                <a:gd name="connsiteX2" fmla="*/ 1481328 w 10056368"/>
                <a:gd name="connsiteY2" fmla="*/ 1615440 h 1981200"/>
                <a:gd name="connsiteX3" fmla="*/ 1857248 w 10056368"/>
                <a:gd name="connsiteY3" fmla="*/ 101600 h 1981200"/>
                <a:gd name="connsiteX4" fmla="*/ 2070608 w 10056368"/>
                <a:gd name="connsiteY4" fmla="*/ 995680 h 1981200"/>
                <a:gd name="connsiteX5" fmla="*/ 2101088 w 10056368"/>
                <a:gd name="connsiteY5" fmla="*/ 0 h 1981200"/>
                <a:gd name="connsiteX6" fmla="*/ 2253488 w 10056368"/>
                <a:gd name="connsiteY6" fmla="*/ 1981200 h 1981200"/>
                <a:gd name="connsiteX7" fmla="*/ 2263648 w 10056368"/>
                <a:gd name="connsiteY7" fmla="*/ 10160 h 1981200"/>
                <a:gd name="connsiteX8" fmla="*/ 2375408 w 10056368"/>
                <a:gd name="connsiteY8" fmla="*/ 1981200 h 1981200"/>
                <a:gd name="connsiteX9" fmla="*/ 2466848 w 10056368"/>
                <a:gd name="connsiteY9" fmla="*/ 1473200 h 1981200"/>
                <a:gd name="connsiteX10" fmla="*/ 10056368 w 10056368"/>
                <a:gd name="connsiteY10" fmla="*/ 1473200 h 1981200"/>
                <a:gd name="connsiteX0" fmla="*/ 0 w 10056368"/>
                <a:gd name="connsiteY0" fmla="*/ 1458976 h 1981200"/>
                <a:gd name="connsiteX1" fmla="*/ 1308608 w 10056368"/>
                <a:gd name="connsiteY1" fmla="*/ 1463040 h 1981200"/>
                <a:gd name="connsiteX2" fmla="*/ 1481328 w 10056368"/>
                <a:gd name="connsiteY2" fmla="*/ 1615440 h 1981200"/>
                <a:gd name="connsiteX3" fmla="*/ 1857248 w 10056368"/>
                <a:gd name="connsiteY3" fmla="*/ 101600 h 1981200"/>
                <a:gd name="connsiteX4" fmla="*/ 2070608 w 10056368"/>
                <a:gd name="connsiteY4" fmla="*/ 995680 h 1981200"/>
                <a:gd name="connsiteX5" fmla="*/ 2101088 w 10056368"/>
                <a:gd name="connsiteY5" fmla="*/ 0 h 1981200"/>
                <a:gd name="connsiteX6" fmla="*/ 2253488 w 10056368"/>
                <a:gd name="connsiteY6" fmla="*/ 1981200 h 1981200"/>
                <a:gd name="connsiteX7" fmla="*/ 2263648 w 10056368"/>
                <a:gd name="connsiteY7" fmla="*/ 10160 h 1981200"/>
                <a:gd name="connsiteX8" fmla="*/ 2375408 w 10056368"/>
                <a:gd name="connsiteY8" fmla="*/ 1981200 h 1981200"/>
                <a:gd name="connsiteX9" fmla="*/ 2466848 w 10056368"/>
                <a:gd name="connsiteY9" fmla="*/ 1473200 h 1981200"/>
                <a:gd name="connsiteX10" fmla="*/ 4773168 w 10056368"/>
                <a:gd name="connsiteY10" fmla="*/ 1473835 h 1981200"/>
                <a:gd name="connsiteX11" fmla="*/ 10056368 w 10056368"/>
                <a:gd name="connsiteY11" fmla="*/ 1473200 h 1981200"/>
                <a:gd name="connsiteX0" fmla="*/ 0 w 4773168"/>
                <a:gd name="connsiteY0" fmla="*/ 1458976 h 1981200"/>
                <a:gd name="connsiteX1" fmla="*/ 1308608 w 4773168"/>
                <a:gd name="connsiteY1" fmla="*/ 1463040 h 1981200"/>
                <a:gd name="connsiteX2" fmla="*/ 1481328 w 4773168"/>
                <a:gd name="connsiteY2" fmla="*/ 1615440 h 1981200"/>
                <a:gd name="connsiteX3" fmla="*/ 1857248 w 4773168"/>
                <a:gd name="connsiteY3" fmla="*/ 101600 h 1981200"/>
                <a:gd name="connsiteX4" fmla="*/ 2070608 w 4773168"/>
                <a:gd name="connsiteY4" fmla="*/ 995680 h 1981200"/>
                <a:gd name="connsiteX5" fmla="*/ 2101088 w 4773168"/>
                <a:gd name="connsiteY5" fmla="*/ 0 h 1981200"/>
                <a:gd name="connsiteX6" fmla="*/ 2253488 w 4773168"/>
                <a:gd name="connsiteY6" fmla="*/ 1981200 h 1981200"/>
                <a:gd name="connsiteX7" fmla="*/ 2263648 w 4773168"/>
                <a:gd name="connsiteY7" fmla="*/ 10160 h 1981200"/>
                <a:gd name="connsiteX8" fmla="*/ 2375408 w 4773168"/>
                <a:gd name="connsiteY8" fmla="*/ 1981200 h 1981200"/>
                <a:gd name="connsiteX9" fmla="*/ 2466848 w 4773168"/>
                <a:gd name="connsiteY9" fmla="*/ 1473200 h 1981200"/>
                <a:gd name="connsiteX10" fmla="*/ 4773168 w 4773168"/>
                <a:gd name="connsiteY10" fmla="*/ 1473835 h 1981200"/>
                <a:gd name="connsiteX0" fmla="*/ 0 w 3464560"/>
                <a:gd name="connsiteY0" fmla="*/ 1463040 h 1981200"/>
                <a:gd name="connsiteX1" fmla="*/ 172720 w 3464560"/>
                <a:gd name="connsiteY1" fmla="*/ 1615440 h 1981200"/>
                <a:gd name="connsiteX2" fmla="*/ 548640 w 3464560"/>
                <a:gd name="connsiteY2" fmla="*/ 101600 h 1981200"/>
                <a:gd name="connsiteX3" fmla="*/ 762000 w 3464560"/>
                <a:gd name="connsiteY3" fmla="*/ 995680 h 1981200"/>
                <a:gd name="connsiteX4" fmla="*/ 792480 w 3464560"/>
                <a:gd name="connsiteY4" fmla="*/ 0 h 1981200"/>
                <a:gd name="connsiteX5" fmla="*/ 944880 w 3464560"/>
                <a:gd name="connsiteY5" fmla="*/ 1981200 h 1981200"/>
                <a:gd name="connsiteX6" fmla="*/ 955040 w 3464560"/>
                <a:gd name="connsiteY6" fmla="*/ 10160 h 1981200"/>
                <a:gd name="connsiteX7" fmla="*/ 1066800 w 3464560"/>
                <a:gd name="connsiteY7" fmla="*/ 1981200 h 1981200"/>
                <a:gd name="connsiteX8" fmla="*/ 1158240 w 3464560"/>
                <a:gd name="connsiteY8" fmla="*/ 1473200 h 1981200"/>
                <a:gd name="connsiteX9" fmla="*/ 3464560 w 3464560"/>
                <a:gd name="connsiteY9" fmla="*/ 1473835 h 1981200"/>
                <a:gd name="connsiteX0" fmla="*/ 0 w 3291840"/>
                <a:gd name="connsiteY0" fmla="*/ 1615440 h 1981200"/>
                <a:gd name="connsiteX1" fmla="*/ 375920 w 3291840"/>
                <a:gd name="connsiteY1" fmla="*/ 101600 h 1981200"/>
                <a:gd name="connsiteX2" fmla="*/ 589280 w 3291840"/>
                <a:gd name="connsiteY2" fmla="*/ 995680 h 1981200"/>
                <a:gd name="connsiteX3" fmla="*/ 619760 w 3291840"/>
                <a:gd name="connsiteY3" fmla="*/ 0 h 1981200"/>
                <a:gd name="connsiteX4" fmla="*/ 772160 w 3291840"/>
                <a:gd name="connsiteY4" fmla="*/ 1981200 h 1981200"/>
                <a:gd name="connsiteX5" fmla="*/ 782320 w 3291840"/>
                <a:gd name="connsiteY5" fmla="*/ 10160 h 1981200"/>
                <a:gd name="connsiteX6" fmla="*/ 894080 w 3291840"/>
                <a:gd name="connsiteY6" fmla="*/ 1981200 h 1981200"/>
                <a:gd name="connsiteX7" fmla="*/ 985520 w 3291840"/>
                <a:gd name="connsiteY7" fmla="*/ 1473200 h 1981200"/>
                <a:gd name="connsiteX8" fmla="*/ 3291840 w 3291840"/>
                <a:gd name="connsiteY8" fmla="*/ 1473835 h 1981200"/>
                <a:gd name="connsiteX0" fmla="*/ 0 w 2915920"/>
                <a:gd name="connsiteY0" fmla="*/ 101600 h 1981200"/>
                <a:gd name="connsiteX1" fmla="*/ 213360 w 2915920"/>
                <a:gd name="connsiteY1" fmla="*/ 995680 h 1981200"/>
                <a:gd name="connsiteX2" fmla="*/ 243840 w 2915920"/>
                <a:gd name="connsiteY2" fmla="*/ 0 h 1981200"/>
                <a:gd name="connsiteX3" fmla="*/ 396240 w 2915920"/>
                <a:gd name="connsiteY3" fmla="*/ 1981200 h 1981200"/>
                <a:gd name="connsiteX4" fmla="*/ 406400 w 2915920"/>
                <a:gd name="connsiteY4" fmla="*/ 10160 h 1981200"/>
                <a:gd name="connsiteX5" fmla="*/ 518160 w 2915920"/>
                <a:gd name="connsiteY5" fmla="*/ 1981200 h 1981200"/>
                <a:gd name="connsiteX6" fmla="*/ 609600 w 2915920"/>
                <a:gd name="connsiteY6" fmla="*/ 1473200 h 1981200"/>
                <a:gd name="connsiteX7" fmla="*/ 2915920 w 2915920"/>
                <a:gd name="connsiteY7" fmla="*/ 1473835 h 1981200"/>
                <a:gd name="connsiteX0" fmla="*/ 0 w 2702560"/>
                <a:gd name="connsiteY0" fmla="*/ 995680 h 1981200"/>
                <a:gd name="connsiteX1" fmla="*/ 30480 w 2702560"/>
                <a:gd name="connsiteY1" fmla="*/ 0 h 1981200"/>
                <a:gd name="connsiteX2" fmla="*/ 182880 w 2702560"/>
                <a:gd name="connsiteY2" fmla="*/ 1981200 h 1981200"/>
                <a:gd name="connsiteX3" fmla="*/ 193040 w 2702560"/>
                <a:gd name="connsiteY3" fmla="*/ 10160 h 1981200"/>
                <a:gd name="connsiteX4" fmla="*/ 304800 w 2702560"/>
                <a:gd name="connsiteY4" fmla="*/ 1981200 h 1981200"/>
                <a:gd name="connsiteX5" fmla="*/ 396240 w 2702560"/>
                <a:gd name="connsiteY5" fmla="*/ 1473200 h 1981200"/>
                <a:gd name="connsiteX6" fmla="*/ 2702560 w 2702560"/>
                <a:gd name="connsiteY6" fmla="*/ 1473835 h 1981200"/>
                <a:gd name="connsiteX0" fmla="*/ 0 w 396240"/>
                <a:gd name="connsiteY0" fmla="*/ 995680 h 1981200"/>
                <a:gd name="connsiteX1" fmla="*/ 30480 w 396240"/>
                <a:gd name="connsiteY1" fmla="*/ 0 h 1981200"/>
                <a:gd name="connsiteX2" fmla="*/ 182880 w 396240"/>
                <a:gd name="connsiteY2" fmla="*/ 1981200 h 1981200"/>
                <a:gd name="connsiteX3" fmla="*/ 193040 w 396240"/>
                <a:gd name="connsiteY3" fmla="*/ 10160 h 1981200"/>
                <a:gd name="connsiteX4" fmla="*/ 304800 w 396240"/>
                <a:gd name="connsiteY4" fmla="*/ 1981200 h 1981200"/>
                <a:gd name="connsiteX5" fmla="*/ 396240 w 396240"/>
                <a:gd name="connsiteY5" fmla="*/ 1473200 h 1981200"/>
                <a:gd name="connsiteX0" fmla="*/ 0 w 359268"/>
                <a:gd name="connsiteY0" fmla="*/ 995680 h 1981200"/>
                <a:gd name="connsiteX1" fmla="*/ 30480 w 359268"/>
                <a:gd name="connsiteY1" fmla="*/ 0 h 1981200"/>
                <a:gd name="connsiteX2" fmla="*/ 182880 w 359268"/>
                <a:gd name="connsiteY2" fmla="*/ 1981200 h 1981200"/>
                <a:gd name="connsiteX3" fmla="*/ 193040 w 359268"/>
                <a:gd name="connsiteY3" fmla="*/ 10160 h 1981200"/>
                <a:gd name="connsiteX4" fmla="*/ 304800 w 359268"/>
                <a:gd name="connsiteY4" fmla="*/ 1981200 h 1981200"/>
                <a:gd name="connsiteX5" fmla="*/ 359268 w 359268"/>
                <a:gd name="connsiteY5" fmla="*/ 1668208 h 1981200"/>
                <a:gd name="connsiteX0" fmla="*/ 0 w 369127"/>
                <a:gd name="connsiteY0" fmla="*/ 995680 h 1981200"/>
                <a:gd name="connsiteX1" fmla="*/ 30480 w 369127"/>
                <a:gd name="connsiteY1" fmla="*/ 0 h 1981200"/>
                <a:gd name="connsiteX2" fmla="*/ 182880 w 369127"/>
                <a:gd name="connsiteY2" fmla="*/ 1981200 h 1981200"/>
                <a:gd name="connsiteX3" fmla="*/ 193040 w 369127"/>
                <a:gd name="connsiteY3" fmla="*/ 10160 h 1981200"/>
                <a:gd name="connsiteX4" fmla="*/ 304800 w 369127"/>
                <a:gd name="connsiteY4" fmla="*/ 1981200 h 1981200"/>
                <a:gd name="connsiteX5" fmla="*/ 369127 w 369127"/>
                <a:gd name="connsiteY5" fmla="*/ 1643445 h 1981200"/>
                <a:gd name="connsiteX0" fmla="*/ 0 w 370976"/>
                <a:gd name="connsiteY0" fmla="*/ 995680 h 1981200"/>
                <a:gd name="connsiteX1" fmla="*/ 30480 w 370976"/>
                <a:gd name="connsiteY1" fmla="*/ 0 h 1981200"/>
                <a:gd name="connsiteX2" fmla="*/ 182880 w 370976"/>
                <a:gd name="connsiteY2" fmla="*/ 1981200 h 1981200"/>
                <a:gd name="connsiteX3" fmla="*/ 193040 w 370976"/>
                <a:gd name="connsiteY3" fmla="*/ 10160 h 1981200"/>
                <a:gd name="connsiteX4" fmla="*/ 304800 w 370976"/>
                <a:gd name="connsiteY4" fmla="*/ 1981200 h 1981200"/>
                <a:gd name="connsiteX5" fmla="*/ 370976 w 370976"/>
                <a:gd name="connsiteY5" fmla="*/ 1655053 h 1981200"/>
                <a:gd name="connsiteX0" fmla="*/ 0 w 367279"/>
                <a:gd name="connsiteY0" fmla="*/ 995680 h 1981200"/>
                <a:gd name="connsiteX1" fmla="*/ 30480 w 367279"/>
                <a:gd name="connsiteY1" fmla="*/ 0 h 1981200"/>
                <a:gd name="connsiteX2" fmla="*/ 182880 w 367279"/>
                <a:gd name="connsiteY2" fmla="*/ 1981200 h 1981200"/>
                <a:gd name="connsiteX3" fmla="*/ 193040 w 367279"/>
                <a:gd name="connsiteY3" fmla="*/ 10160 h 1981200"/>
                <a:gd name="connsiteX4" fmla="*/ 304800 w 367279"/>
                <a:gd name="connsiteY4" fmla="*/ 1981200 h 1981200"/>
                <a:gd name="connsiteX5" fmla="*/ 367279 w 367279"/>
                <a:gd name="connsiteY5" fmla="*/ 1652731 h 1981200"/>
                <a:gd name="connsiteX0" fmla="*/ 0 w 369128"/>
                <a:gd name="connsiteY0" fmla="*/ 995680 h 1981200"/>
                <a:gd name="connsiteX1" fmla="*/ 30480 w 369128"/>
                <a:gd name="connsiteY1" fmla="*/ 0 h 1981200"/>
                <a:gd name="connsiteX2" fmla="*/ 182880 w 369128"/>
                <a:gd name="connsiteY2" fmla="*/ 1981200 h 1981200"/>
                <a:gd name="connsiteX3" fmla="*/ 193040 w 369128"/>
                <a:gd name="connsiteY3" fmla="*/ 10160 h 1981200"/>
                <a:gd name="connsiteX4" fmla="*/ 304800 w 369128"/>
                <a:gd name="connsiteY4" fmla="*/ 1981200 h 1981200"/>
                <a:gd name="connsiteX5" fmla="*/ 369128 w 369128"/>
                <a:gd name="connsiteY5" fmla="*/ 1645767 h 198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9128" h="1981200">
                  <a:moveTo>
                    <a:pt x="0" y="995680"/>
                  </a:moveTo>
                  <a:lnTo>
                    <a:pt x="30480" y="0"/>
                  </a:lnTo>
                  <a:lnTo>
                    <a:pt x="182880" y="1981200"/>
                  </a:lnTo>
                  <a:cubicBezTo>
                    <a:pt x="186267" y="1324187"/>
                    <a:pt x="189653" y="667173"/>
                    <a:pt x="193040" y="10160"/>
                  </a:cubicBezTo>
                  <a:lnTo>
                    <a:pt x="304800" y="1981200"/>
                  </a:lnTo>
                  <a:cubicBezTo>
                    <a:pt x="335280" y="1811867"/>
                    <a:pt x="338648" y="1815100"/>
                    <a:pt x="369128" y="1645767"/>
                  </a:cubicBezTo>
                </a:path>
              </a:pathLst>
            </a:custGeom>
            <a:solidFill>
              <a:srgbClr val="C00000"/>
            </a:solidFill>
            <a:ln w="38100">
              <a:solidFill>
                <a:srgbClr val="C00000"/>
              </a:solidFill>
            </a:ln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D96FD87-8DE5-0170-56F1-C6470F49DCAD}"/>
                </a:ext>
              </a:extLst>
            </p:cNvPr>
            <p:cNvSpPr/>
            <p:nvPr/>
          </p:nvSpPr>
          <p:spPr>
            <a:xfrm>
              <a:off x="8424258" y="4281972"/>
              <a:ext cx="123001" cy="774610"/>
            </a:xfrm>
            <a:custGeom>
              <a:avLst/>
              <a:gdLst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600"/>
                <a:gd name="connsiteX1" fmla="*/ 629920 w 5054600"/>
                <a:gd name="connsiteY1" fmla="*/ 1356360 h 1625600"/>
                <a:gd name="connsiteX2" fmla="*/ 1021080 w 5054600"/>
                <a:gd name="connsiteY2" fmla="*/ 1021080 h 1625600"/>
                <a:gd name="connsiteX3" fmla="*/ 1457960 w 5054600"/>
                <a:gd name="connsiteY3" fmla="*/ 1361440 h 1625600"/>
                <a:gd name="connsiteX4" fmla="*/ 2067560 w 5054600"/>
                <a:gd name="connsiteY4" fmla="*/ 1361440 h 1625600"/>
                <a:gd name="connsiteX5" fmla="*/ 2219960 w 5054600"/>
                <a:gd name="connsiteY5" fmla="*/ 1625600 h 1625600"/>
                <a:gd name="connsiteX6" fmla="*/ 2534920 w 5054600"/>
                <a:gd name="connsiteY6" fmla="*/ 0 h 1625600"/>
                <a:gd name="connsiteX7" fmla="*/ 2773680 w 5054600"/>
                <a:gd name="connsiteY7" fmla="*/ 1625600 h 1625600"/>
                <a:gd name="connsiteX8" fmla="*/ 2936240 w 5054600"/>
                <a:gd name="connsiteY8" fmla="*/ 1366520 h 1625600"/>
                <a:gd name="connsiteX9" fmla="*/ 3469640 w 5054600"/>
                <a:gd name="connsiteY9" fmla="*/ 1366520 h 1625600"/>
                <a:gd name="connsiteX10" fmla="*/ 3835400 w 5054600"/>
                <a:gd name="connsiteY10" fmla="*/ 772160 h 1625600"/>
                <a:gd name="connsiteX11" fmla="*/ 4267200 w 5054600"/>
                <a:gd name="connsiteY11" fmla="*/ 1366520 h 1625600"/>
                <a:gd name="connsiteX12" fmla="*/ 5054600 w 5054600"/>
                <a:gd name="connsiteY12" fmla="*/ 1366520 h 1625600"/>
                <a:gd name="connsiteX0" fmla="*/ 0 w 5054600"/>
                <a:gd name="connsiteY0" fmla="*/ 1356360 h 1625738"/>
                <a:gd name="connsiteX1" fmla="*/ 629920 w 5054600"/>
                <a:gd name="connsiteY1" fmla="*/ 1356360 h 1625738"/>
                <a:gd name="connsiteX2" fmla="*/ 1021080 w 5054600"/>
                <a:gd name="connsiteY2" fmla="*/ 1021080 h 1625738"/>
                <a:gd name="connsiteX3" fmla="*/ 1457960 w 5054600"/>
                <a:gd name="connsiteY3" fmla="*/ 1361440 h 1625738"/>
                <a:gd name="connsiteX4" fmla="*/ 2067560 w 5054600"/>
                <a:gd name="connsiteY4" fmla="*/ 1361440 h 1625738"/>
                <a:gd name="connsiteX5" fmla="*/ 2219960 w 5054600"/>
                <a:gd name="connsiteY5" fmla="*/ 1625600 h 1625738"/>
                <a:gd name="connsiteX6" fmla="*/ 2534920 w 5054600"/>
                <a:gd name="connsiteY6" fmla="*/ 0 h 1625738"/>
                <a:gd name="connsiteX7" fmla="*/ 2773680 w 5054600"/>
                <a:gd name="connsiteY7" fmla="*/ 1625600 h 1625738"/>
                <a:gd name="connsiteX8" fmla="*/ 2936240 w 5054600"/>
                <a:gd name="connsiteY8" fmla="*/ 1366520 h 1625738"/>
                <a:gd name="connsiteX9" fmla="*/ 3469640 w 5054600"/>
                <a:gd name="connsiteY9" fmla="*/ 1366520 h 1625738"/>
                <a:gd name="connsiteX10" fmla="*/ 3835400 w 5054600"/>
                <a:gd name="connsiteY10" fmla="*/ 772160 h 1625738"/>
                <a:gd name="connsiteX11" fmla="*/ 4267200 w 5054600"/>
                <a:gd name="connsiteY11" fmla="*/ 1366520 h 1625738"/>
                <a:gd name="connsiteX12" fmla="*/ 5054600 w 5054600"/>
                <a:gd name="connsiteY12" fmla="*/ 1366520 h 1625738"/>
                <a:gd name="connsiteX0" fmla="*/ 0 w 5054600"/>
                <a:gd name="connsiteY0" fmla="*/ 1356360 h 1625738"/>
                <a:gd name="connsiteX1" fmla="*/ 629920 w 5054600"/>
                <a:gd name="connsiteY1" fmla="*/ 1356360 h 1625738"/>
                <a:gd name="connsiteX2" fmla="*/ 1021080 w 5054600"/>
                <a:gd name="connsiteY2" fmla="*/ 1021080 h 1625738"/>
                <a:gd name="connsiteX3" fmla="*/ 1457960 w 5054600"/>
                <a:gd name="connsiteY3" fmla="*/ 1361440 h 1625738"/>
                <a:gd name="connsiteX4" fmla="*/ 2067560 w 5054600"/>
                <a:gd name="connsiteY4" fmla="*/ 1361440 h 1625738"/>
                <a:gd name="connsiteX5" fmla="*/ 2219960 w 5054600"/>
                <a:gd name="connsiteY5" fmla="*/ 1625600 h 1625738"/>
                <a:gd name="connsiteX6" fmla="*/ 2534920 w 5054600"/>
                <a:gd name="connsiteY6" fmla="*/ 0 h 1625738"/>
                <a:gd name="connsiteX7" fmla="*/ 2773680 w 5054600"/>
                <a:gd name="connsiteY7" fmla="*/ 1625600 h 1625738"/>
                <a:gd name="connsiteX8" fmla="*/ 2936240 w 5054600"/>
                <a:gd name="connsiteY8" fmla="*/ 1366520 h 1625738"/>
                <a:gd name="connsiteX9" fmla="*/ 3469640 w 5054600"/>
                <a:gd name="connsiteY9" fmla="*/ 1366520 h 1625738"/>
                <a:gd name="connsiteX10" fmla="*/ 3835400 w 5054600"/>
                <a:gd name="connsiteY10" fmla="*/ 772160 h 1625738"/>
                <a:gd name="connsiteX11" fmla="*/ 4267200 w 5054600"/>
                <a:gd name="connsiteY11" fmla="*/ 1366520 h 1625738"/>
                <a:gd name="connsiteX12" fmla="*/ 5054600 w 5054600"/>
                <a:gd name="connsiteY12" fmla="*/ 1366520 h 1625738"/>
                <a:gd name="connsiteX0" fmla="*/ 0 w 5054600"/>
                <a:gd name="connsiteY0" fmla="*/ 1451491 h 1720869"/>
                <a:gd name="connsiteX1" fmla="*/ 629920 w 5054600"/>
                <a:gd name="connsiteY1" fmla="*/ 1451491 h 1720869"/>
                <a:gd name="connsiteX2" fmla="*/ 1021080 w 5054600"/>
                <a:gd name="connsiteY2" fmla="*/ 1116211 h 1720869"/>
                <a:gd name="connsiteX3" fmla="*/ 1457960 w 5054600"/>
                <a:gd name="connsiteY3" fmla="*/ 1456571 h 1720869"/>
                <a:gd name="connsiteX4" fmla="*/ 2067560 w 5054600"/>
                <a:gd name="connsiteY4" fmla="*/ 1456571 h 1720869"/>
                <a:gd name="connsiteX5" fmla="*/ 2219960 w 5054600"/>
                <a:gd name="connsiteY5" fmla="*/ 1720731 h 1720869"/>
                <a:gd name="connsiteX6" fmla="*/ 2534920 w 5054600"/>
                <a:gd name="connsiteY6" fmla="*/ 95131 h 1720869"/>
                <a:gd name="connsiteX7" fmla="*/ 2773680 w 5054600"/>
                <a:gd name="connsiteY7" fmla="*/ 1720731 h 1720869"/>
                <a:gd name="connsiteX8" fmla="*/ 2936240 w 5054600"/>
                <a:gd name="connsiteY8" fmla="*/ 1461651 h 1720869"/>
                <a:gd name="connsiteX9" fmla="*/ 3469640 w 5054600"/>
                <a:gd name="connsiteY9" fmla="*/ 1461651 h 1720869"/>
                <a:gd name="connsiteX10" fmla="*/ 3835400 w 5054600"/>
                <a:gd name="connsiteY10" fmla="*/ 867291 h 1720869"/>
                <a:gd name="connsiteX11" fmla="*/ 4267200 w 5054600"/>
                <a:gd name="connsiteY11" fmla="*/ 1461651 h 1720869"/>
                <a:gd name="connsiteX12" fmla="*/ 5054600 w 5054600"/>
                <a:gd name="connsiteY12" fmla="*/ 1461651 h 172086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69640 w 5054600"/>
                <a:gd name="connsiteY9" fmla="*/ 1366521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35400 w 5054600"/>
                <a:gd name="connsiteY10" fmla="*/ 772161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7200 w 5054600"/>
                <a:gd name="connsiteY11" fmla="*/ 1366521 h 1625739"/>
                <a:gd name="connsiteX12" fmla="*/ 5054600 w 5054600"/>
                <a:gd name="connsiteY12" fmla="*/ 1366521 h 1625739"/>
                <a:gd name="connsiteX0" fmla="*/ 0 w 5054600"/>
                <a:gd name="connsiteY0" fmla="*/ 1356361 h 1625739"/>
                <a:gd name="connsiteX1" fmla="*/ 629920 w 5054600"/>
                <a:gd name="connsiteY1" fmla="*/ 1356361 h 1625739"/>
                <a:gd name="connsiteX2" fmla="*/ 1021080 w 5054600"/>
                <a:gd name="connsiteY2" fmla="*/ 1021081 h 1625739"/>
                <a:gd name="connsiteX3" fmla="*/ 1457960 w 5054600"/>
                <a:gd name="connsiteY3" fmla="*/ 1361441 h 1625739"/>
                <a:gd name="connsiteX4" fmla="*/ 2067560 w 5054600"/>
                <a:gd name="connsiteY4" fmla="*/ 1361441 h 1625739"/>
                <a:gd name="connsiteX5" fmla="*/ 2219960 w 5054600"/>
                <a:gd name="connsiteY5" fmla="*/ 1625601 h 1625739"/>
                <a:gd name="connsiteX6" fmla="*/ 2534920 w 5054600"/>
                <a:gd name="connsiteY6" fmla="*/ 1 h 1625739"/>
                <a:gd name="connsiteX7" fmla="*/ 2773680 w 5054600"/>
                <a:gd name="connsiteY7" fmla="*/ 1625601 h 1625739"/>
                <a:gd name="connsiteX8" fmla="*/ 2936240 w 5054600"/>
                <a:gd name="connsiteY8" fmla="*/ 1366521 h 1625739"/>
                <a:gd name="connsiteX9" fmla="*/ 3446780 w 5054600"/>
                <a:gd name="connsiteY9" fmla="*/ 1360806 h 1625739"/>
                <a:gd name="connsiteX10" fmla="*/ 3843020 w 5054600"/>
                <a:gd name="connsiteY10" fmla="*/ 770256 h 1625739"/>
                <a:gd name="connsiteX11" fmla="*/ 4269740 w 5054600"/>
                <a:gd name="connsiteY11" fmla="*/ 1361441 h 1625739"/>
                <a:gd name="connsiteX12" fmla="*/ 5054600 w 5054600"/>
                <a:gd name="connsiteY12" fmla="*/ 1366521 h 1625739"/>
                <a:gd name="connsiteX0" fmla="*/ 0 w 4424680"/>
                <a:gd name="connsiteY0" fmla="*/ 1356361 h 1625739"/>
                <a:gd name="connsiteX1" fmla="*/ 391160 w 4424680"/>
                <a:gd name="connsiteY1" fmla="*/ 1021081 h 1625739"/>
                <a:gd name="connsiteX2" fmla="*/ 828040 w 4424680"/>
                <a:gd name="connsiteY2" fmla="*/ 1361441 h 1625739"/>
                <a:gd name="connsiteX3" fmla="*/ 1437640 w 4424680"/>
                <a:gd name="connsiteY3" fmla="*/ 1361441 h 1625739"/>
                <a:gd name="connsiteX4" fmla="*/ 1590040 w 4424680"/>
                <a:gd name="connsiteY4" fmla="*/ 1625601 h 1625739"/>
                <a:gd name="connsiteX5" fmla="*/ 1905000 w 4424680"/>
                <a:gd name="connsiteY5" fmla="*/ 1 h 1625739"/>
                <a:gd name="connsiteX6" fmla="*/ 2143760 w 4424680"/>
                <a:gd name="connsiteY6" fmla="*/ 1625601 h 1625739"/>
                <a:gd name="connsiteX7" fmla="*/ 2306320 w 4424680"/>
                <a:gd name="connsiteY7" fmla="*/ 1366521 h 1625739"/>
                <a:gd name="connsiteX8" fmla="*/ 2816860 w 4424680"/>
                <a:gd name="connsiteY8" fmla="*/ 1360806 h 1625739"/>
                <a:gd name="connsiteX9" fmla="*/ 3213100 w 4424680"/>
                <a:gd name="connsiteY9" fmla="*/ 770256 h 1625739"/>
                <a:gd name="connsiteX10" fmla="*/ 3639820 w 4424680"/>
                <a:gd name="connsiteY10" fmla="*/ 1361441 h 1625739"/>
                <a:gd name="connsiteX11" fmla="*/ 4424680 w 4424680"/>
                <a:gd name="connsiteY11" fmla="*/ 1366521 h 1625739"/>
                <a:gd name="connsiteX0" fmla="*/ 0 w 4033520"/>
                <a:gd name="connsiteY0" fmla="*/ 1021081 h 1625739"/>
                <a:gd name="connsiteX1" fmla="*/ 436880 w 4033520"/>
                <a:gd name="connsiteY1" fmla="*/ 1361441 h 1625739"/>
                <a:gd name="connsiteX2" fmla="*/ 1046480 w 4033520"/>
                <a:gd name="connsiteY2" fmla="*/ 1361441 h 1625739"/>
                <a:gd name="connsiteX3" fmla="*/ 1198880 w 4033520"/>
                <a:gd name="connsiteY3" fmla="*/ 1625601 h 1625739"/>
                <a:gd name="connsiteX4" fmla="*/ 1513840 w 4033520"/>
                <a:gd name="connsiteY4" fmla="*/ 1 h 1625739"/>
                <a:gd name="connsiteX5" fmla="*/ 1752600 w 4033520"/>
                <a:gd name="connsiteY5" fmla="*/ 1625601 h 1625739"/>
                <a:gd name="connsiteX6" fmla="*/ 1915160 w 4033520"/>
                <a:gd name="connsiteY6" fmla="*/ 1366521 h 1625739"/>
                <a:gd name="connsiteX7" fmla="*/ 2425700 w 4033520"/>
                <a:gd name="connsiteY7" fmla="*/ 1360806 h 1625739"/>
                <a:gd name="connsiteX8" fmla="*/ 2821940 w 4033520"/>
                <a:gd name="connsiteY8" fmla="*/ 770256 h 1625739"/>
                <a:gd name="connsiteX9" fmla="*/ 3248660 w 4033520"/>
                <a:gd name="connsiteY9" fmla="*/ 1361441 h 1625739"/>
                <a:gd name="connsiteX10" fmla="*/ 4033520 w 4033520"/>
                <a:gd name="connsiteY10" fmla="*/ 1366521 h 1625739"/>
                <a:gd name="connsiteX0" fmla="*/ 0 w 3596640"/>
                <a:gd name="connsiteY0" fmla="*/ 1361441 h 1625739"/>
                <a:gd name="connsiteX1" fmla="*/ 609600 w 3596640"/>
                <a:gd name="connsiteY1" fmla="*/ 1361441 h 1625739"/>
                <a:gd name="connsiteX2" fmla="*/ 762000 w 3596640"/>
                <a:gd name="connsiteY2" fmla="*/ 1625601 h 1625739"/>
                <a:gd name="connsiteX3" fmla="*/ 1076960 w 3596640"/>
                <a:gd name="connsiteY3" fmla="*/ 1 h 1625739"/>
                <a:gd name="connsiteX4" fmla="*/ 1315720 w 3596640"/>
                <a:gd name="connsiteY4" fmla="*/ 1625601 h 1625739"/>
                <a:gd name="connsiteX5" fmla="*/ 1478280 w 3596640"/>
                <a:gd name="connsiteY5" fmla="*/ 1366521 h 1625739"/>
                <a:gd name="connsiteX6" fmla="*/ 1988820 w 3596640"/>
                <a:gd name="connsiteY6" fmla="*/ 1360806 h 1625739"/>
                <a:gd name="connsiteX7" fmla="*/ 2385060 w 3596640"/>
                <a:gd name="connsiteY7" fmla="*/ 770256 h 1625739"/>
                <a:gd name="connsiteX8" fmla="*/ 2811780 w 3596640"/>
                <a:gd name="connsiteY8" fmla="*/ 1361441 h 1625739"/>
                <a:gd name="connsiteX9" fmla="*/ 3596640 w 3596640"/>
                <a:gd name="connsiteY9" fmla="*/ 1366521 h 1625739"/>
                <a:gd name="connsiteX0" fmla="*/ 0 w 2987040"/>
                <a:gd name="connsiteY0" fmla="*/ 1361441 h 1625739"/>
                <a:gd name="connsiteX1" fmla="*/ 152400 w 2987040"/>
                <a:gd name="connsiteY1" fmla="*/ 1625601 h 1625739"/>
                <a:gd name="connsiteX2" fmla="*/ 467360 w 2987040"/>
                <a:gd name="connsiteY2" fmla="*/ 1 h 1625739"/>
                <a:gd name="connsiteX3" fmla="*/ 706120 w 2987040"/>
                <a:gd name="connsiteY3" fmla="*/ 1625601 h 1625739"/>
                <a:gd name="connsiteX4" fmla="*/ 868680 w 2987040"/>
                <a:gd name="connsiteY4" fmla="*/ 1366521 h 1625739"/>
                <a:gd name="connsiteX5" fmla="*/ 1379220 w 2987040"/>
                <a:gd name="connsiteY5" fmla="*/ 1360806 h 1625739"/>
                <a:gd name="connsiteX6" fmla="*/ 1775460 w 2987040"/>
                <a:gd name="connsiteY6" fmla="*/ 770256 h 1625739"/>
                <a:gd name="connsiteX7" fmla="*/ 2202180 w 2987040"/>
                <a:gd name="connsiteY7" fmla="*/ 1361441 h 1625739"/>
                <a:gd name="connsiteX8" fmla="*/ 2987040 w 2987040"/>
                <a:gd name="connsiteY8" fmla="*/ 1366521 h 1625739"/>
                <a:gd name="connsiteX0" fmla="*/ 0 w 2834640"/>
                <a:gd name="connsiteY0" fmla="*/ 1625601 h 1625635"/>
                <a:gd name="connsiteX1" fmla="*/ 314960 w 2834640"/>
                <a:gd name="connsiteY1" fmla="*/ 1 h 1625635"/>
                <a:gd name="connsiteX2" fmla="*/ 553720 w 2834640"/>
                <a:gd name="connsiteY2" fmla="*/ 1625601 h 1625635"/>
                <a:gd name="connsiteX3" fmla="*/ 716280 w 2834640"/>
                <a:gd name="connsiteY3" fmla="*/ 1366521 h 1625635"/>
                <a:gd name="connsiteX4" fmla="*/ 1226820 w 2834640"/>
                <a:gd name="connsiteY4" fmla="*/ 1360806 h 1625635"/>
                <a:gd name="connsiteX5" fmla="*/ 1623060 w 2834640"/>
                <a:gd name="connsiteY5" fmla="*/ 770256 h 1625635"/>
                <a:gd name="connsiteX6" fmla="*/ 2049780 w 2834640"/>
                <a:gd name="connsiteY6" fmla="*/ 1361441 h 1625635"/>
                <a:gd name="connsiteX7" fmla="*/ 2834640 w 2834640"/>
                <a:gd name="connsiteY7" fmla="*/ 1366521 h 1625635"/>
                <a:gd name="connsiteX0" fmla="*/ 0 w 2519680"/>
                <a:gd name="connsiteY0" fmla="*/ 1 h 1625606"/>
                <a:gd name="connsiteX1" fmla="*/ 238760 w 2519680"/>
                <a:gd name="connsiteY1" fmla="*/ 1625601 h 1625606"/>
                <a:gd name="connsiteX2" fmla="*/ 401320 w 2519680"/>
                <a:gd name="connsiteY2" fmla="*/ 1366521 h 1625606"/>
                <a:gd name="connsiteX3" fmla="*/ 911860 w 2519680"/>
                <a:gd name="connsiteY3" fmla="*/ 1360806 h 1625606"/>
                <a:gd name="connsiteX4" fmla="*/ 1308100 w 2519680"/>
                <a:gd name="connsiteY4" fmla="*/ 770256 h 1625606"/>
                <a:gd name="connsiteX5" fmla="*/ 1734820 w 2519680"/>
                <a:gd name="connsiteY5" fmla="*/ 1361441 h 1625606"/>
                <a:gd name="connsiteX6" fmla="*/ 2519680 w 2519680"/>
                <a:gd name="connsiteY6" fmla="*/ 1366521 h 1625606"/>
                <a:gd name="connsiteX0" fmla="*/ 0 w 2519680"/>
                <a:gd name="connsiteY0" fmla="*/ 1 h 1700247"/>
                <a:gd name="connsiteX1" fmla="*/ 238760 w 2519680"/>
                <a:gd name="connsiteY1" fmla="*/ 1625601 h 1700247"/>
                <a:gd name="connsiteX2" fmla="*/ 911860 w 2519680"/>
                <a:gd name="connsiteY2" fmla="*/ 1360806 h 1700247"/>
                <a:gd name="connsiteX3" fmla="*/ 1308100 w 2519680"/>
                <a:gd name="connsiteY3" fmla="*/ 770256 h 1700247"/>
                <a:gd name="connsiteX4" fmla="*/ 1734820 w 2519680"/>
                <a:gd name="connsiteY4" fmla="*/ 1361441 h 1700247"/>
                <a:gd name="connsiteX5" fmla="*/ 2519680 w 2519680"/>
                <a:gd name="connsiteY5" fmla="*/ 1366521 h 1700247"/>
                <a:gd name="connsiteX0" fmla="*/ 0 w 2519680"/>
                <a:gd name="connsiteY0" fmla="*/ 1 h 1637639"/>
                <a:gd name="connsiteX1" fmla="*/ 238760 w 2519680"/>
                <a:gd name="connsiteY1" fmla="*/ 1625601 h 1637639"/>
                <a:gd name="connsiteX2" fmla="*/ 1308100 w 2519680"/>
                <a:gd name="connsiteY2" fmla="*/ 770256 h 1637639"/>
                <a:gd name="connsiteX3" fmla="*/ 1734820 w 2519680"/>
                <a:gd name="connsiteY3" fmla="*/ 1361441 h 1637639"/>
                <a:gd name="connsiteX4" fmla="*/ 2519680 w 2519680"/>
                <a:gd name="connsiteY4" fmla="*/ 1366521 h 1637639"/>
                <a:gd name="connsiteX0" fmla="*/ 0 w 2519680"/>
                <a:gd name="connsiteY0" fmla="*/ 1 h 1689405"/>
                <a:gd name="connsiteX1" fmla="*/ 238760 w 2519680"/>
                <a:gd name="connsiteY1" fmla="*/ 1625601 h 1689405"/>
                <a:gd name="connsiteX2" fmla="*/ 1734820 w 2519680"/>
                <a:gd name="connsiteY2" fmla="*/ 1361441 h 1689405"/>
                <a:gd name="connsiteX3" fmla="*/ 2519680 w 2519680"/>
                <a:gd name="connsiteY3" fmla="*/ 1366521 h 1689405"/>
                <a:gd name="connsiteX0" fmla="*/ 0 w 2519680"/>
                <a:gd name="connsiteY0" fmla="*/ 1 h 1691338"/>
                <a:gd name="connsiteX1" fmla="*/ 238760 w 2519680"/>
                <a:gd name="connsiteY1" fmla="*/ 1625601 h 1691338"/>
                <a:gd name="connsiteX2" fmla="*/ 2519680 w 2519680"/>
                <a:gd name="connsiteY2" fmla="*/ 1366521 h 1691338"/>
                <a:gd name="connsiteX0" fmla="*/ 0 w 238760"/>
                <a:gd name="connsiteY0" fmla="*/ 1 h 1625601"/>
                <a:gd name="connsiteX1" fmla="*/ 238760 w 238760"/>
                <a:gd name="connsiteY1" fmla="*/ 1625601 h 1625601"/>
                <a:gd name="connsiteX0" fmla="*/ 0 w 147320"/>
                <a:gd name="connsiteY0" fmla="*/ 1 h 814071"/>
                <a:gd name="connsiteX1" fmla="*/ 147320 w 147320"/>
                <a:gd name="connsiteY1" fmla="*/ 814071 h 814071"/>
                <a:gd name="connsiteX0" fmla="*/ 0 w 147320"/>
                <a:gd name="connsiteY0" fmla="*/ 0 h 814070"/>
                <a:gd name="connsiteX1" fmla="*/ 147320 w 147320"/>
                <a:gd name="connsiteY1" fmla="*/ 814070 h 814070"/>
                <a:gd name="connsiteX0" fmla="*/ 0 w 147320"/>
                <a:gd name="connsiteY0" fmla="*/ 0 h 814070"/>
                <a:gd name="connsiteX1" fmla="*/ 147320 w 147320"/>
                <a:gd name="connsiteY1" fmla="*/ 814070 h 814070"/>
                <a:gd name="connsiteX0" fmla="*/ 0 w 128270"/>
                <a:gd name="connsiteY0" fmla="*/ 0 h 814070"/>
                <a:gd name="connsiteX1" fmla="*/ 128270 w 128270"/>
                <a:gd name="connsiteY1" fmla="*/ 814070 h 814070"/>
                <a:gd name="connsiteX0" fmla="*/ 0 w 130175"/>
                <a:gd name="connsiteY0" fmla="*/ 0 h 819785"/>
                <a:gd name="connsiteX1" fmla="*/ 130175 w 130175"/>
                <a:gd name="connsiteY1" fmla="*/ 819785 h 819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175" h="819785">
                  <a:moveTo>
                    <a:pt x="0" y="0"/>
                  </a:moveTo>
                  <a:cubicBezTo>
                    <a:pt x="74507" y="52493"/>
                    <a:pt x="116628" y="767292"/>
                    <a:pt x="130175" y="819785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F76E05B-EE87-6DB6-6CC7-7ADC0B0D419A}"/>
                </a:ext>
              </a:extLst>
            </p:cNvPr>
            <p:cNvSpPr/>
            <p:nvPr/>
          </p:nvSpPr>
          <p:spPr>
            <a:xfrm>
              <a:off x="8410959" y="3877669"/>
              <a:ext cx="503421" cy="2021694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769" tIns="48384" rIns="96769" bIns="483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12298A9-33D9-A8B1-A0BB-BC6626F6623D}"/>
                </a:ext>
              </a:extLst>
            </p:cNvPr>
            <p:cNvSpPr/>
            <p:nvPr/>
          </p:nvSpPr>
          <p:spPr>
            <a:xfrm>
              <a:off x="5393501" y="3925474"/>
              <a:ext cx="2454799" cy="576274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QRS w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C</a:t>
              </a:r>
              <a:r>
                <a:rPr kumimoji="0" lang="en-US" sz="1400" b="1" i="1" u="none" strike="noStrike" kern="0" cap="none" spc="3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62722D6-3B3C-BA7C-03EF-A166F7EE8F76}"/>
                </a:ext>
              </a:extLst>
            </p:cNvPr>
            <p:cNvSpPr txBox="1"/>
            <p:nvPr/>
          </p:nvSpPr>
          <p:spPr>
            <a:xfrm>
              <a:off x="7919664" y="5907776"/>
              <a:ext cx="393184" cy="2035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E2D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</a:t>
              </a: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FFF9BD42-B488-0F5D-EFE6-7B41E05742A9}"/>
              </a:ext>
            </a:extLst>
          </p:cNvPr>
          <p:cNvSpPr/>
          <p:nvPr/>
        </p:nvSpPr>
        <p:spPr>
          <a:xfrm>
            <a:off x="838200" y="2667000"/>
            <a:ext cx="685800" cy="685800"/>
          </a:xfrm>
          <a:prstGeom prst="rect">
            <a:avLst/>
          </a:prstGeom>
          <a:solidFill>
            <a:srgbClr val="8F7D7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257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EA606A-0B61-0D88-A2BD-BBC3F80E7A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AF02D-8B90-207C-3847-FDF7A12FB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9A3C07-671D-012B-4AD1-D24C8C97A7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2BE663-5A55-5222-D2D5-4509319042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63C13F-A3EC-4D41-8C52-AB98F405356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E491B69-8A01-492D-4797-97568DCC50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514350"/>
            <a:ext cx="7772400" cy="5829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05EF222-BE73-D4FA-C89D-24A469AF2B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123" y="1267743"/>
            <a:ext cx="6348277" cy="389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165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46E474-3471-E431-2139-72073B987D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F5F4C7-526F-298B-5563-474D75DEF9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63C13F-A3EC-4D41-8C52-AB98F405356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F65AF347-1DB4-3AA9-2FE5-1572205D4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44" y="456395"/>
            <a:ext cx="10649711" cy="6233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9237E4B-87A9-790E-D337-AB270EC36473}"/>
              </a:ext>
            </a:extLst>
          </p:cNvPr>
          <p:cNvSpPr txBox="1"/>
          <p:nvPr/>
        </p:nvSpPr>
        <p:spPr>
          <a:xfrm>
            <a:off x="0" y="6422120"/>
            <a:ext cx="121615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49576D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Role of Cardiac Contractility Modulation in Heart Failure With a Higher Ejection Fra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49576D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uthor: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49576D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KHAWAJ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9576D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 M. TALHA,STEFAN D. ANKER,DANIEL BURKHOFF,GERASIMOS FILIPPATOS,CAROLYN S.P. LAM,GREGG W. STONE,OUSSAMA WAZNI,JAVED BUTL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49576D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Publication: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9576D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Journal of Cardiac Failu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2D4E39-3BEC-8928-5288-C5657F489EE2}"/>
              </a:ext>
            </a:extLst>
          </p:cNvPr>
          <p:cNvSpPr/>
          <p:nvPr/>
        </p:nvSpPr>
        <p:spPr>
          <a:xfrm>
            <a:off x="3782568" y="477639"/>
            <a:ext cx="3837432" cy="59657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44E144-442C-86E8-9A73-CEAA7EAFEDEC}"/>
              </a:ext>
            </a:extLst>
          </p:cNvPr>
          <p:cNvSpPr/>
          <p:nvPr/>
        </p:nvSpPr>
        <p:spPr>
          <a:xfrm>
            <a:off x="7458456" y="471589"/>
            <a:ext cx="4425696" cy="59657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41486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A5B699-1928-8F14-33FC-0C5D3E9661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6F06DD-9FF6-EC20-24EB-2B62A4C37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465667"/>
            <a:ext cx="5105400" cy="832556"/>
          </a:xfrm>
        </p:spPr>
        <p:txBody>
          <a:bodyPr/>
          <a:lstStyle/>
          <a:p>
            <a:r>
              <a:rPr lang="en-US" dirty="0"/>
              <a:t>CCM Effec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856EC2-543B-9660-1C25-5CF8F12B21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63C13F-A3EC-4D41-8C52-AB98F405356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Description unavailable">
            <a:extLst>
              <a:ext uri="{FF2B5EF4-FFF2-40B4-BE49-F238E27FC236}">
                <a16:creationId xmlns:a16="http://schemas.microsoft.com/office/drawing/2014/main" id="{D1CF7CAC-B9DE-21A7-C50E-6F41F75F03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238123"/>
            <a:ext cx="4800600" cy="635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D0F0A1C-B22D-6D58-D420-051D399658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937" y="1992314"/>
            <a:ext cx="5257800" cy="4445000"/>
          </a:xfrm>
        </p:spPr>
        <p:txBody>
          <a:bodyPr/>
          <a:lstStyle/>
          <a:p>
            <a:r>
              <a:rPr lang="en-US" dirty="0"/>
              <a:t>Improves quality of life</a:t>
            </a:r>
          </a:p>
          <a:p>
            <a:endParaRPr lang="en-US" dirty="0"/>
          </a:p>
          <a:p>
            <a:r>
              <a:rPr lang="en-US" dirty="0"/>
              <a:t>Improves NYHA class </a:t>
            </a:r>
          </a:p>
          <a:p>
            <a:endParaRPr lang="en-US" dirty="0"/>
          </a:p>
          <a:p>
            <a:r>
              <a:rPr lang="en-US" dirty="0"/>
              <a:t>EF improvement (5-8%)</a:t>
            </a:r>
          </a:p>
          <a:p>
            <a:endParaRPr lang="en-US" dirty="0"/>
          </a:p>
          <a:p>
            <a:r>
              <a:rPr lang="en-US" dirty="0"/>
              <a:t>Reduces HF hospitalization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EDA8CAF-C4E6-EA17-DF88-1A37D1F96B45}"/>
              </a:ext>
            </a:extLst>
          </p:cNvPr>
          <p:cNvSpPr/>
          <p:nvPr/>
        </p:nvSpPr>
        <p:spPr>
          <a:xfrm>
            <a:off x="6553200" y="1183923"/>
            <a:ext cx="152400" cy="228600"/>
          </a:xfrm>
          <a:prstGeom prst="rect">
            <a:avLst/>
          </a:prstGeom>
          <a:solidFill>
            <a:srgbClr val="8F7D7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792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ECA0F17-C1B3-314C-6097-28465B7915CD}"/>
              </a:ext>
            </a:extLst>
          </p:cNvPr>
          <p:cNvSpPr/>
          <p:nvPr/>
        </p:nvSpPr>
        <p:spPr>
          <a:xfrm>
            <a:off x="392938" y="1361940"/>
            <a:ext cx="11406126" cy="4850132"/>
          </a:xfrm>
          <a:prstGeom prst="roundRect">
            <a:avLst>
              <a:gd name="adj" fmla="val 147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2">
                <a:alpha val="18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266DE29B-3002-47D1-ADC5-F3CB3A98A8A6}"/>
              </a:ext>
            </a:extLst>
          </p:cNvPr>
          <p:cNvGraphicFramePr/>
          <p:nvPr/>
        </p:nvGraphicFramePr>
        <p:xfrm>
          <a:off x="841248" y="1502979"/>
          <a:ext cx="10459098" cy="44058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E25AD0AF-EE10-99AD-33EC-604A59647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Device-based Symptom Improvement</a:t>
            </a:r>
            <a:endParaRPr lang="en-GB" i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" name="Slide Number Placeholder 11">
            <a:extLst>
              <a:ext uri="{FF2B5EF4-FFF2-40B4-BE49-F238E27FC236}">
                <a16:creationId xmlns:a16="http://schemas.microsoft.com/office/drawing/2014/main" id="{FD895334-8E50-40B3-8880-F7FB18224847}"/>
              </a:ext>
            </a:extLst>
          </p:cNvPr>
          <p:cNvSpPr txBox="1">
            <a:spLocks/>
          </p:cNvSpPr>
          <p:nvPr/>
        </p:nvSpPr>
        <p:spPr>
          <a:xfrm>
            <a:off x="10748618" y="6356351"/>
            <a:ext cx="3918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E934D9-447A-DE44-AA34-6021915176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charset="0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MS PGothic" charset="0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D7824A5-E4DD-4724-26BD-9473BE3F18BE}"/>
              </a:ext>
            </a:extLst>
          </p:cNvPr>
          <p:cNvSpPr txBox="1"/>
          <p:nvPr/>
        </p:nvSpPr>
        <p:spPr>
          <a:xfrm>
            <a:off x="9816588" y="1798952"/>
            <a:ext cx="1932068" cy="89255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■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■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■ </a:t>
            </a:r>
            <a:r>
              <a:rPr lang="en-US" sz="14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/>
              </a:rPr>
              <a:t>BA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EBDA324-65D9-D106-7604-78A8FCCAEDB7}"/>
              </a:ext>
            </a:extLst>
          </p:cNvPr>
          <p:cNvSpPr txBox="1">
            <a:spLocks/>
          </p:cNvSpPr>
          <p:nvPr/>
        </p:nvSpPr>
        <p:spPr>
          <a:xfrm>
            <a:off x="675021" y="6334590"/>
            <a:ext cx="9556048" cy="4472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For CRT: Higgins JACC 2003, Abraham NEJM 2002, Abraham Circulation 2004, Young JAMA 2003, Cazeau NEJM 2001, Leclercq EHJ 200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For CCM 25-45%: Abraham, et al,, JACC Heart Failure 2018 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800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  <a:cs typeface="Calibri" panose="020F0502020204030204" pitchFamily="34" charset="0"/>
              </a:rPr>
              <a:t>For BA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Baroreflex Activation Therapy Coats AJS, Abraham WT, Zile MR, et al. European Journal of Heart Failure. 2022;24(9):1665-1673. doi:10.1002/ejhf.2573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9EBF1AC-28C7-483C-7405-532F54C528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77475" y="6328568"/>
            <a:ext cx="1529782" cy="385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5686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671E05-93E9-CE2A-F68B-2855AD5008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ice-based LV Improv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9EBC8B-0E7F-3741-34DC-91AEF8AD6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63C13F-A3EC-4D41-8C52-AB98F4053561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8E03A4-8ECB-C547-3C6D-0F87E2B0AB6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7115"/>
          <a:stretch/>
        </p:blipFill>
        <p:spPr>
          <a:xfrm>
            <a:off x="515312" y="2171625"/>
            <a:ext cx="2839693" cy="326965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D774FD4-D943-EB7F-4605-D76A9B85DB9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7115"/>
          <a:stretch/>
        </p:blipFill>
        <p:spPr>
          <a:xfrm>
            <a:off x="8322344" y="2212821"/>
            <a:ext cx="2839693" cy="3211974"/>
          </a:xfrm>
          <a:prstGeom prst="rect">
            <a:avLst/>
          </a:prstGeom>
        </p:spPr>
      </p:pic>
      <p:sp>
        <p:nvSpPr>
          <p:cNvPr id="7" name="Title 5">
            <a:extLst>
              <a:ext uri="{FF2B5EF4-FFF2-40B4-BE49-F238E27FC236}">
                <a16:creationId xmlns:a16="http://schemas.microsoft.com/office/drawing/2014/main" id="{AA6F5244-0956-E1E1-6D7B-C63FD6FFD546}"/>
              </a:ext>
            </a:extLst>
          </p:cNvPr>
          <p:cNvSpPr txBox="1">
            <a:spLocks/>
          </p:cNvSpPr>
          <p:nvPr/>
        </p:nvSpPr>
        <p:spPr>
          <a:xfrm>
            <a:off x="778889" y="1439212"/>
            <a:ext cx="3403475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5496"/>
                </a:solidFill>
                <a:latin typeface="+mj-lt"/>
                <a:ea typeface="+mj-ea"/>
                <a:cs typeface="Times New Roman" panose="02020603050405020304" pitchFamily="18" charset="0"/>
              </a:defRPr>
            </a:lvl1pPr>
          </a:lstStyle>
          <a:p>
            <a:pPr algn="ctr"/>
            <a:r>
              <a:rPr lang="en-US" sz="1700" dirty="0">
                <a:solidFill>
                  <a:srgbClr val="000000"/>
                </a:solidFill>
                <a:latin typeface="Arial" panose="020B0604020202020204"/>
              </a:rPr>
              <a:t>Entresto™ (sacubitril/valsartan)</a:t>
            </a:r>
          </a:p>
          <a:p>
            <a:pPr algn="ctr"/>
            <a:r>
              <a:rPr lang="en-US" sz="1100" i="1" dirty="0">
                <a:latin typeface="Arial" panose="020B0604020202020204"/>
              </a:rPr>
              <a:t>PROVE-HF, JAMA 2018</a:t>
            </a:r>
            <a:endParaRPr lang="en-US" sz="18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5D4E50-4E3C-4C26-8217-A713F7688A1F}"/>
              </a:ext>
            </a:extLst>
          </p:cNvPr>
          <p:cNvSpPr txBox="1"/>
          <p:nvPr/>
        </p:nvSpPr>
        <p:spPr>
          <a:xfrm>
            <a:off x="577345" y="5961940"/>
            <a:ext cx="3605019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700" dirty="0" err="1">
                <a:solidFill>
                  <a:srgbClr val="FFFFFF">
                    <a:lumMod val="65000"/>
                  </a:srgbClr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Januzzi</a:t>
            </a:r>
            <a:r>
              <a:rPr lang="en-US" sz="700" dirty="0">
                <a:solidFill>
                  <a:srgbClr val="FFFFFF">
                    <a:lumMod val="65000"/>
                  </a:srgbClr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, J. L., Prescott, M. F., Butler, J., Felker, G. M., Maisel, A. S., </a:t>
            </a:r>
            <a:r>
              <a:rPr lang="en-US" sz="700" dirty="0" err="1">
                <a:solidFill>
                  <a:srgbClr val="FFFFFF">
                    <a:lumMod val="65000"/>
                  </a:srgbClr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McCague</a:t>
            </a:r>
            <a:r>
              <a:rPr lang="en-US" sz="700" dirty="0">
                <a:solidFill>
                  <a:srgbClr val="FFFFFF">
                    <a:lumMod val="65000"/>
                  </a:srgbClr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, K., ... &amp; PROVE-HF Investigators. (2019). Association of change in N-terminal pro–B-type natriuretic peptide following initiation of sacubitril-valsartan treatment with cardiac structure and function in patients with heart failure with reduced ejection fraction. </a:t>
            </a:r>
            <a:r>
              <a:rPr lang="en-US" sz="700" i="1" dirty="0">
                <a:solidFill>
                  <a:srgbClr val="FFFFFF">
                    <a:lumMod val="65000"/>
                  </a:srgbClr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Jama</a:t>
            </a:r>
            <a:r>
              <a:rPr lang="en-US" sz="700" dirty="0">
                <a:solidFill>
                  <a:srgbClr val="FFFFFF">
                    <a:lumMod val="65000"/>
                  </a:srgbClr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, </a:t>
            </a:r>
            <a:r>
              <a:rPr lang="en-US" sz="700" i="1" dirty="0">
                <a:solidFill>
                  <a:srgbClr val="FFFFFF">
                    <a:lumMod val="65000"/>
                  </a:srgbClr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322</a:t>
            </a:r>
            <a:r>
              <a:rPr lang="en-US" sz="700" dirty="0">
                <a:solidFill>
                  <a:srgbClr val="FFFFFF">
                    <a:lumMod val="65000"/>
                  </a:srgbClr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(11), 1085-1095.</a:t>
            </a:r>
            <a:endParaRPr lang="en-US" sz="700" dirty="0">
              <a:solidFill>
                <a:srgbClr val="FFFFFF">
                  <a:lumMod val="65000"/>
                </a:srgbClr>
              </a:solidFill>
              <a:latin typeface="Arial" panose="020B0604020202020204"/>
            </a:endParaRPr>
          </a:p>
        </p:txBody>
      </p:sp>
      <p:sp>
        <p:nvSpPr>
          <p:cNvPr id="9" name="Text Box 24">
            <a:extLst>
              <a:ext uri="{FF2B5EF4-FFF2-40B4-BE49-F238E27FC236}">
                <a16:creationId xmlns:a16="http://schemas.microsoft.com/office/drawing/2014/main" id="{00BCC7F0-2BCC-85CE-6F64-30F8318822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08536" y="5961940"/>
            <a:ext cx="3090527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spcBef>
                <a:spcPct val="50000"/>
              </a:spcBef>
            </a:pPr>
            <a:r>
              <a:rPr lang="en-US" altLang="en-US" sz="700" i="1" dirty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Yu, et al., Impact of cardiac contractility modulation on left ventricular global and regional function and remodeling. JACC Cardiovasc Imaging. 2009 Dec;2(12):1341-9. </a:t>
            </a:r>
            <a:r>
              <a:rPr lang="en-US" altLang="en-US" sz="700" i="1" dirty="0" err="1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doi</a:t>
            </a:r>
            <a:r>
              <a:rPr lang="en-US" altLang="en-US" sz="700" i="1" dirty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: 10.1016/j.jcmg.2009.07.011.</a:t>
            </a:r>
          </a:p>
        </p:txBody>
      </p:sp>
      <p:sp>
        <p:nvSpPr>
          <p:cNvPr id="10" name="Title 5">
            <a:extLst>
              <a:ext uri="{FF2B5EF4-FFF2-40B4-BE49-F238E27FC236}">
                <a16:creationId xmlns:a16="http://schemas.microsoft.com/office/drawing/2014/main" id="{E5B5DE18-B53B-0F6A-C1EC-793E74CAC481}"/>
              </a:ext>
            </a:extLst>
          </p:cNvPr>
          <p:cNvSpPr txBox="1">
            <a:spLocks/>
          </p:cNvSpPr>
          <p:nvPr/>
        </p:nvSpPr>
        <p:spPr>
          <a:xfrm>
            <a:off x="8799190" y="1432407"/>
            <a:ext cx="2839693" cy="5811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5496"/>
                </a:solidFill>
                <a:latin typeface="+mj-lt"/>
                <a:ea typeface="+mj-ea"/>
                <a:cs typeface="Times New Roman" panose="02020603050405020304" pitchFamily="18" charset="0"/>
              </a:defRPr>
            </a:lvl1pPr>
          </a:lstStyle>
          <a:p>
            <a:pPr algn="ctr"/>
            <a:r>
              <a:rPr lang="en-US" sz="1700" dirty="0">
                <a:solidFill>
                  <a:srgbClr val="000000"/>
                </a:solidFill>
                <a:latin typeface="Arial" panose="020B0604020202020204"/>
              </a:rPr>
              <a:t>Cardiac Contractility Modulation (CCM</a:t>
            </a:r>
            <a:r>
              <a:rPr lang="en-US" sz="1700" baseline="30000" dirty="0">
                <a:solidFill>
                  <a:srgbClr val="000000"/>
                </a:solidFill>
                <a:latin typeface="Arial" panose="020B0604020202020204"/>
              </a:rPr>
              <a:t>®</a:t>
            </a:r>
            <a:r>
              <a:rPr lang="en-US" sz="1700" dirty="0">
                <a:solidFill>
                  <a:srgbClr val="000000"/>
                </a:solidFill>
                <a:latin typeface="Arial" panose="020B0604020202020204"/>
              </a:rPr>
              <a:t>)</a:t>
            </a:r>
          </a:p>
          <a:p>
            <a:pPr algn="ctr">
              <a:spcBef>
                <a:spcPts val="600"/>
              </a:spcBef>
            </a:pPr>
            <a:r>
              <a:rPr lang="en-US" sz="1200" i="1" dirty="0">
                <a:latin typeface="Arial" panose="020B0604020202020204"/>
              </a:rPr>
              <a:t>JACC 2009</a:t>
            </a:r>
            <a:endParaRPr lang="en-US" sz="1200" dirty="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E6BF028-E1A3-1778-D368-76BE7FF8E95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4207"/>
          <a:stretch/>
        </p:blipFill>
        <p:spPr>
          <a:xfrm>
            <a:off x="4491411" y="2103854"/>
            <a:ext cx="3209179" cy="3618261"/>
          </a:xfrm>
          <a:prstGeom prst="rect">
            <a:avLst/>
          </a:prstGeom>
        </p:spPr>
      </p:pic>
      <p:sp>
        <p:nvSpPr>
          <p:cNvPr id="13" name="Title 5">
            <a:extLst>
              <a:ext uri="{FF2B5EF4-FFF2-40B4-BE49-F238E27FC236}">
                <a16:creationId xmlns:a16="http://schemas.microsoft.com/office/drawing/2014/main" id="{A8AD1788-59B2-4BD2-1975-B9DC4EAE5E89}"/>
              </a:ext>
            </a:extLst>
          </p:cNvPr>
          <p:cNvSpPr txBox="1">
            <a:spLocks/>
          </p:cNvSpPr>
          <p:nvPr/>
        </p:nvSpPr>
        <p:spPr>
          <a:xfrm>
            <a:off x="4810572" y="1521943"/>
            <a:ext cx="3035783" cy="58111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5496"/>
                </a:solidFill>
                <a:latin typeface="+mj-lt"/>
                <a:ea typeface="+mj-ea"/>
                <a:cs typeface="Times New Roman" panose="02020603050405020304" pitchFamily="18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Times New Roman" panose="02020603050405020304" pitchFamily="18" charset="0"/>
              </a:rPr>
              <a:t>CRT “on” vs. Sham Control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5496"/>
                </a:solidFill>
                <a:effectLst/>
                <a:uLnTx/>
                <a:uFillTx/>
                <a:latin typeface="Arial" panose="020B0604020202020204"/>
                <a:ea typeface="+mj-ea"/>
                <a:cs typeface="Times New Roman" panose="02020603050405020304" pitchFamily="18" charset="0"/>
              </a:rPr>
              <a:t>MIRACLE, NEJM 2002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61F8B6-82E5-5FD7-D957-CE2DEAA88A88}"/>
              </a:ext>
            </a:extLst>
          </p:cNvPr>
          <p:cNvSpPr txBox="1"/>
          <p:nvPr/>
        </p:nvSpPr>
        <p:spPr>
          <a:xfrm>
            <a:off x="5012744" y="5961940"/>
            <a:ext cx="2865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braham, W. T., Fisher, W. G., Smith, A. L.,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lurgio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D. B., Leon, A. R., Loh, E., ... &amp; Messenger, J. (2002). Cardiac resynchronization in chronic heart failure. 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ew England Journal of Medicine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 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46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24), 1845-1853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63965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48EDE0-ADCE-430A-9285-CE473A2215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B628090-73B8-AB19-751A-14E7C41450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6317" y="2355932"/>
            <a:ext cx="3554276" cy="3365284"/>
          </a:xfrm>
          <a:prstGeom prst="rect">
            <a:avLst/>
          </a:prstGeom>
        </p:spPr>
      </p:pic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F16A204C-82C4-029E-876D-93B83FF24EC9}"/>
              </a:ext>
            </a:extLst>
          </p:cNvPr>
          <p:cNvSpPr txBox="1">
            <a:spLocks/>
          </p:cNvSpPr>
          <p:nvPr/>
        </p:nvSpPr>
        <p:spPr>
          <a:xfrm rot="10800000" flipV="1">
            <a:off x="358217" y="6297362"/>
            <a:ext cx="9168959" cy="478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85792" rtl="0" eaLnBrk="1" latinLnBrk="0" hangingPunct="1">
              <a:lnSpc>
                <a:spcPct val="100000"/>
              </a:lnSpc>
              <a:spcBef>
                <a:spcPts val="1905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en-US" sz="794" b="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Arial" pitchFamily="34" charset="0"/>
              </a:defRPr>
            </a:lvl1pPr>
            <a:lvl2pPr marL="428612" indent="-142871" algn="l" defTabSz="685792" rtl="0" eaLnBrk="1" latinLnBrk="0" hangingPunct="1">
              <a:lnSpc>
                <a:spcPct val="100000"/>
              </a:lnSpc>
              <a:spcBef>
                <a:spcPts val="953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588" kern="1200" dirty="0" smtClean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Arial" pitchFamily="34" charset="0"/>
              </a:defRPr>
            </a:lvl2pPr>
            <a:lvl3pPr marL="571482" indent="-142871" algn="l" defTabSz="685792" rtl="0" eaLnBrk="1" latinLnBrk="0" hangingPunct="1">
              <a:lnSpc>
                <a:spcPct val="100000"/>
              </a:lnSpc>
              <a:spcBef>
                <a:spcPts val="953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lang="en-US" sz="1588" kern="1200" dirty="0" smtClean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Arial" pitchFamily="34" charset="0"/>
              </a:defRPr>
            </a:lvl3pPr>
            <a:lvl4pPr marL="0" indent="0" algn="l" defTabSz="685792" rtl="0" eaLnBrk="1" latinLnBrk="0" hangingPunct="1">
              <a:lnSpc>
                <a:spcPct val="100000"/>
              </a:lnSpc>
              <a:spcBef>
                <a:spcPts val="476"/>
              </a:spcBef>
              <a:buClr>
                <a:srgbClr val="024A91"/>
              </a:buClr>
              <a:buFont typeface="Wingdings" panose="05000000000000000000" pitchFamily="2" charset="2"/>
              <a:buNone/>
              <a:defRPr lang="en-US" sz="1270" kern="1200" dirty="0" smtClean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Arial" pitchFamily="34" charset="0"/>
              </a:defRPr>
            </a:lvl4pPr>
            <a:lvl5pPr marL="285741" indent="-285741" algn="l" defTabSz="685792" rtl="0" eaLnBrk="1" latinLnBrk="0" hangingPunct="1">
              <a:lnSpc>
                <a:spcPct val="100000"/>
              </a:lnSpc>
              <a:spcBef>
                <a:spcPts val="476"/>
              </a:spcBef>
              <a:buClr>
                <a:srgbClr val="024A91"/>
              </a:buClr>
              <a:buFont typeface="+mj-lt"/>
              <a:buAutoNum type="arabicPeriod"/>
              <a:defRPr lang="en-US" sz="1588" kern="120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Arial" pitchFamily="34" charset="0"/>
              </a:defRPr>
            </a:lvl5pPr>
            <a:lvl6pPr marL="1885927" indent="-171448" algn="l" defTabSz="68579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23" indent="-171448" algn="l" defTabSz="68579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19" indent="-171448" algn="l" defTabSz="68579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14" indent="-171448" algn="l" defTabSz="68579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65000"/>
                </a:srgbClr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Calibri" panose="020F0502020204030204" pitchFamily="34" charset="0"/>
              </a:rPr>
              <a:t>Abraha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itchFamily="34" charset="0"/>
              </a:rPr>
              <a:t> et al JACC Heart Fail. 2018 Oct;6(10):874-883,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itchFamily="34" charset="0"/>
              </a:rPr>
              <a:t>doi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itchFamily="34" charset="0"/>
              </a:rPr>
              <a:t>: 10.1016/j.jchf.2018.04.010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Arial" pitchFamily="34" charset="0"/>
            </a:endParaRPr>
          </a:p>
          <a:p>
            <a:pPr marL="342900" marR="0" lvl="0" indent="-342900" algn="l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65000"/>
                </a:srgbClr>
              </a:buClr>
              <a:buSzTx/>
              <a:buFont typeface="+mj-lt"/>
              <a:buAutoNum type="arabicPeriod"/>
              <a:tabLst/>
              <a:defRPr/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itchFamily="34" charset="0"/>
              </a:rPr>
              <a:t>Kuschyk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itchFamily="34" charset="0"/>
              </a:rPr>
              <a:t> et al,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itchFamily="34" charset="0"/>
              </a:rPr>
              <a:t>Eur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itchFamily="34" charset="0"/>
              </a:rPr>
              <a:t> J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itchFamily="34" charset="0"/>
              </a:rPr>
              <a:t>Heart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itchFamily="34" charset="0"/>
              </a:rPr>
              <a:t> Failure 2021</a:t>
            </a:r>
          </a:p>
          <a:p>
            <a:pPr marL="342900" marR="0" lvl="0" indent="-342900" algn="l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65000"/>
                </a:srgbClr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itchFamily="34" charset="0"/>
              </a:rPr>
              <a:t>Liu, Ming, et al. "Improvement of long-term survival by cardiac contractility modulation in heart failure patients: A case–control study." 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itchFamily="34" charset="0"/>
              </a:rPr>
              <a:t>International journal of cardiolog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itchFamily="34" charset="0"/>
              </a:rPr>
              <a:t> 206 (2016): 122-126.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Arial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A555D4-B841-667D-8B42-764EFB4D0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ice-based Morbidity/Mortality Reduction</a:t>
            </a:r>
            <a:endParaRPr lang="en-US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9AF59C7-16A8-142C-B692-6585FF12DFDD}"/>
              </a:ext>
            </a:extLst>
          </p:cNvPr>
          <p:cNvSpPr txBox="1"/>
          <p:nvPr/>
        </p:nvSpPr>
        <p:spPr>
          <a:xfrm>
            <a:off x="7173547" y="1825383"/>
            <a:ext cx="415008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eedom from All-cause Mortality or HFH: CCM vs. Matched Controls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3C18300E-42AE-04F7-98E8-BCAB633AA1DA}"/>
              </a:ext>
            </a:extLst>
          </p:cNvPr>
          <p:cNvSpPr txBox="1"/>
          <p:nvPr/>
        </p:nvSpPr>
        <p:spPr>
          <a:xfrm>
            <a:off x="553405" y="5869328"/>
            <a:ext cx="5867400" cy="4267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algn="ctr" defTabSz="914400" rtl="0" eaLnBrk="1" fontAlgn="auto" latinLnBrk="0" hangingPunct="1">
              <a:lnSpc>
                <a:spcPts val="16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Montserrat"/>
              </a:rPr>
              <a:t>Note:  These</a:t>
            </a:r>
            <a: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Montserrat"/>
              </a:rPr>
              <a:t> are not RCTs – (these effects </a:t>
            </a:r>
            <a:r>
              <a:rPr kumimoji="0" lang="en-US" sz="2000" b="0" i="0" u="none" strike="noStrike" kern="1200" cap="none" spc="0" normalizeH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Montserrat"/>
              </a:rPr>
              <a:t>hav</a:t>
            </a:r>
            <a:r>
              <a:rPr lang="en-US" sz="2000" dirty="0">
                <a:solidFill>
                  <a:srgbClr val="C00000"/>
                </a:solidFill>
                <a:cs typeface="Montserrat"/>
              </a:rPr>
              <a:t>e not been shown in RCTs to date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cs typeface="Montserrat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88710CC-3CDD-142E-8B18-58B25EA2F740}"/>
              </a:ext>
            </a:extLst>
          </p:cNvPr>
          <p:cNvGrpSpPr/>
          <p:nvPr/>
        </p:nvGrpSpPr>
        <p:grpSpPr>
          <a:xfrm>
            <a:off x="880983" y="1816450"/>
            <a:ext cx="6131356" cy="3993146"/>
            <a:chOff x="871053" y="1580340"/>
            <a:chExt cx="4726957" cy="2612125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5FC04F79-3EF7-159C-9B22-F96AD53EEC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9664"/>
            <a:stretch/>
          </p:blipFill>
          <p:spPr>
            <a:xfrm>
              <a:off x="871053" y="1655488"/>
              <a:ext cx="4401020" cy="2522870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A32E9F7-13AA-DAEE-2162-E294CB38FD79}"/>
                </a:ext>
              </a:extLst>
            </p:cNvPr>
            <p:cNvSpPr txBox="1"/>
            <p:nvPr/>
          </p:nvSpPr>
          <p:spPr>
            <a:xfrm>
              <a:off x="3851955" y="1666374"/>
              <a:ext cx="40059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3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457862B-E66C-7D4A-F8D7-647F92227636}"/>
                </a:ext>
              </a:extLst>
            </p:cNvPr>
            <p:cNvCxnSpPr>
              <a:cxnSpLocks/>
            </p:cNvCxnSpPr>
            <p:nvPr/>
          </p:nvCxnSpPr>
          <p:spPr>
            <a:xfrm>
              <a:off x="1811898" y="3541846"/>
              <a:ext cx="145515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F9B9AB7-AEB9-B215-A991-720C5AB5A4F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78684" y="1580340"/>
              <a:ext cx="4719326" cy="2612125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1EEF21A3-B1C2-1572-C616-D180071E13D7}"/>
              </a:ext>
            </a:extLst>
          </p:cNvPr>
          <p:cNvSpPr txBox="1"/>
          <p:nvPr/>
        </p:nvSpPr>
        <p:spPr>
          <a:xfrm>
            <a:off x="2236379" y="1866235"/>
            <a:ext cx="365928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 CCM Subjects vs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cted Survival by MAGGIC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6FAAA29-1D33-1FB2-E53A-109F7F1E0B2D}"/>
              </a:ext>
            </a:extLst>
          </p:cNvPr>
          <p:cNvSpPr txBox="1"/>
          <p:nvPr/>
        </p:nvSpPr>
        <p:spPr>
          <a:xfrm>
            <a:off x="2913835" y="1189170"/>
            <a:ext cx="207554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rope</a:t>
            </a:r>
            <a:endParaRPr kumimoji="0" lang="en-US" sz="1800" b="1" i="1" u="none" strike="noStrike" kern="1200" cap="none" spc="0" normalizeH="0" baseline="3000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A9D870B-2EAC-020B-4AA3-F37DCF000B18}"/>
              </a:ext>
            </a:extLst>
          </p:cNvPr>
          <p:cNvSpPr txBox="1"/>
          <p:nvPr/>
        </p:nvSpPr>
        <p:spPr>
          <a:xfrm>
            <a:off x="8210813" y="1175424"/>
            <a:ext cx="207554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ia</a:t>
            </a:r>
            <a:endParaRPr kumimoji="0" lang="en-US" sz="1800" b="1" i="1" u="none" strike="noStrike" kern="1200" cap="none" spc="0" normalizeH="0" baseline="3000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4C89B5-E992-C145-FD17-733289272F7D}"/>
              </a:ext>
            </a:extLst>
          </p:cNvPr>
          <p:cNvSpPr txBox="1"/>
          <p:nvPr/>
        </p:nvSpPr>
        <p:spPr>
          <a:xfrm>
            <a:off x="2913834" y="1508611"/>
            <a:ext cx="20755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EF &lt;50%)</a:t>
            </a:r>
            <a:endParaRPr kumimoji="0" lang="en-US" sz="1400" i="1" u="none" strike="noStrike" kern="1200" cap="none" spc="0" normalizeH="0" baseline="3000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85CF3B-0A55-0226-4983-D225D49AD45F}"/>
              </a:ext>
            </a:extLst>
          </p:cNvPr>
          <p:cNvSpPr txBox="1"/>
          <p:nvPr/>
        </p:nvSpPr>
        <p:spPr>
          <a:xfrm>
            <a:off x="8210813" y="1491535"/>
            <a:ext cx="20755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EF &lt;45%)</a:t>
            </a:r>
            <a:endParaRPr kumimoji="0" lang="en-US" sz="1400" i="1" u="none" strike="noStrike" kern="1200" cap="none" spc="0" normalizeH="0" baseline="3000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1390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/>
      <p:bldP spid="22" grpId="0" animBg="1"/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37EA8718-3D6D-8C3E-E8FF-4F3F00CDF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cerns?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BFB852D-BDE9-75E3-450D-E76850B48C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206500"/>
            <a:ext cx="10972801" cy="4813300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Atrial Fibrillation (AF) vs NSR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Safe and effective in AF -- 503 pt registry data (2021)</a:t>
            </a:r>
            <a:endParaRPr lang="en-US" b="0" i="0" dirty="0">
              <a:solidFill>
                <a:schemeClr val="tx1"/>
              </a:solidFill>
              <a:effectLst/>
            </a:endParaRPr>
          </a:p>
          <a:p>
            <a:r>
              <a:rPr lang="en-US" b="0" i="0" dirty="0">
                <a:solidFill>
                  <a:schemeClr val="tx1"/>
                </a:solidFill>
                <a:effectLst/>
              </a:rPr>
              <a:t>Tricuspid Regurgitation (TR)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sz="1600" i="0" dirty="0">
                <a:solidFill>
                  <a:schemeClr val="tx1"/>
                </a:solidFill>
                <a:effectLst/>
              </a:rPr>
              <a:t>Approximately 80% of cases of significant TR are </a:t>
            </a:r>
            <a:r>
              <a:rPr lang="en-US" sz="1600" i="1" dirty="0">
                <a:solidFill>
                  <a:schemeClr val="tx1"/>
                </a:solidFill>
                <a:effectLst/>
              </a:rPr>
              <a:t>functional</a:t>
            </a:r>
            <a:r>
              <a:rPr lang="en-US" sz="1600" i="0" dirty="0">
                <a:solidFill>
                  <a:schemeClr val="tx1"/>
                </a:solidFill>
                <a:effectLst/>
              </a:rPr>
              <a:t> in nature and related to tricuspid annular dilation and leaflet tethering in the setting of RV remodeling due to pressure and/or volume overload.</a:t>
            </a:r>
            <a:r>
              <a:rPr lang="en-US" sz="1600" i="0" baseline="30000" dirty="0">
                <a:solidFill>
                  <a:schemeClr val="tx1"/>
                </a:solidFill>
                <a:effectLst/>
              </a:rPr>
              <a:t>1</a:t>
            </a:r>
          </a:p>
          <a:p>
            <a:pPr lvl="1"/>
            <a:r>
              <a:rPr lang="en-US" sz="1600" dirty="0">
                <a:solidFill>
                  <a:schemeClr val="tx1"/>
                </a:solidFill>
                <a:effectLst/>
              </a:rPr>
              <a:t>The leading cause of TR is changes in the RV shape due to heart failure – so treat the HF!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283 pts from FIX-HF-5 &amp; FIX-HF-5C reported no cases of TR</a:t>
            </a:r>
          </a:p>
          <a:p>
            <a:r>
              <a:rPr lang="en-US" dirty="0">
                <a:solidFill>
                  <a:schemeClr val="tx1"/>
                </a:solidFill>
              </a:rPr>
              <a:t>Increased PVCs?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No significant PVC increase -- FIX-CHF-4 (2008)</a:t>
            </a:r>
          </a:p>
          <a:p>
            <a:r>
              <a:rPr lang="en-US" dirty="0">
                <a:solidFill>
                  <a:schemeClr val="tx1"/>
                </a:solidFill>
              </a:rPr>
              <a:t>Multiple devices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Very little reluctance from patients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Interaction testing done during the implan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B3D6875-8C98-279E-FAEC-6AA633452EE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6202363"/>
            <a:ext cx="11515725" cy="604837"/>
          </a:xfrm>
        </p:spPr>
        <p:txBody>
          <a:bodyPr>
            <a:normAutofit fontScale="40000" lnSpcReduction="20000"/>
          </a:bodyPr>
          <a:lstStyle/>
          <a:p>
            <a:pPr marL="228600" indent="-228600">
              <a:buAutoNum type="arabicPeriod"/>
            </a:pPr>
            <a:r>
              <a:rPr lang="en-US" b="0" i="0" dirty="0">
                <a:solidFill>
                  <a:srgbClr val="222222"/>
                </a:solidFill>
                <a:effectLst/>
                <a:latin typeface="Abadi Extra Light" panose="020B0204020104020204" pitchFamily="34" charset="0"/>
              </a:rPr>
              <a:t>Nishimura, Rick A., et al. "2017 AHA/ACC focused update of the 2014 AHA/ACC guideline for the management of patients with valvular heart disease: a report of the American College of Cardiology/American Heart Association Task Force on Clinical Practice Guidelines." </a:t>
            </a:r>
            <a:r>
              <a:rPr lang="en-US" b="0" i="1" dirty="0">
                <a:solidFill>
                  <a:srgbClr val="222222"/>
                </a:solidFill>
                <a:effectLst/>
                <a:latin typeface="Abadi Extra Light" panose="020B0204020104020204" pitchFamily="34" charset="0"/>
              </a:rPr>
              <a:t>Circulation</a:t>
            </a:r>
            <a:r>
              <a:rPr lang="en-US" b="0" i="0" dirty="0">
                <a:solidFill>
                  <a:srgbClr val="222222"/>
                </a:solidFill>
                <a:effectLst/>
                <a:latin typeface="Abadi Extra Light" panose="020B0204020104020204" pitchFamily="34" charset="0"/>
              </a:rPr>
              <a:t> 135.25 (2017): e1159-e1195.</a:t>
            </a:r>
          </a:p>
        </p:txBody>
      </p:sp>
    </p:spTree>
    <p:extLst>
      <p:ext uri="{BB962C8B-B14F-4D97-AF65-F5344CB8AC3E}">
        <p14:creationId xmlns:p14="http://schemas.microsoft.com/office/powerpoint/2010/main" val="563372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DA5C55-6058-40F2-AC29-A4CDFD91C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3B9C635-C10A-42CF-3236-DE707A516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en-US" sz="32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j-ea"/>
                <a:cs typeface="Times New Roman" panose="02020603050405020304" pitchFamily="18" charset="0"/>
              </a:rPr>
              <a:t>Where CCM</a:t>
            </a:r>
            <a:r>
              <a:rPr lang="en-US" sz="3200" b="1" baseline="30000" dirty="0">
                <a:latin typeface="Arial" panose="020B0604020202020204"/>
                <a:cs typeface="Times New Roman" panose="02020603050405020304" pitchFamily="18" charset="0"/>
              </a:rPr>
              <a:t> </a:t>
            </a:r>
            <a:r>
              <a:rPr kumimoji="0" lang="en-US" sz="32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j-ea"/>
                <a:cs typeface="Times New Roman" panose="02020603050405020304" pitchFamily="18" charset="0"/>
              </a:rPr>
              <a:t>Fits:</a:t>
            </a:r>
            <a:endParaRPr lang="en-US" dirty="0"/>
          </a:p>
        </p:txBody>
      </p:sp>
      <p:sp>
        <p:nvSpPr>
          <p:cNvPr id="25" name="Content Placeholder 17">
            <a:extLst>
              <a:ext uri="{FF2B5EF4-FFF2-40B4-BE49-F238E27FC236}">
                <a16:creationId xmlns:a16="http://schemas.microsoft.com/office/drawing/2014/main" id="{0E5F307E-3138-E79A-D0C1-73597DDD79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252" y="1298223"/>
            <a:ext cx="4893723" cy="832556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i="1" spc="0" dirty="0">
                <a:solidFill>
                  <a:schemeClr val="tx1"/>
                </a:solidFill>
              </a:rPr>
              <a:t>HF Device Treatment Pathwa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496E6F-D7D7-EB30-2F30-B50A5FFFD4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2400" y="790754"/>
            <a:ext cx="4914929" cy="5533846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C3CFC689-B18E-AF3D-F06C-A4165DE1D8D6}"/>
              </a:ext>
            </a:extLst>
          </p:cNvPr>
          <p:cNvGrpSpPr/>
          <p:nvPr/>
        </p:nvGrpSpPr>
        <p:grpSpPr>
          <a:xfrm>
            <a:off x="4044264" y="5562601"/>
            <a:ext cx="680136" cy="685797"/>
            <a:chOff x="4000865" y="5315657"/>
            <a:chExt cx="680136" cy="758873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1A0C4A2-7AB2-1B8B-C56B-3967B017E5BB}"/>
                </a:ext>
              </a:extLst>
            </p:cNvPr>
            <p:cNvSpPr/>
            <p:nvPr/>
          </p:nvSpPr>
          <p:spPr>
            <a:xfrm>
              <a:off x="4000865" y="5710247"/>
              <a:ext cx="680136" cy="348749"/>
            </a:xfrm>
            <a:prstGeom prst="rect">
              <a:avLst/>
            </a:prstGeom>
            <a:solidFill>
              <a:schemeClr val="bg1"/>
            </a:soli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8B1E2AD-7EB1-37BC-BF37-60E5F8CCBF76}"/>
                </a:ext>
              </a:extLst>
            </p:cNvPr>
            <p:cNvSpPr txBox="1"/>
            <p:nvPr/>
          </p:nvSpPr>
          <p:spPr>
            <a:xfrm>
              <a:off x="4000865" y="5705198"/>
              <a:ext cx="669002" cy="36933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BAT</a:t>
              </a:r>
            </a:p>
          </p:txBody>
        </p: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0142198A-4D7D-84B9-9975-DA0916FEAADD}"/>
                </a:ext>
              </a:extLst>
            </p:cNvPr>
            <p:cNvCxnSpPr>
              <a:cxnSpLocks/>
            </p:cNvCxnSpPr>
            <p:nvPr/>
          </p:nvCxnSpPr>
          <p:spPr>
            <a:xfrm>
              <a:off x="4351434" y="5315657"/>
              <a:ext cx="0" cy="407399"/>
            </a:xfrm>
            <a:prstGeom prst="straightConnector1">
              <a:avLst/>
            </a:prstGeom>
            <a:ln w="34925">
              <a:solidFill>
                <a:schemeClr val="tx1"/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E13F9BF6-0A21-AC62-1736-8D0EE5171700}"/>
              </a:ext>
            </a:extLst>
          </p:cNvPr>
          <p:cNvSpPr/>
          <p:nvPr/>
        </p:nvSpPr>
        <p:spPr>
          <a:xfrm>
            <a:off x="3873028" y="3632200"/>
            <a:ext cx="2864063" cy="26379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4340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322E0F-E1FB-227F-02EA-C75E4E3EC2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AB66B1-1200-1F60-DBE0-C3BD56CAC554}"/>
              </a:ext>
            </a:extLst>
          </p:cNvPr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r>
              <a:rPr lang="en-US"/>
              <a:t>SAINT LUKE'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68BA62-37E9-A26A-AA74-0ADB8421A0D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2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0510E3-6D25-DC8D-E99C-3E26B5C3CE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7213" y="1701"/>
            <a:ext cx="12246426" cy="685459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B96AA87-A54C-65A1-FB2C-ADDBC97BFEF0}"/>
              </a:ext>
            </a:extLst>
          </p:cNvPr>
          <p:cNvSpPr txBox="1"/>
          <p:nvPr/>
        </p:nvSpPr>
        <p:spPr>
          <a:xfrm>
            <a:off x="6477000" y="3657600"/>
            <a:ext cx="617826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kern="0" dirty="0">
                <a:solidFill>
                  <a:prstClr val="white"/>
                </a:solidFill>
              </a:rPr>
              <a:t>Daniel Steinhaus, MD</a:t>
            </a:r>
          </a:p>
          <a:p>
            <a:r>
              <a:rPr lang="en-US" sz="1800" kern="0" dirty="0">
                <a:solidFill>
                  <a:prstClr val="white"/>
                </a:solidFill>
              </a:rPr>
              <a:t>Saint Luke’s Mid America Heart Institute</a:t>
            </a:r>
          </a:p>
          <a:p>
            <a:r>
              <a:rPr lang="en-US" sz="1800" kern="0" dirty="0">
                <a:solidFill>
                  <a:prstClr val="white"/>
                </a:solidFill>
              </a:rPr>
              <a:t>Assistant Professor</a:t>
            </a:r>
          </a:p>
          <a:p>
            <a:r>
              <a:rPr lang="en-US" sz="1800" kern="0" dirty="0">
                <a:solidFill>
                  <a:prstClr val="white"/>
                </a:solidFill>
              </a:rPr>
              <a:t>University of Missouri, Kansas City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CEEB2E93-BE16-E1C4-5EDE-32272285DB95}"/>
              </a:ext>
            </a:extLst>
          </p:cNvPr>
          <p:cNvSpPr txBox="1">
            <a:spLocks/>
          </p:cNvSpPr>
          <p:nvPr/>
        </p:nvSpPr>
        <p:spPr>
          <a:xfrm>
            <a:off x="6096000" y="949305"/>
            <a:ext cx="5436072" cy="1752600"/>
          </a:xfrm>
          <a:prstGeom prst="rect">
            <a:avLst/>
          </a:prstGeom>
        </p:spPr>
        <p:txBody>
          <a:bodyPr/>
          <a:lstStyle>
            <a:lvl1pPr marL="0" eaLnBrk="1" hangingPunct="1">
              <a:defRPr>
                <a:latin typeface="+mn-lt"/>
                <a:ea typeface="+mn-ea"/>
                <a:cs typeface="+mn-cs"/>
              </a:defRPr>
            </a:lvl1pPr>
            <a:lvl2pPr marL="457200" eaLnBrk="1" hangingPunct="1">
              <a:defRPr>
                <a:latin typeface="+mn-lt"/>
                <a:ea typeface="+mn-ea"/>
                <a:cs typeface="+mn-cs"/>
              </a:defRPr>
            </a:lvl2pPr>
            <a:lvl3pPr marL="914400" eaLnBrk="1" hangingPunct="1">
              <a:defRPr>
                <a:latin typeface="+mn-lt"/>
                <a:ea typeface="+mn-ea"/>
                <a:cs typeface="+mn-cs"/>
              </a:defRPr>
            </a:lvl3pPr>
            <a:lvl4pPr marL="1371600" eaLnBrk="1" hangingPunct="1">
              <a:defRPr>
                <a:latin typeface="+mn-lt"/>
                <a:ea typeface="+mn-ea"/>
                <a:cs typeface="+mn-cs"/>
              </a:defRPr>
            </a:lvl4pPr>
            <a:lvl5pPr marL="1828800" eaLnBrk="1" hangingPunct="1">
              <a:defRPr>
                <a:latin typeface="+mn-lt"/>
                <a:ea typeface="+mn-ea"/>
                <a:cs typeface="+mn-cs"/>
              </a:defRPr>
            </a:lvl5pPr>
            <a:lvl6pPr marL="2286000" eaLnBrk="1" hangingPunct="1">
              <a:defRPr>
                <a:latin typeface="+mn-lt"/>
                <a:ea typeface="+mn-ea"/>
                <a:cs typeface="+mn-cs"/>
              </a:defRPr>
            </a:lvl6pPr>
            <a:lvl7pPr marL="2743200" eaLnBrk="1" hangingPunct="1">
              <a:defRPr>
                <a:latin typeface="+mn-lt"/>
                <a:ea typeface="+mn-ea"/>
                <a:cs typeface="+mn-cs"/>
              </a:defRPr>
            </a:lvl7pPr>
            <a:lvl8pPr marL="3200400" eaLnBrk="1" hangingPunct="1">
              <a:defRPr>
                <a:latin typeface="+mn-lt"/>
                <a:ea typeface="+mn-ea"/>
                <a:cs typeface="+mn-cs"/>
              </a:defRPr>
            </a:lvl8pPr>
            <a:lvl9pPr marL="3657600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 kern="0" dirty="0">
                <a:solidFill>
                  <a:prstClr val="white"/>
                </a:solidFill>
                <a:cs typeface="Aharoni" panose="020F0502020204030204" pitchFamily="2" charset="-79"/>
              </a:rPr>
              <a:t>Cardiac Contractility Modulation: Device therapy for Heart failure</a:t>
            </a:r>
          </a:p>
          <a:p>
            <a:endParaRPr lang="en-US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6416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34ACA0-4091-EB33-F205-E6A9ED4E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iggers for Device therapy in HF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6C2F9FB-51D8-AB93-EF52-A0E30112E2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298223"/>
            <a:ext cx="3215298" cy="51054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46D4A23-867F-3C74-4B80-340777F0D2C0}"/>
              </a:ext>
            </a:extLst>
          </p:cNvPr>
          <p:cNvSpPr txBox="1"/>
          <p:nvPr/>
        </p:nvSpPr>
        <p:spPr>
          <a:xfrm>
            <a:off x="381000" y="6403623"/>
            <a:ext cx="3429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Heart Failure Devices: Treatment Options, Underutilization, and a Proposed Trigger System for Patient Referral and Evaluation</a:t>
            </a:r>
          </a:p>
          <a:p>
            <a:r>
              <a:rPr lang="en-US" sz="800" dirty="0"/>
              <a:t>FUDIM, MARAT et al. Journal of Cardiac Failure 202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BB28DCB-AB18-FE49-0007-478FB965F4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77475" y="6328568"/>
            <a:ext cx="1529782" cy="385365"/>
          </a:xfrm>
          <a:prstGeom prst="rect">
            <a:avLst/>
          </a:prstGeom>
        </p:spPr>
      </p:pic>
      <p:pic>
        <p:nvPicPr>
          <p:cNvPr id="11" name="Picture 10" descr="A chart of medical procedures&#10;&#10;AI-generated content may be incorrect.">
            <a:extLst>
              <a:ext uri="{FF2B5EF4-FFF2-40B4-BE49-F238E27FC236}">
                <a16:creationId xmlns:a16="http://schemas.microsoft.com/office/drawing/2014/main" id="{A673EA30-4765-B0B4-B524-1658111725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778"/>
          <a:stretch>
            <a:fillRect/>
          </a:stretch>
        </p:blipFill>
        <p:spPr>
          <a:xfrm>
            <a:off x="4464631" y="1214818"/>
            <a:ext cx="5648241" cy="1685166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ECE94A8-97E8-87EB-A1D6-C2EA4B08DC87}"/>
              </a:ext>
            </a:extLst>
          </p:cNvPr>
          <p:cNvSpPr/>
          <p:nvPr/>
        </p:nvSpPr>
        <p:spPr>
          <a:xfrm>
            <a:off x="5121215" y="2971800"/>
            <a:ext cx="5952248" cy="3661984"/>
          </a:xfrm>
          <a:prstGeom prst="roundRect">
            <a:avLst>
              <a:gd name="adj" fmla="val 6442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Landscape of HF Device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AB75AA5-6D57-4CCC-6979-F64B3E53C339}"/>
              </a:ext>
            </a:extLst>
          </p:cNvPr>
          <p:cNvSpPr/>
          <p:nvPr/>
        </p:nvSpPr>
        <p:spPr>
          <a:xfrm>
            <a:off x="5810692" y="3550583"/>
            <a:ext cx="1676400" cy="338478"/>
          </a:xfrm>
          <a:prstGeom prst="roundRect">
            <a:avLst>
              <a:gd name="adj" fmla="val 6442"/>
            </a:avLst>
          </a:prstGeom>
          <a:solidFill>
            <a:schemeClr val="bg1"/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“Classic” Device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651D1CB-95A2-5F53-40A6-39A0BE2D9DAD}"/>
              </a:ext>
            </a:extLst>
          </p:cNvPr>
          <p:cNvSpPr/>
          <p:nvPr/>
        </p:nvSpPr>
        <p:spPr>
          <a:xfrm>
            <a:off x="5372984" y="4079395"/>
            <a:ext cx="2551816" cy="526589"/>
          </a:xfrm>
          <a:prstGeom prst="roundRect">
            <a:avLst>
              <a:gd name="adj" fmla="val 6442"/>
            </a:avLst>
          </a:prstGeom>
          <a:solidFill>
            <a:schemeClr val="bg1"/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mplantable Cardioverter Defibrillator (ICD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tx1"/>
                </a:solidFill>
              </a:rPr>
              <a:t>NYHA I-II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tx1"/>
                </a:solidFill>
              </a:rPr>
              <a:t>LVEF ≤ 35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3B5503C-6A1C-E18B-0C3D-1685AAAB6D67}"/>
              </a:ext>
            </a:extLst>
          </p:cNvPr>
          <p:cNvSpPr/>
          <p:nvPr/>
        </p:nvSpPr>
        <p:spPr>
          <a:xfrm>
            <a:off x="5372984" y="4850158"/>
            <a:ext cx="2551816" cy="647867"/>
          </a:xfrm>
          <a:prstGeom prst="roundRect">
            <a:avLst>
              <a:gd name="adj" fmla="val 6442"/>
            </a:avLst>
          </a:prstGeom>
          <a:solidFill>
            <a:schemeClr val="bg1"/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ardiac Resynchronization Therap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tx1"/>
                </a:solidFill>
              </a:rPr>
              <a:t>NYHA I-II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tx1"/>
                </a:solidFill>
              </a:rPr>
              <a:t>LVEF ≤ 3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tx1"/>
                </a:solidFill>
              </a:rPr>
              <a:t>QRS duration &gt;120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000" b="1" dirty="0">
              <a:solidFill>
                <a:schemeClr val="tx1"/>
              </a:solidFill>
            </a:endParaRPr>
          </a:p>
        </p:txBody>
      </p:sp>
      <p:pic>
        <p:nvPicPr>
          <p:cNvPr id="10" name="Picture 9" descr="A chart of medical procedures&#10;&#10;AI-generated content may be incorrect.">
            <a:extLst>
              <a:ext uri="{FF2B5EF4-FFF2-40B4-BE49-F238E27FC236}">
                <a16:creationId xmlns:a16="http://schemas.microsoft.com/office/drawing/2014/main" id="{25932E13-B882-4AD6-F968-AD883B680A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6" t="36390" r="916" b="14374"/>
          <a:stretch>
            <a:fillRect/>
          </a:stretch>
        </p:blipFill>
        <p:spPr>
          <a:xfrm>
            <a:off x="8323057" y="3733800"/>
            <a:ext cx="2520511" cy="2880584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E148DDC-7B8F-6828-5E1A-1C97674EFB3C}"/>
              </a:ext>
            </a:extLst>
          </p:cNvPr>
          <p:cNvSpPr/>
          <p:nvPr/>
        </p:nvSpPr>
        <p:spPr>
          <a:xfrm>
            <a:off x="8745112" y="3428789"/>
            <a:ext cx="1676400" cy="338478"/>
          </a:xfrm>
          <a:prstGeom prst="roundRect">
            <a:avLst>
              <a:gd name="adj" fmla="val 6442"/>
            </a:avLst>
          </a:prstGeom>
          <a:solidFill>
            <a:schemeClr val="bg1"/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Newer Devices</a:t>
            </a:r>
          </a:p>
        </p:txBody>
      </p:sp>
    </p:spTree>
    <p:extLst>
      <p:ext uri="{BB962C8B-B14F-4D97-AF65-F5344CB8AC3E}">
        <p14:creationId xmlns:p14="http://schemas.microsoft.com/office/powerpoint/2010/main" val="346505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813ACD-7D52-5152-8796-A48EA7746A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CCM Cohort (non-study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DE360C-6A4F-7A17-62B9-25EDBE1818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63C13F-A3EC-4D41-8C52-AB98F4053561}" type="slidenum">
              <a:rPr lang="en-US" smtClean="0"/>
              <a:pPr/>
              <a:t>21</a:t>
            </a:fld>
            <a:endParaRPr lang="en-US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2C3021CB-75A3-AD78-E47E-DBC57CA54E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284077"/>
              </p:ext>
            </p:extLst>
          </p:nvPr>
        </p:nvGraphicFramePr>
        <p:xfrm>
          <a:off x="7467600" y="403323"/>
          <a:ext cx="3657600" cy="6103051"/>
        </p:xfrm>
        <a:graphic>
          <a:graphicData uri="http://schemas.openxmlformats.org/drawingml/2006/table">
            <a:tbl>
              <a:tblPr firstRow="1" bandRow="1">
                <a:tableStyleId>{284E427A-3D55-4303-BF80-6455036E1DE7}</a:tableStyleId>
              </a:tblPr>
              <a:tblGrid>
                <a:gridCol w="957413">
                  <a:extLst>
                    <a:ext uri="{9D8B030D-6E8A-4147-A177-3AD203B41FA5}">
                      <a16:colId xmlns:a16="http://schemas.microsoft.com/office/drawing/2014/main" val="1682421342"/>
                    </a:ext>
                  </a:extLst>
                </a:gridCol>
                <a:gridCol w="824495">
                  <a:extLst>
                    <a:ext uri="{9D8B030D-6E8A-4147-A177-3AD203B41FA5}">
                      <a16:colId xmlns:a16="http://schemas.microsoft.com/office/drawing/2014/main" val="1704715493"/>
                    </a:ext>
                  </a:extLst>
                </a:gridCol>
                <a:gridCol w="750277">
                  <a:extLst>
                    <a:ext uri="{9D8B030D-6E8A-4147-A177-3AD203B41FA5}">
                      <a16:colId xmlns:a16="http://schemas.microsoft.com/office/drawing/2014/main" val="3199583398"/>
                    </a:ext>
                  </a:extLst>
                </a:gridCol>
                <a:gridCol w="1125415">
                  <a:extLst>
                    <a:ext uri="{9D8B030D-6E8A-4147-A177-3AD203B41FA5}">
                      <a16:colId xmlns:a16="http://schemas.microsoft.com/office/drawing/2014/main" val="2570052409"/>
                    </a:ext>
                  </a:extLst>
                </a:gridCol>
              </a:tblGrid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Age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KCCQ Initial</a:t>
                      </a:r>
                      <a:endParaRPr lang="en-US" sz="14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Last KCCQ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KCCQ Change</a:t>
                      </a:r>
                      <a:endParaRPr lang="en-US" sz="14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extLst>
                  <a:ext uri="{0D108BD9-81ED-4DB2-BD59-A6C34878D82A}">
                    <a16:rowId xmlns:a16="http://schemas.microsoft.com/office/drawing/2014/main" val="1092015704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5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40.6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48.9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8.33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1973072644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5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33.8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65.6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31.78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2953599715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7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13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30.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17.19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2872860533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8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46.8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81.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34.37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528942447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7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66.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96.3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29.68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1919295056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7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73.4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96.8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23.44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2762548473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2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16.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14.59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2485125654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7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1281100399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7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48.9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77.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28.64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3209154512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8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6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96.8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33.87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2672862044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5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44.7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57.2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12.5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2449566814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7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35.4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77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41.67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258954735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7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22.9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76.0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53.13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424867615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8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5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90.6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40.63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54326535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7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66.6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91.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25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108178359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5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2.0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92.7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90.63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3698066139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6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40.6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No Dat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No Data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1970885531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7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46.8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76.5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29.68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extLst>
                  <a:ext uri="{0D108BD9-81ED-4DB2-BD59-A6C34878D82A}">
                    <a16:rowId xmlns:a16="http://schemas.microsoft.com/office/drawing/2014/main" val="1186285327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6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8.3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87.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79.17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extLst>
                  <a:ext uri="{0D108BD9-81ED-4DB2-BD59-A6C34878D82A}">
                    <a16:rowId xmlns:a16="http://schemas.microsoft.com/office/drawing/2014/main" val="3170405686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8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35.4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No Dat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No Data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2110160072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5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40.6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60.4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19.78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extLst>
                  <a:ext uri="{0D108BD9-81ED-4DB2-BD59-A6C34878D82A}">
                    <a16:rowId xmlns:a16="http://schemas.microsoft.com/office/drawing/2014/main" val="3178291143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7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34.3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83.3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48.95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extLst>
                  <a:ext uri="{0D108BD9-81ED-4DB2-BD59-A6C34878D82A}">
                    <a16:rowId xmlns:a16="http://schemas.microsoft.com/office/drawing/2014/main" val="2066102632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8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28.1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61.4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33.32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extLst>
                  <a:ext uri="{0D108BD9-81ED-4DB2-BD59-A6C34878D82A}">
                    <a16:rowId xmlns:a16="http://schemas.microsoft.com/office/drawing/2014/main" val="1706712429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5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35.4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u="none" strike="noStrike">
                          <a:effectLst/>
                        </a:rPr>
                        <a:t>No Dat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No Dat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3495682916"/>
                  </a:ext>
                </a:extLst>
              </a:tr>
              <a:tr h="2267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5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No Dat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No Dat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400" u="none" strike="noStrike" dirty="0">
                          <a:effectLst/>
                        </a:rPr>
                        <a:t>No Dat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81" marR="7681" marT="7681" marB="0" anchor="b"/>
                </a:tc>
                <a:extLst>
                  <a:ext uri="{0D108BD9-81ED-4DB2-BD59-A6C34878D82A}">
                    <a16:rowId xmlns:a16="http://schemas.microsoft.com/office/drawing/2014/main" val="1439913263"/>
                  </a:ext>
                </a:extLst>
              </a:tr>
            </a:tbl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B098E75-1650-4EBA-5370-7AA8E13F5A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600201"/>
            <a:ext cx="5867400" cy="4445000"/>
          </a:xfrm>
        </p:spPr>
        <p:txBody>
          <a:bodyPr/>
          <a:lstStyle/>
          <a:p>
            <a:r>
              <a:rPr lang="en-US" dirty="0"/>
              <a:t>Total patients: 25</a:t>
            </a:r>
          </a:p>
          <a:p>
            <a:r>
              <a:rPr lang="en-US" dirty="0"/>
              <a:t>Average KCCQ increase = 34</a:t>
            </a:r>
          </a:p>
          <a:p>
            <a:pPr lvl="1"/>
            <a:r>
              <a:rPr lang="en-US" dirty="0"/>
              <a:t>Meaningful change = 5</a:t>
            </a:r>
          </a:p>
          <a:p>
            <a:pPr lvl="1"/>
            <a:r>
              <a:rPr lang="en-US" dirty="0"/>
              <a:t>Change of 10+ = moderate to large clinical chang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1438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3AA819-CD4E-7060-91E5-769718C64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 the Future -- Better for Higher EF?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B7F7B3-A454-6510-F4CD-B37416C232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616149-E0D9-E2FF-3F5D-30578A5E50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63C13F-A3EC-4D41-8C52-AB98F405356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28873361-13F0-4155-0734-26F50879A7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91" y="1617416"/>
            <a:ext cx="10744200" cy="4427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D30396E-F195-4DAC-23B8-40B9338C5785}"/>
              </a:ext>
            </a:extLst>
          </p:cNvPr>
          <p:cNvSpPr txBox="1"/>
          <p:nvPr/>
        </p:nvSpPr>
        <p:spPr>
          <a:xfrm>
            <a:off x="0" y="6320424"/>
            <a:ext cx="121615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49576D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Role of Cardiac Contractility Modulation in Heart Failure With a Higher Ejection Fra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49576D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uthor: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49576D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KHAWAJ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9576D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 M. TALHA,STEFAN D. ANKER,DANIEL BURKHOFF,GERASIMOS FILIPPATOS,CAROLYN S.P. LAM,GREGG W. STONE,OUSSAMA WAZNI,JAVED BUTL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49576D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Publication: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9576D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Journal of Cardiac Failure</a:t>
            </a:r>
          </a:p>
        </p:txBody>
      </p:sp>
    </p:spTree>
    <p:extLst>
      <p:ext uri="{BB962C8B-B14F-4D97-AF65-F5344CB8AC3E}">
        <p14:creationId xmlns:p14="http://schemas.microsoft.com/office/powerpoint/2010/main" val="42812283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A0BF9D-0553-C1F2-8D8C-3EC41A7496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CB719-7CC9-750F-4618-F65D74D9E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85829B-5350-8576-8C3C-608B77FD8B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GDMT is the cornerstone of HF therapy but it is often difficult to achieve maximal doses</a:t>
            </a:r>
          </a:p>
          <a:p>
            <a:r>
              <a:rPr lang="en-US" dirty="0"/>
              <a:t>“Classic” device therapy (CRT, ICD) indicated only for some</a:t>
            </a:r>
          </a:p>
          <a:p>
            <a:r>
              <a:rPr lang="en-US" dirty="0"/>
              <a:t>Cardiac contractility modulation can improve symptoms, EF, and possibly morbidity/mortality</a:t>
            </a:r>
          </a:p>
          <a:p>
            <a:r>
              <a:rPr lang="en-US" dirty="0"/>
              <a:t>CCM indicated for </a:t>
            </a:r>
            <a:r>
              <a:rPr lang="en-US" dirty="0" err="1"/>
              <a:t>HFrEF</a:t>
            </a:r>
            <a:r>
              <a:rPr lang="en-US" dirty="0"/>
              <a:t> 25-45%, NYHA III, not receiving CR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CC929E-51A3-E726-196B-A258FB577A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321EC7-A181-6B97-3AAE-AD8DD08B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88427-4FE9-274E-A814-C442B9E6F9D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007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A58F7-AE5F-3807-00B0-6CA0F90EB8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502C3-5C3F-0F87-2B5B-0FA3CDD19F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02EE2E-1CC0-992B-00DB-49083F207C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63C13F-A3EC-4D41-8C52-AB98F4053561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3944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406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Disclosur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ston Scientific – Speaker’s honoraria</a:t>
            </a:r>
          </a:p>
          <a:p>
            <a:r>
              <a:rPr lang="en-US" dirty="0"/>
              <a:t>Impulse Dynamics - Speaker’s honoraria, Consultant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58FADC-6C71-0910-DBBC-A07F31D98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F5FBFE-70E4-DF30-B157-3073AE4EE3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is the need for device-based therapy for heart failure?</a:t>
            </a:r>
          </a:p>
          <a:p>
            <a:endParaRPr lang="en-US" dirty="0"/>
          </a:p>
          <a:p>
            <a:r>
              <a:rPr lang="en-US" dirty="0"/>
              <a:t>What is cardiac contractility modulation (CCM)? </a:t>
            </a:r>
          </a:p>
          <a:p>
            <a:endParaRPr lang="en-US" dirty="0"/>
          </a:p>
          <a:p>
            <a:r>
              <a:rPr lang="en-US" dirty="0"/>
              <a:t>Who should get CCM?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4DAAFA-23FB-D2B0-9512-3E00A0EF1D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CEE265-8306-15FC-C44E-81AA7F2D5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88427-4FE9-274E-A814-C442B9E6F9D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4315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937B1-82B3-4E5E-E6BC-D16243998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GDMT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FFB3C126-81B2-131C-0BDC-F60E1571B6E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7799365"/>
              </p:ext>
            </p:extLst>
          </p:nvPr>
        </p:nvGraphicFramePr>
        <p:xfrm>
          <a:off x="609600" y="1600200"/>
          <a:ext cx="10972800" cy="3510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1682421342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333223593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1704715493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3199583398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25700524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/>
                        <a:t>Therapy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/>
                        <a:t>Relative Risk Reduction in Mortality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/>
                        <a:t>Absolute 2-year Mortality Rate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/>
                        <a:t>Relative Risk Reduction in HF Hospitalisations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/>
                        <a:t>Absolute 2-year HF Hospitalisation Rate</a:t>
                      </a:r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20157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No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N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3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N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3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730726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ACEI or AR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1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2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3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2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535997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ARNI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1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24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2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2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28605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l-GR"/>
                        <a:t>β-</a:t>
                      </a:r>
                      <a:r>
                        <a:rPr lang="en-US"/>
                        <a:t>block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3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1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4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1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89424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MR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3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1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3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8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92950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SGLT2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1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3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/>
                        <a:t>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436117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/>
                        <a:t>Cumulativ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/>
                        <a:t>74% RRR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/>
                        <a:t>26% ARR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/>
                        <a:t>85% RRR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/>
                        <a:t>33% ARR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4401839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47D1C5-A918-462A-CD3D-9C651A0633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63C13F-A3EC-4D41-8C52-AB98F405356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81BB8B6-590E-8594-6CAF-BA4C5F34F897}"/>
              </a:ext>
            </a:extLst>
          </p:cNvPr>
          <p:cNvSpPr txBox="1"/>
          <p:nvPr/>
        </p:nvSpPr>
        <p:spPr>
          <a:xfrm>
            <a:off x="838200" y="5222782"/>
            <a:ext cx="9843996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*ARNI replaces ACEI/ARB.</a:t>
            </a:r>
            <a:br>
              <a:rPr lang="en-US" sz="1400" dirty="0"/>
            </a:br>
            <a:r>
              <a:rPr lang="en-US" sz="1400" dirty="0"/>
              <a:t>Abbreviations: ACEI = angiotensin-converting enzyme inhibitor; ARB = angiotensin receptor blocker; ARNI = angiotensin receptor–neprilysin inhibitor; CDMMT = comprehensive disease-modifying medical therapy; HF = heart failure; MRA = mineralocorticoid receptor antagonist; RRR = relative risk reduction; ARR = absolute risk reduction; SGLT2i = sodium glucose cotransporter-2 inhibitor. Source: </a:t>
            </a:r>
            <a:r>
              <a:rPr lang="en-US" sz="1400" dirty="0" err="1"/>
              <a:t>Fonarow</a:t>
            </a:r>
            <a:r>
              <a:rPr lang="en-US" sz="1400" dirty="0"/>
              <a:t> et al. 2021</a:t>
            </a:r>
          </a:p>
        </p:txBody>
      </p:sp>
    </p:spTree>
    <p:extLst>
      <p:ext uri="{BB962C8B-B14F-4D97-AF65-F5344CB8AC3E}">
        <p14:creationId xmlns:p14="http://schemas.microsoft.com/office/powerpoint/2010/main" val="40916530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965A9-2BA7-9DCA-2EE5-8CB34B78A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DMT as an Ide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525B3E-3FCC-047E-DC64-E0EF25001D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63C13F-A3EC-4D41-8C52-AB98F4053561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43A3D40-8C9E-D918-EB0E-2A6E3D6265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1194518"/>
            <a:ext cx="9525000" cy="532492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C576B2E-0A3D-70F7-C90B-2E70988DD97D}"/>
              </a:ext>
            </a:extLst>
          </p:cNvPr>
          <p:cNvSpPr txBox="1"/>
          <p:nvPr/>
        </p:nvSpPr>
        <p:spPr>
          <a:xfrm>
            <a:off x="6248400" y="6519446"/>
            <a:ext cx="609734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varese G, et al. Heart failure drug titration, discontinuation, mortality, and HF hospitalization risk: a multinational observational study (US, UK, and Sweden). EJHF. 2021 23, 1499-1511 </a:t>
            </a:r>
          </a:p>
        </p:txBody>
      </p:sp>
    </p:spTree>
    <p:extLst>
      <p:ext uri="{BB962C8B-B14F-4D97-AF65-F5344CB8AC3E}">
        <p14:creationId xmlns:p14="http://schemas.microsoft.com/office/powerpoint/2010/main" val="34732046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A1EBF-DCDC-6D22-6539-B887DAD78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DMT as an Ide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CD2371-D246-C63C-03D8-70083BFEC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63C13F-A3EC-4D41-8C52-AB98F405356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0F69DD-49FC-550C-C2D9-AD5D252032A6}"/>
              </a:ext>
            </a:extLst>
          </p:cNvPr>
          <p:cNvSpPr txBox="1"/>
          <p:nvPr/>
        </p:nvSpPr>
        <p:spPr>
          <a:xfrm>
            <a:off x="457200" y="1558355"/>
            <a:ext cx="6096000" cy="48167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49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ONG-HF: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ultinational, 2-arm open-label RCT for pts admitted w/ acute HF, not on max doses of GDMT: 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49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“usual care” vs.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-Intensity Care =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-titration of GDMT to 100% of recommended dose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54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in 2 weeks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49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ary endpoint: 180-day all-cause death or HF hospital readmission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49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Stopped early due to larger than expected risk difference</a:t>
            </a:r>
          </a:p>
          <a:p>
            <a:pPr marL="228600" indent="-228600">
              <a:spcAft>
                <a:spcPts val="600"/>
              </a:spcAft>
              <a:buClr>
                <a:srgbClr val="005496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ULTS: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49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1% reduction in risk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HF readmission or all-cause mortality in high-intensity group (p=0.0021)</a:t>
            </a:r>
          </a:p>
          <a:p>
            <a:pPr marL="228600" indent="-228600">
              <a:spcAft>
                <a:spcPts val="600"/>
              </a:spcAft>
              <a:buClr>
                <a:srgbClr val="005496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IDERATIONS: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685800" lvl="1" indent="-228600">
              <a:spcAft>
                <a:spcPts val="600"/>
              </a:spcAft>
              <a:buClr>
                <a:srgbClr val="005496"/>
              </a:buClr>
              <a:buFont typeface="Wingdings" panose="05000000000000000000" pitchFamily="2" charset="2"/>
              <a:buChar char="§"/>
              <a:defRPr/>
            </a:pPr>
            <a:r>
              <a:rPr lang="en-US" sz="1600" b="1" i="1" dirty="0">
                <a:solidFill>
                  <a:srgbClr val="FF0000"/>
                </a:solidFill>
                <a:latin typeface="Arial" panose="020B0604020202020204"/>
              </a:rPr>
              <a:t>33%</a:t>
            </a:r>
            <a:r>
              <a:rPr lang="en-US" sz="1600" dirty="0">
                <a:solidFill>
                  <a:srgbClr val="FF0000"/>
                </a:solidFill>
                <a:latin typeface="Arial" panose="020B0604020202020204"/>
              </a:rPr>
              <a:t> </a:t>
            </a:r>
            <a:r>
              <a:rPr lang="en-US" sz="1600" b="1" i="1" dirty="0">
                <a:solidFill>
                  <a:srgbClr val="FF0000"/>
                </a:solidFill>
                <a:latin typeface="Arial" panose="020B0604020202020204"/>
              </a:rPr>
              <a:t>excluded</a:t>
            </a:r>
            <a:r>
              <a:rPr lang="en-US" sz="1600" dirty="0">
                <a:solidFill>
                  <a:srgbClr val="FF0000"/>
                </a:solidFill>
                <a:latin typeface="Arial" panose="020B0604020202020204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from randomization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/>
              </a:rPr>
              <a:t>for“</a:t>
            </a:r>
            <a:r>
              <a:rPr lang="en-US" sz="1600" i="1" dirty="0" err="1">
                <a:solidFill>
                  <a:srgbClr val="000000"/>
                </a:solidFill>
                <a:latin typeface="Arial" panose="020B0604020202020204"/>
              </a:rPr>
              <a:t>clear</a:t>
            </a:r>
            <a:r>
              <a:rPr lang="en-US" sz="1600" i="1" dirty="0">
                <a:solidFill>
                  <a:srgbClr val="000000"/>
                </a:solidFill>
                <a:latin typeface="Arial" panose="020B0604020202020204"/>
              </a:rPr>
              <a:t> GDMT intolerance”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) 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49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e adverse event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ccurred in the high-intensity arm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49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ly 45%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 patients in the high-intensity arm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hieved max dose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 3 drug therapy at 90 days </a:t>
            </a:r>
          </a:p>
        </p:txBody>
      </p:sp>
      <p:pic>
        <p:nvPicPr>
          <p:cNvPr id="7" name="Platshållare för innehåll 4">
            <a:extLst>
              <a:ext uri="{FF2B5EF4-FFF2-40B4-BE49-F238E27FC236}">
                <a16:creationId xmlns:a16="http://schemas.microsoft.com/office/drawing/2014/main" id="{B7B0E8B1-14E0-D88A-3F3A-1B08D56F929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9577" r="43107" b="18220"/>
          <a:stretch/>
        </p:blipFill>
        <p:spPr>
          <a:xfrm>
            <a:off x="6738445" y="3231932"/>
            <a:ext cx="4809565" cy="2832413"/>
          </a:xfrm>
          <a:prstGeom prst="rect">
            <a:avLst/>
          </a:prstGeom>
          <a:ln w="19050">
            <a:noFill/>
            <a:prstDash val="lgDash"/>
          </a:ln>
        </p:spPr>
      </p:pic>
      <p:pic>
        <p:nvPicPr>
          <p:cNvPr id="8" name="Bildobjekt 3">
            <a:extLst>
              <a:ext uri="{FF2B5EF4-FFF2-40B4-BE49-F238E27FC236}">
                <a16:creationId xmlns:a16="http://schemas.microsoft.com/office/drawing/2014/main" id="{E9B385D8-B604-480D-D8D8-A35D8435D0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3676" y="1558355"/>
            <a:ext cx="4809565" cy="1413445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861732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ortality AOC - EMPEROR">
            <a:extLst>
              <a:ext uri="{FF2B5EF4-FFF2-40B4-BE49-F238E27FC236}">
                <a16:creationId xmlns:a16="http://schemas.microsoft.com/office/drawing/2014/main" id="{3D0CBD1E-818B-8EDB-BEC7-2598AE325859}"/>
              </a:ext>
            </a:extLst>
          </p:cNvPr>
          <p:cNvSpPr/>
          <p:nvPr/>
        </p:nvSpPr>
        <p:spPr>
          <a:xfrm>
            <a:off x="7327946" y="2468071"/>
            <a:ext cx="3573388" cy="2258586"/>
          </a:xfrm>
          <a:custGeom>
            <a:avLst/>
            <a:gdLst>
              <a:gd name="connsiteX0" fmla="*/ 0 w 6361043"/>
              <a:gd name="connsiteY0" fmla="*/ 2538738 h 2538738"/>
              <a:gd name="connsiteX1" fmla="*/ 6116843 w 6361043"/>
              <a:gd name="connsiteY1" fmla="*/ 0 h 2538738"/>
              <a:gd name="connsiteX2" fmla="*/ 6361043 w 6361043"/>
              <a:gd name="connsiteY2" fmla="*/ 2538738 h 2538738"/>
              <a:gd name="connsiteX3" fmla="*/ 0 w 6361043"/>
              <a:gd name="connsiteY3" fmla="*/ 2538738 h 2538738"/>
              <a:gd name="connsiteX0" fmla="*/ 0 w 6361043"/>
              <a:gd name="connsiteY0" fmla="*/ 2538738 h 2538738"/>
              <a:gd name="connsiteX1" fmla="*/ 1550505 w 6361043"/>
              <a:gd name="connsiteY1" fmla="*/ 1709529 h 2538738"/>
              <a:gd name="connsiteX2" fmla="*/ 6116843 w 6361043"/>
              <a:gd name="connsiteY2" fmla="*/ 0 h 2538738"/>
              <a:gd name="connsiteX3" fmla="*/ 6361043 w 6361043"/>
              <a:gd name="connsiteY3" fmla="*/ 2538738 h 2538738"/>
              <a:gd name="connsiteX4" fmla="*/ 0 w 6361043"/>
              <a:gd name="connsiteY4" fmla="*/ 2538738 h 2538738"/>
              <a:gd name="connsiteX0" fmla="*/ 0 w 6361043"/>
              <a:gd name="connsiteY0" fmla="*/ 2538738 h 2538738"/>
              <a:gd name="connsiteX1" fmla="*/ 1550505 w 6361043"/>
              <a:gd name="connsiteY1" fmla="*/ 1709529 h 2538738"/>
              <a:gd name="connsiteX2" fmla="*/ 2907907 w 6361043"/>
              <a:gd name="connsiteY2" fmla="*/ 1113181 h 2538738"/>
              <a:gd name="connsiteX3" fmla="*/ 6116843 w 6361043"/>
              <a:gd name="connsiteY3" fmla="*/ 0 h 2538738"/>
              <a:gd name="connsiteX4" fmla="*/ 6361043 w 6361043"/>
              <a:gd name="connsiteY4" fmla="*/ 2538738 h 2538738"/>
              <a:gd name="connsiteX5" fmla="*/ 0 w 6361043"/>
              <a:gd name="connsiteY5" fmla="*/ 2538738 h 2538738"/>
              <a:gd name="connsiteX0" fmla="*/ 0 w 6361043"/>
              <a:gd name="connsiteY0" fmla="*/ 2470584 h 2470584"/>
              <a:gd name="connsiteX1" fmla="*/ 1550505 w 6361043"/>
              <a:gd name="connsiteY1" fmla="*/ 1641375 h 2470584"/>
              <a:gd name="connsiteX2" fmla="*/ 2907907 w 6361043"/>
              <a:gd name="connsiteY2" fmla="*/ 1045027 h 2470584"/>
              <a:gd name="connsiteX3" fmla="*/ 6099804 w 6361043"/>
              <a:gd name="connsiteY3" fmla="*/ 0 h 2470584"/>
              <a:gd name="connsiteX4" fmla="*/ 6361043 w 6361043"/>
              <a:gd name="connsiteY4" fmla="*/ 2470584 h 2470584"/>
              <a:gd name="connsiteX5" fmla="*/ 0 w 6361043"/>
              <a:gd name="connsiteY5" fmla="*/ 2470584 h 2470584"/>
              <a:gd name="connsiteX0" fmla="*/ 0 w 6099804"/>
              <a:gd name="connsiteY0" fmla="*/ 2470584 h 2470584"/>
              <a:gd name="connsiteX1" fmla="*/ 1550505 w 6099804"/>
              <a:gd name="connsiteY1" fmla="*/ 1641375 h 2470584"/>
              <a:gd name="connsiteX2" fmla="*/ 2907907 w 6099804"/>
              <a:gd name="connsiteY2" fmla="*/ 1045027 h 2470584"/>
              <a:gd name="connsiteX3" fmla="*/ 6099804 w 6099804"/>
              <a:gd name="connsiteY3" fmla="*/ 0 h 2470584"/>
              <a:gd name="connsiteX4" fmla="*/ 6003234 w 6099804"/>
              <a:gd name="connsiteY4" fmla="*/ 2447866 h 2470584"/>
              <a:gd name="connsiteX5" fmla="*/ 0 w 6099804"/>
              <a:gd name="connsiteY5" fmla="*/ 2470584 h 2470584"/>
              <a:gd name="connsiteX0" fmla="*/ 0 w 6003234"/>
              <a:gd name="connsiteY0" fmla="*/ 2413789 h 2413789"/>
              <a:gd name="connsiteX1" fmla="*/ 1550505 w 6003234"/>
              <a:gd name="connsiteY1" fmla="*/ 1584580 h 2413789"/>
              <a:gd name="connsiteX2" fmla="*/ 2907907 w 6003234"/>
              <a:gd name="connsiteY2" fmla="*/ 988232 h 2413789"/>
              <a:gd name="connsiteX3" fmla="*/ 5969176 w 6003234"/>
              <a:gd name="connsiteY3" fmla="*/ 0 h 2413789"/>
              <a:gd name="connsiteX4" fmla="*/ 6003234 w 6003234"/>
              <a:gd name="connsiteY4" fmla="*/ 2391071 h 2413789"/>
              <a:gd name="connsiteX5" fmla="*/ 0 w 6003234"/>
              <a:gd name="connsiteY5" fmla="*/ 2413789 h 2413789"/>
              <a:gd name="connsiteX0" fmla="*/ 0 w 6003234"/>
              <a:gd name="connsiteY0" fmla="*/ 2413789 h 2413789"/>
              <a:gd name="connsiteX1" fmla="*/ 1550505 w 6003234"/>
              <a:gd name="connsiteY1" fmla="*/ 1584580 h 2413789"/>
              <a:gd name="connsiteX2" fmla="*/ 2907907 w 6003234"/>
              <a:gd name="connsiteY2" fmla="*/ 988232 h 2413789"/>
              <a:gd name="connsiteX3" fmla="*/ 5986215 w 6003234"/>
              <a:gd name="connsiteY3" fmla="*/ 0 h 2413789"/>
              <a:gd name="connsiteX4" fmla="*/ 6003234 w 6003234"/>
              <a:gd name="connsiteY4" fmla="*/ 2391071 h 2413789"/>
              <a:gd name="connsiteX5" fmla="*/ 0 w 6003234"/>
              <a:gd name="connsiteY5" fmla="*/ 2413789 h 2413789"/>
              <a:gd name="connsiteX0" fmla="*/ 0 w 6003234"/>
              <a:gd name="connsiteY0" fmla="*/ 2413789 h 2413789"/>
              <a:gd name="connsiteX1" fmla="*/ 1550505 w 6003234"/>
              <a:gd name="connsiteY1" fmla="*/ 1584580 h 2413789"/>
              <a:gd name="connsiteX2" fmla="*/ 2907907 w 6003234"/>
              <a:gd name="connsiteY2" fmla="*/ 988232 h 2413789"/>
              <a:gd name="connsiteX3" fmla="*/ 5986215 w 6003234"/>
              <a:gd name="connsiteY3" fmla="*/ 0 h 2413789"/>
              <a:gd name="connsiteX4" fmla="*/ 6003234 w 6003234"/>
              <a:gd name="connsiteY4" fmla="*/ 2391071 h 2413789"/>
              <a:gd name="connsiteX5" fmla="*/ 0 w 6003234"/>
              <a:gd name="connsiteY5" fmla="*/ 2413789 h 2413789"/>
              <a:gd name="connsiteX0" fmla="*/ 380202 w 6383436"/>
              <a:gd name="connsiteY0" fmla="*/ 2413789 h 2413789"/>
              <a:gd name="connsiteX1" fmla="*/ 729777 w 6383436"/>
              <a:gd name="connsiteY1" fmla="*/ 2126610 h 2413789"/>
              <a:gd name="connsiteX2" fmla="*/ 1930707 w 6383436"/>
              <a:gd name="connsiteY2" fmla="*/ 1584580 h 2413789"/>
              <a:gd name="connsiteX3" fmla="*/ 3288109 w 6383436"/>
              <a:gd name="connsiteY3" fmla="*/ 988232 h 2413789"/>
              <a:gd name="connsiteX4" fmla="*/ 6366417 w 6383436"/>
              <a:gd name="connsiteY4" fmla="*/ 0 h 2413789"/>
              <a:gd name="connsiteX5" fmla="*/ 6383436 w 6383436"/>
              <a:gd name="connsiteY5" fmla="*/ 2391071 h 2413789"/>
              <a:gd name="connsiteX6" fmla="*/ 380202 w 6383436"/>
              <a:gd name="connsiteY6" fmla="*/ 2413789 h 2413789"/>
              <a:gd name="connsiteX0" fmla="*/ 0 w 6003234"/>
              <a:gd name="connsiteY0" fmla="*/ 2413789 h 2413789"/>
              <a:gd name="connsiteX1" fmla="*/ 349575 w 6003234"/>
              <a:gd name="connsiteY1" fmla="*/ 2126610 h 2413789"/>
              <a:gd name="connsiteX2" fmla="*/ 1550505 w 6003234"/>
              <a:gd name="connsiteY2" fmla="*/ 1584580 h 2413789"/>
              <a:gd name="connsiteX3" fmla="*/ 2907907 w 6003234"/>
              <a:gd name="connsiteY3" fmla="*/ 988232 h 2413789"/>
              <a:gd name="connsiteX4" fmla="*/ 5986215 w 6003234"/>
              <a:gd name="connsiteY4" fmla="*/ 0 h 2413789"/>
              <a:gd name="connsiteX5" fmla="*/ 6003234 w 6003234"/>
              <a:gd name="connsiteY5" fmla="*/ 2391071 h 2413789"/>
              <a:gd name="connsiteX6" fmla="*/ 0 w 6003234"/>
              <a:gd name="connsiteY6" fmla="*/ 2413789 h 2413789"/>
              <a:gd name="connsiteX0" fmla="*/ 0 w 6060685"/>
              <a:gd name="connsiteY0" fmla="*/ 2405757 h 2405757"/>
              <a:gd name="connsiteX1" fmla="*/ 407026 w 6060685"/>
              <a:gd name="connsiteY1" fmla="*/ 2126610 h 2405757"/>
              <a:gd name="connsiteX2" fmla="*/ 1607956 w 6060685"/>
              <a:gd name="connsiteY2" fmla="*/ 1584580 h 2405757"/>
              <a:gd name="connsiteX3" fmla="*/ 2965358 w 6060685"/>
              <a:gd name="connsiteY3" fmla="*/ 988232 h 2405757"/>
              <a:gd name="connsiteX4" fmla="*/ 6043666 w 6060685"/>
              <a:gd name="connsiteY4" fmla="*/ 0 h 2405757"/>
              <a:gd name="connsiteX5" fmla="*/ 6060685 w 6060685"/>
              <a:gd name="connsiteY5" fmla="*/ 2391071 h 2405757"/>
              <a:gd name="connsiteX6" fmla="*/ 0 w 6060685"/>
              <a:gd name="connsiteY6" fmla="*/ 2405757 h 2405757"/>
              <a:gd name="connsiteX0" fmla="*/ 0 w 6060685"/>
              <a:gd name="connsiteY0" fmla="*/ 2405757 h 2405757"/>
              <a:gd name="connsiteX1" fmla="*/ 407026 w 6060685"/>
              <a:gd name="connsiteY1" fmla="*/ 2126610 h 2405757"/>
              <a:gd name="connsiteX2" fmla="*/ 1585616 w 6060685"/>
              <a:gd name="connsiteY2" fmla="*/ 1517655 h 2405757"/>
              <a:gd name="connsiteX3" fmla="*/ 2965358 w 6060685"/>
              <a:gd name="connsiteY3" fmla="*/ 988232 h 2405757"/>
              <a:gd name="connsiteX4" fmla="*/ 6043666 w 6060685"/>
              <a:gd name="connsiteY4" fmla="*/ 0 h 2405757"/>
              <a:gd name="connsiteX5" fmla="*/ 6060685 w 6060685"/>
              <a:gd name="connsiteY5" fmla="*/ 2391071 h 2405757"/>
              <a:gd name="connsiteX6" fmla="*/ 0 w 6060685"/>
              <a:gd name="connsiteY6" fmla="*/ 2405757 h 2405757"/>
              <a:gd name="connsiteX0" fmla="*/ 0 w 6060685"/>
              <a:gd name="connsiteY0" fmla="*/ 2405757 h 2405757"/>
              <a:gd name="connsiteX1" fmla="*/ 407026 w 6060685"/>
              <a:gd name="connsiteY1" fmla="*/ 2126610 h 2405757"/>
              <a:gd name="connsiteX2" fmla="*/ 1585616 w 6060685"/>
              <a:gd name="connsiteY2" fmla="*/ 1517655 h 2405757"/>
              <a:gd name="connsiteX3" fmla="*/ 2987700 w 6060685"/>
              <a:gd name="connsiteY3" fmla="*/ 921307 h 2405757"/>
              <a:gd name="connsiteX4" fmla="*/ 6043666 w 6060685"/>
              <a:gd name="connsiteY4" fmla="*/ 0 h 2405757"/>
              <a:gd name="connsiteX5" fmla="*/ 6060685 w 6060685"/>
              <a:gd name="connsiteY5" fmla="*/ 2391071 h 2405757"/>
              <a:gd name="connsiteX6" fmla="*/ 0 w 6060685"/>
              <a:gd name="connsiteY6" fmla="*/ 2405757 h 2405757"/>
              <a:gd name="connsiteX0" fmla="*/ 0 w 6060685"/>
              <a:gd name="connsiteY0" fmla="*/ 2405757 h 2405757"/>
              <a:gd name="connsiteX1" fmla="*/ 407026 w 6060685"/>
              <a:gd name="connsiteY1" fmla="*/ 2126610 h 2405757"/>
              <a:gd name="connsiteX2" fmla="*/ 1585616 w 6060685"/>
              <a:gd name="connsiteY2" fmla="*/ 1517655 h 2405757"/>
              <a:gd name="connsiteX3" fmla="*/ 2987700 w 6060685"/>
              <a:gd name="connsiteY3" fmla="*/ 921307 h 2405757"/>
              <a:gd name="connsiteX4" fmla="*/ 6043666 w 6060685"/>
              <a:gd name="connsiteY4" fmla="*/ 0 h 2405757"/>
              <a:gd name="connsiteX5" fmla="*/ 6060685 w 6060685"/>
              <a:gd name="connsiteY5" fmla="*/ 2391071 h 2405757"/>
              <a:gd name="connsiteX6" fmla="*/ 0 w 6060685"/>
              <a:gd name="connsiteY6" fmla="*/ 2405757 h 2405757"/>
              <a:gd name="connsiteX0" fmla="*/ 0 w 6228785"/>
              <a:gd name="connsiteY0" fmla="*/ 2638654 h 2638654"/>
              <a:gd name="connsiteX1" fmla="*/ 407026 w 6228785"/>
              <a:gd name="connsiteY1" fmla="*/ 2359507 h 2638654"/>
              <a:gd name="connsiteX2" fmla="*/ 1585616 w 6228785"/>
              <a:gd name="connsiteY2" fmla="*/ 1750552 h 2638654"/>
              <a:gd name="connsiteX3" fmla="*/ 2987700 w 6228785"/>
              <a:gd name="connsiteY3" fmla="*/ 1154204 h 2638654"/>
              <a:gd name="connsiteX4" fmla="*/ 6228785 w 6228785"/>
              <a:gd name="connsiteY4" fmla="*/ 0 h 2638654"/>
              <a:gd name="connsiteX5" fmla="*/ 6060685 w 6228785"/>
              <a:gd name="connsiteY5" fmla="*/ 2623968 h 2638654"/>
              <a:gd name="connsiteX6" fmla="*/ 0 w 6228785"/>
              <a:gd name="connsiteY6" fmla="*/ 2638654 h 2638654"/>
              <a:gd name="connsiteX0" fmla="*/ 0 w 6228785"/>
              <a:gd name="connsiteY0" fmla="*/ 2638654 h 2638654"/>
              <a:gd name="connsiteX1" fmla="*/ 407026 w 6228785"/>
              <a:gd name="connsiteY1" fmla="*/ 2359507 h 2638654"/>
              <a:gd name="connsiteX2" fmla="*/ 1585616 w 6228785"/>
              <a:gd name="connsiteY2" fmla="*/ 1750552 h 2638654"/>
              <a:gd name="connsiteX3" fmla="*/ 2987700 w 6228785"/>
              <a:gd name="connsiteY3" fmla="*/ 1154204 h 2638654"/>
              <a:gd name="connsiteX4" fmla="*/ 6228785 w 6228785"/>
              <a:gd name="connsiteY4" fmla="*/ 0 h 2638654"/>
              <a:gd name="connsiteX5" fmla="*/ 6060685 w 6228785"/>
              <a:gd name="connsiteY5" fmla="*/ 2623968 h 2638654"/>
              <a:gd name="connsiteX6" fmla="*/ 0 w 6228785"/>
              <a:gd name="connsiteY6" fmla="*/ 2638654 h 2638654"/>
              <a:gd name="connsiteX0" fmla="*/ 0 w 6304953"/>
              <a:gd name="connsiteY0" fmla="*/ 2857761 h 2857761"/>
              <a:gd name="connsiteX1" fmla="*/ 407026 w 6304953"/>
              <a:gd name="connsiteY1" fmla="*/ 2578614 h 2857761"/>
              <a:gd name="connsiteX2" fmla="*/ 1585616 w 6304953"/>
              <a:gd name="connsiteY2" fmla="*/ 1969659 h 2857761"/>
              <a:gd name="connsiteX3" fmla="*/ 2987700 w 6304953"/>
              <a:gd name="connsiteY3" fmla="*/ 1373311 h 2857761"/>
              <a:gd name="connsiteX4" fmla="*/ 5979731 w 6304953"/>
              <a:gd name="connsiteY4" fmla="*/ 273740 h 2857761"/>
              <a:gd name="connsiteX5" fmla="*/ 6228785 w 6304953"/>
              <a:gd name="connsiteY5" fmla="*/ 219107 h 2857761"/>
              <a:gd name="connsiteX6" fmla="*/ 6060685 w 6304953"/>
              <a:gd name="connsiteY6" fmla="*/ 2843075 h 2857761"/>
              <a:gd name="connsiteX7" fmla="*/ 0 w 6304953"/>
              <a:gd name="connsiteY7" fmla="*/ 2857761 h 2857761"/>
              <a:gd name="connsiteX0" fmla="*/ 0 w 6232918"/>
              <a:gd name="connsiteY0" fmla="*/ 2673803 h 2673803"/>
              <a:gd name="connsiteX1" fmla="*/ 407026 w 6232918"/>
              <a:gd name="connsiteY1" fmla="*/ 2394656 h 2673803"/>
              <a:gd name="connsiteX2" fmla="*/ 1585616 w 6232918"/>
              <a:gd name="connsiteY2" fmla="*/ 1785701 h 2673803"/>
              <a:gd name="connsiteX3" fmla="*/ 2987700 w 6232918"/>
              <a:gd name="connsiteY3" fmla="*/ 1189353 h 2673803"/>
              <a:gd name="connsiteX4" fmla="*/ 5979731 w 6232918"/>
              <a:gd name="connsiteY4" fmla="*/ 89782 h 2673803"/>
              <a:gd name="connsiteX5" fmla="*/ 6228785 w 6232918"/>
              <a:gd name="connsiteY5" fmla="*/ 35149 h 2673803"/>
              <a:gd name="connsiteX6" fmla="*/ 6060685 w 6232918"/>
              <a:gd name="connsiteY6" fmla="*/ 2659117 h 2673803"/>
              <a:gd name="connsiteX7" fmla="*/ 0 w 6232918"/>
              <a:gd name="connsiteY7" fmla="*/ 2673803 h 2673803"/>
              <a:gd name="connsiteX0" fmla="*/ 0 w 6228785"/>
              <a:gd name="connsiteY0" fmla="*/ 2664568 h 2664568"/>
              <a:gd name="connsiteX1" fmla="*/ 407026 w 6228785"/>
              <a:gd name="connsiteY1" fmla="*/ 2385421 h 2664568"/>
              <a:gd name="connsiteX2" fmla="*/ 1585616 w 6228785"/>
              <a:gd name="connsiteY2" fmla="*/ 1776466 h 2664568"/>
              <a:gd name="connsiteX3" fmla="*/ 2987700 w 6228785"/>
              <a:gd name="connsiteY3" fmla="*/ 1180118 h 2664568"/>
              <a:gd name="connsiteX4" fmla="*/ 5966965 w 6228785"/>
              <a:gd name="connsiteY4" fmla="*/ 93931 h 2664568"/>
              <a:gd name="connsiteX5" fmla="*/ 6228785 w 6228785"/>
              <a:gd name="connsiteY5" fmla="*/ 25914 h 2664568"/>
              <a:gd name="connsiteX6" fmla="*/ 6060685 w 6228785"/>
              <a:gd name="connsiteY6" fmla="*/ 2649882 h 2664568"/>
              <a:gd name="connsiteX7" fmla="*/ 0 w 6228785"/>
              <a:gd name="connsiteY7" fmla="*/ 2664568 h 2664568"/>
              <a:gd name="connsiteX0" fmla="*/ 0 w 6228785"/>
              <a:gd name="connsiteY0" fmla="*/ 2638653 h 2638653"/>
              <a:gd name="connsiteX1" fmla="*/ 407026 w 6228785"/>
              <a:gd name="connsiteY1" fmla="*/ 2359506 h 2638653"/>
              <a:gd name="connsiteX2" fmla="*/ 1585616 w 6228785"/>
              <a:gd name="connsiteY2" fmla="*/ 1750551 h 2638653"/>
              <a:gd name="connsiteX3" fmla="*/ 2987700 w 6228785"/>
              <a:gd name="connsiteY3" fmla="*/ 1154203 h 2638653"/>
              <a:gd name="connsiteX4" fmla="*/ 5966965 w 6228785"/>
              <a:gd name="connsiteY4" fmla="*/ 68016 h 2638653"/>
              <a:gd name="connsiteX5" fmla="*/ 6228785 w 6228785"/>
              <a:gd name="connsiteY5" fmla="*/ -1 h 2638653"/>
              <a:gd name="connsiteX6" fmla="*/ 6060685 w 6228785"/>
              <a:gd name="connsiteY6" fmla="*/ 2623967 h 2638653"/>
              <a:gd name="connsiteX7" fmla="*/ 0 w 6228785"/>
              <a:gd name="connsiteY7" fmla="*/ 2638653 h 2638653"/>
              <a:gd name="connsiteX0" fmla="*/ 0 w 6228785"/>
              <a:gd name="connsiteY0" fmla="*/ 2638654 h 2638654"/>
              <a:gd name="connsiteX1" fmla="*/ 407026 w 6228785"/>
              <a:gd name="connsiteY1" fmla="*/ 2359507 h 2638654"/>
              <a:gd name="connsiteX2" fmla="*/ 1585616 w 6228785"/>
              <a:gd name="connsiteY2" fmla="*/ 1750552 h 2638654"/>
              <a:gd name="connsiteX3" fmla="*/ 2987700 w 6228785"/>
              <a:gd name="connsiteY3" fmla="*/ 1154204 h 2638654"/>
              <a:gd name="connsiteX4" fmla="*/ 5966965 w 6228785"/>
              <a:gd name="connsiteY4" fmla="*/ 68017 h 2638654"/>
              <a:gd name="connsiteX5" fmla="*/ 6228785 w 6228785"/>
              <a:gd name="connsiteY5" fmla="*/ 0 h 2638654"/>
              <a:gd name="connsiteX6" fmla="*/ 6060685 w 6228785"/>
              <a:gd name="connsiteY6" fmla="*/ 2623968 h 2638654"/>
              <a:gd name="connsiteX7" fmla="*/ 0 w 6228785"/>
              <a:gd name="connsiteY7" fmla="*/ 2638654 h 2638654"/>
              <a:gd name="connsiteX0" fmla="*/ 0 w 6228785"/>
              <a:gd name="connsiteY0" fmla="*/ 2638654 h 2638654"/>
              <a:gd name="connsiteX1" fmla="*/ 407026 w 6228785"/>
              <a:gd name="connsiteY1" fmla="*/ 2359507 h 2638654"/>
              <a:gd name="connsiteX2" fmla="*/ 1585616 w 6228785"/>
              <a:gd name="connsiteY2" fmla="*/ 1750552 h 2638654"/>
              <a:gd name="connsiteX3" fmla="*/ 2987700 w 6228785"/>
              <a:gd name="connsiteY3" fmla="*/ 1154204 h 2638654"/>
              <a:gd name="connsiteX4" fmla="*/ 5966965 w 6228785"/>
              <a:gd name="connsiteY4" fmla="*/ 68017 h 2638654"/>
              <a:gd name="connsiteX5" fmla="*/ 6228785 w 6228785"/>
              <a:gd name="connsiteY5" fmla="*/ 0 h 2638654"/>
              <a:gd name="connsiteX6" fmla="*/ 6207503 w 6228785"/>
              <a:gd name="connsiteY6" fmla="*/ 2607906 h 2638654"/>
              <a:gd name="connsiteX7" fmla="*/ 0 w 6228785"/>
              <a:gd name="connsiteY7" fmla="*/ 2638654 h 2638654"/>
              <a:gd name="connsiteX0" fmla="*/ 0 w 6228785"/>
              <a:gd name="connsiteY0" fmla="*/ 2638654 h 2638654"/>
              <a:gd name="connsiteX1" fmla="*/ 410222 w 6228785"/>
              <a:gd name="connsiteY1" fmla="*/ 2398262 h 2638654"/>
              <a:gd name="connsiteX2" fmla="*/ 1585616 w 6228785"/>
              <a:gd name="connsiteY2" fmla="*/ 1750552 h 2638654"/>
              <a:gd name="connsiteX3" fmla="*/ 2987700 w 6228785"/>
              <a:gd name="connsiteY3" fmla="*/ 1154204 h 2638654"/>
              <a:gd name="connsiteX4" fmla="*/ 5966965 w 6228785"/>
              <a:gd name="connsiteY4" fmla="*/ 68017 h 2638654"/>
              <a:gd name="connsiteX5" fmla="*/ 6228785 w 6228785"/>
              <a:gd name="connsiteY5" fmla="*/ 0 h 2638654"/>
              <a:gd name="connsiteX6" fmla="*/ 6207503 w 6228785"/>
              <a:gd name="connsiteY6" fmla="*/ 2607906 h 2638654"/>
              <a:gd name="connsiteX7" fmla="*/ 0 w 6228785"/>
              <a:gd name="connsiteY7" fmla="*/ 2638654 h 2638654"/>
              <a:gd name="connsiteX0" fmla="*/ 0 w 6228785"/>
              <a:gd name="connsiteY0" fmla="*/ 2638654 h 2638654"/>
              <a:gd name="connsiteX1" fmla="*/ 410222 w 6228785"/>
              <a:gd name="connsiteY1" fmla="*/ 2398262 h 2638654"/>
              <a:gd name="connsiteX2" fmla="*/ 1585616 w 6228785"/>
              <a:gd name="connsiteY2" fmla="*/ 1750552 h 2638654"/>
              <a:gd name="connsiteX3" fmla="*/ 2987700 w 6228785"/>
              <a:gd name="connsiteY3" fmla="*/ 1154204 h 2638654"/>
              <a:gd name="connsiteX4" fmla="*/ 5966965 w 6228785"/>
              <a:gd name="connsiteY4" fmla="*/ 68017 h 2638654"/>
              <a:gd name="connsiteX5" fmla="*/ 6228785 w 6228785"/>
              <a:gd name="connsiteY5" fmla="*/ 0 h 2638654"/>
              <a:gd name="connsiteX6" fmla="*/ 6207503 w 6228785"/>
              <a:gd name="connsiteY6" fmla="*/ 2607906 h 2638654"/>
              <a:gd name="connsiteX7" fmla="*/ 0 w 6228785"/>
              <a:gd name="connsiteY7" fmla="*/ 2638654 h 2638654"/>
              <a:gd name="connsiteX0" fmla="*/ 0 w 6228785"/>
              <a:gd name="connsiteY0" fmla="*/ 2638654 h 2638654"/>
              <a:gd name="connsiteX1" fmla="*/ 410222 w 6228785"/>
              <a:gd name="connsiteY1" fmla="*/ 2398262 h 2638654"/>
              <a:gd name="connsiteX2" fmla="*/ 1585616 w 6228785"/>
              <a:gd name="connsiteY2" fmla="*/ 1750552 h 2638654"/>
              <a:gd name="connsiteX3" fmla="*/ 2987700 w 6228785"/>
              <a:gd name="connsiteY3" fmla="*/ 1154204 h 2638654"/>
              <a:gd name="connsiteX4" fmla="*/ 5966965 w 6228785"/>
              <a:gd name="connsiteY4" fmla="*/ 68017 h 2638654"/>
              <a:gd name="connsiteX5" fmla="*/ 6228785 w 6228785"/>
              <a:gd name="connsiteY5" fmla="*/ 0 h 2638654"/>
              <a:gd name="connsiteX6" fmla="*/ 6207503 w 6228785"/>
              <a:gd name="connsiteY6" fmla="*/ 2607906 h 2638654"/>
              <a:gd name="connsiteX7" fmla="*/ 0 w 6228785"/>
              <a:gd name="connsiteY7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85616 w 6228785"/>
              <a:gd name="connsiteY2" fmla="*/ 1750552 h 2638654"/>
              <a:gd name="connsiteX3" fmla="*/ 2987700 w 6228785"/>
              <a:gd name="connsiteY3" fmla="*/ 1154204 h 2638654"/>
              <a:gd name="connsiteX4" fmla="*/ 5966965 w 6228785"/>
              <a:gd name="connsiteY4" fmla="*/ 68017 h 2638654"/>
              <a:gd name="connsiteX5" fmla="*/ 6228785 w 6228785"/>
              <a:gd name="connsiteY5" fmla="*/ 0 h 2638654"/>
              <a:gd name="connsiteX6" fmla="*/ 6207503 w 6228785"/>
              <a:gd name="connsiteY6" fmla="*/ 2607906 h 2638654"/>
              <a:gd name="connsiteX7" fmla="*/ 0 w 6228785"/>
              <a:gd name="connsiteY7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85616 w 6228785"/>
              <a:gd name="connsiteY2" fmla="*/ 1750552 h 2638654"/>
              <a:gd name="connsiteX3" fmla="*/ 2987700 w 6228785"/>
              <a:gd name="connsiteY3" fmla="*/ 1154204 h 2638654"/>
              <a:gd name="connsiteX4" fmla="*/ 5966965 w 6228785"/>
              <a:gd name="connsiteY4" fmla="*/ 68017 h 2638654"/>
              <a:gd name="connsiteX5" fmla="*/ 6228785 w 6228785"/>
              <a:gd name="connsiteY5" fmla="*/ 0 h 2638654"/>
              <a:gd name="connsiteX6" fmla="*/ 6207503 w 6228785"/>
              <a:gd name="connsiteY6" fmla="*/ 2607906 h 2638654"/>
              <a:gd name="connsiteX7" fmla="*/ 0 w 6228785"/>
              <a:gd name="connsiteY7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620752 w 6228785"/>
              <a:gd name="connsiteY2" fmla="*/ 1782848 h 2638654"/>
              <a:gd name="connsiteX3" fmla="*/ 2987700 w 6228785"/>
              <a:gd name="connsiteY3" fmla="*/ 1154204 h 2638654"/>
              <a:gd name="connsiteX4" fmla="*/ 5966965 w 6228785"/>
              <a:gd name="connsiteY4" fmla="*/ 68017 h 2638654"/>
              <a:gd name="connsiteX5" fmla="*/ 6228785 w 6228785"/>
              <a:gd name="connsiteY5" fmla="*/ 0 h 2638654"/>
              <a:gd name="connsiteX6" fmla="*/ 6207503 w 6228785"/>
              <a:gd name="connsiteY6" fmla="*/ 2607906 h 2638654"/>
              <a:gd name="connsiteX7" fmla="*/ 0 w 6228785"/>
              <a:gd name="connsiteY7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5966965 w 6228785"/>
              <a:gd name="connsiteY4" fmla="*/ 68017 h 2638654"/>
              <a:gd name="connsiteX5" fmla="*/ 6228785 w 6228785"/>
              <a:gd name="connsiteY5" fmla="*/ 0 h 2638654"/>
              <a:gd name="connsiteX6" fmla="*/ 6207503 w 6228785"/>
              <a:gd name="connsiteY6" fmla="*/ 2607906 h 2638654"/>
              <a:gd name="connsiteX7" fmla="*/ 0 w 6228785"/>
              <a:gd name="connsiteY7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5966965 w 6228785"/>
              <a:gd name="connsiteY4" fmla="*/ 68017 h 2638654"/>
              <a:gd name="connsiteX5" fmla="*/ 6228785 w 6228785"/>
              <a:gd name="connsiteY5" fmla="*/ 0 h 2638654"/>
              <a:gd name="connsiteX6" fmla="*/ 6207503 w 6228785"/>
              <a:gd name="connsiteY6" fmla="*/ 2607906 h 2638654"/>
              <a:gd name="connsiteX7" fmla="*/ 0 w 6228785"/>
              <a:gd name="connsiteY7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5966965 w 6228785"/>
              <a:gd name="connsiteY4" fmla="*/ 68017 h 2638654"/>
              <a:gd name="connsiteX5" fmla="*/ 6228785 w 6228785"/>
              <a:gd name="connsiteY5" fmla="*/ 0 h 2638654"/>
              <a:gd name="connsiteX6" fmla="*/ 6207503 w 6228785"/>
              <a:gd name="connsiteY6" fmla="*/ 2607906 h 2638654"/>
              <a:gd name="connsiteX7" fmla="*/ 0 w 6228785"/>
              <a:gd name="connsiteY7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4353804 w 6228785"/>
              <a:gd name="connsiteY4" fmla="*/ 640789 h 2638654"/>
              <a:gd name="connsiteX5" fmla="*/ 5966965 w 6228785"/>
              <a:gd name="connsiteY5" fmla="*/ 68017 h 2638654"/>
              <a:gd name="connsiteX6" fmla="*/ 6228785 w 6228785"/>
              <a:gd name="connsiteY6" fmla="*/ 0 h 2638654"/>
              <a:gd name="connsiteX7" fmla="*/ 6207503 w 6228785"/>
              <a:gd name="connsiteY7" fmla="*/ 2607906 h 2638654"/>
              <a:gd name="connsiteX8" fmla="*/ 0 w 6228785"/>
              <a:gd name="connsiteY8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4382551 w 6228785"/>
              <a:gd name="connsiteY4" fmla="*/ 668779 h 2638654"/>
              <a:gd name="connsiteX5" fmla="*/ 5966965 w 6228785"/>
              <a:gd name="connsiteY5" fmla="*/ 68017 h 2638654"/>
              <a:gd name="connsiteX6" fmla="*/ 6228785 w 6228785"/>
              <a:gd name="connsiteY6" fmla="*/ 0 h 2638654"/>
              <a:gd name="connsiteX7" fmla="*/ 6207503 w 6228785"/>
              <a:gd name="connsiteY7" fmla="*/ 2607906 h 2638654"/>
              <a:gd name="connsiteX8" fmla="*/ 0 w 6228785"/>
              <a:gd name="connsiteY8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4302698 w 6228785"/>
              <a:gd name="connsiteY4" fmla="*/ 662320 h 2638654"/>
              <a:gd name="connsiteX5" fmla="*/ 5966965 w 6228785"/>
              <a:gd name="connsiteY5" fmla="*/ 68017 h 2638654"/>
              <a:gd name="connsiteX6" fmla="*/ 6228785 w 6228785"/>
              <a:gd name="connsiteY6" fmla="*/ 0 h 2638654"/>
              <a:gd name="connsiteX7" fmla="*/ 6207503 w 6228785"/>
              <a:gd name="connsiteY7" fmla="*/ 2607906 h 2638654"/>
              <a:gd name="connsiteX8" fmla="*/ 0 w 6228785"/>
              <a:gd name="connsiteY8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3702191 w 6228785"/>
              <a:gd name="connsiteY4" fmla="*/ 877625 h 2638654"/>
              <a:gd name="connsiteX5" fmla="*/ 4302698 w 6228785"/>
              <a:gd name="connsiteY5" fmla="*/ 662320 h 2638654"/>
              <a:gd name="connsiteX6" fmla="*/ 5966965 w 6228785"/>
              <a:gd name="connsiteY6" fmla="*/ 68017 h 2638654"/>
              <a:gd name="connsiteX7" fmla="*/ 6228785 w 6228785"/>
              <a:gd name="connsiteY7" fmla="*/ 0 h 2638654"/>
              <a:gd name="connsiteX8" fmla="*/ 6207503 w 6228785"/>
              <a:gd name="connsiteY8" fmla="*/ 2607906 h 2638654"/>
              <a:gd name="connsiteX9" fmla="*/ 0 w 6228785"/>
              <a:gd name="connsiteY9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3663862 w 6228785"/>
              <a:gd name="connsiteY4" fmla="*/ 877625 h 2638654"/>
              <a:gd name="connsiteX5" fmla="*/ 4302698 w 6228785"/>
              <a:gd name="connsiteY5" fmla="*/ 662320 h 2638654"/>
              <a:gd name="connsiteX6" fmla="*/ 5966965 w 6228785"/>
              <a:gd name="connsiteY6" fmla="*/ 68017 h 2638654"/>
              <a:gd name="connsiteX7" fmla="*/ 6228785 w 6228785"/>
              <a:gd name="connsiteY7" fmla="*/ 0 h 2638654"/>
              <a:gd name="connsiteX8" fmla="*/ 6207503 w 6228785"/>
              <a:gd name="connsiteY8" fmla="*/ 2607906 h 2638654"/>
              <a:gd name="connsiteX9" fmla="*/ 0 w 6228785"/>
              <a:gd name="connsiteY9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3663862 w 6228785"/>
              <a:gd name="connsiteY4" fmla="*/ 877625 h 2638654"/>
              <a:gd name="connsiteX5" fmla="*/ 4302698 w 6228785"/>
              <a:gd name="connsiteY5" fmla="*/ 662320 h 2638654"/>
              <a:gd name="connsiteX6" fmla="*/ 5966965 w 6228785"/>
              <a:gd name="connsiteY6" fmla="*/ 68017 h 2638654"/>
              <a:gd name="connsiteX7" fmla="*/ 6228785 w 6228785"/>
              <a:gd name="connsiteY7" fmla="*/ 0 h 2638654"/>
              <a:gd name="connsiteX8" fmla="*/ 6207503 w 6228785"/>
              <a:gd name="connsiteY8" fmla="*/ 2607906 h 2638654"/>
              <a:gd name="connsiteX9" fmla="*/ 0 w 6228785"/>
              <a:gd name="connsiteY9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3663862 w 6228785"/>
              <a:gd name="connsiteY4" fmla="*/ 877625 h 2638654"/>
              <a:gd name="connsiteX5" fmla="*/ 4302698 w 6228785"/>
              <a:gd name="connsiteY5" fmla="*/ 662320 h 2638654"/>
              <a:gd name="connsiteX6" fmla="*/ 5966965 w 6228785"/>
              <a:gd name="connsiteY6" fmla="*/ 68017 h 2638654"/>
              <a:gd name="connsiteX7" fmla="*/ 6228785 w 6228785"/>
              <a:gd name="connsiteY7" fmla="*/ 0 h 2638654"/>
              <a:gd name="connsiteX8" fmla="*/ 6207503 w 6228785"/>
              <a:gd name="connsiteY8" fmla="*/ 2607906 h 2638654"/>
              <a:gd name="connsiteX9" fmla="*/ 0 w 6228785"/>
              <a:gd name="connsiteY9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3663862 w 6228785"/>
              <a:gd name="connsiteY4" fmla="*/ 877625 h 2638654"/>
              <a:gd name="connsiteX5" fmla="*/ 4302698 w 6228785"/>
              <a:gd name="connsiteY5" fmla="*/ 662320 h 2638654"/>
              <a:gd name="connsiteX6" fmla="*/ 5995713 w 6228785"/>
              <a:gd name="connsiteY6" fmla="*/ 106771 h 2638654"/>
              <a:gd name="connsiteX7" fmla="*/ 6228785 w 6228785"/>
              <a:gd name="connsiteY7" fmla="*/ 0 h 2638654"/>
              <a:gd name="connsiteX8" fmla="*/ 6207503 w 6228785"/>
              <a:gd name="connsiteY8" fmla="*/ 2607906 h 2638654"/>
              <a:gd name="connsiteX9" fmla="*/ 0 w 6228785"/>
              <a:gd name="connsiteY9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3663862 w 6228785"/>
              <a:gd name="connsiteY4" fmla="*/ 877625 h 2638654"/>
              <a:gd name="connsiteX5" fmla="*/ 4302698 w 6228785"/>
              <a:gd name="connsiteY5" fmla="*/ 662320 h 2638654"/>
              <a:gd name="connsiteX6" fmla="*/ 5995713 w 6228785"/>
              <a:gd name="connsiteY6" fmla="*/ 106771 h 2638654"/>
              <a:gd name="connsiteX7" fmla="*/ 6228785 w 6228785"/>
              <a:gd name="connsiteY7" fmla="*/ 0 h 2638654"/>
              <a:gd name="connsiteX8" fmla="*/ 6207503 w 6228785"/>
              <a:gd name="connsiteY8" fmla="*/ 2607906 h 2638654"/>
              <a:gd name="connsiteX9" fmla="*/ 0 w 6228785"/>
              <a:gd name="connsiteY9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3663862 w 6228785"/>
              <a:gd name="connsiteY4" fmla="*/ 877625 h 2638654"/>
              <a:gd name="connsiteX5" fmla="*/ 4302698 w 6228785"/>
              <a:gd name="connsiteY5" fmla="*/ 662320 h 2638654"/>
              <a:gd name="connsiteX6" fmla="*/ 5120407 w 6228785"/>
              <a:gd name="connsiteY6" fmla="*/ 408260 h 2638654"/>
              <a:gd name="connsiteX7" fmla="*/ 5995713 w 6228785"/>
              <a:gd name="connsiteY7" fmla="*/ 106771 h 2638654"/>
              <a:gd name="connsiteX8" fmla="*/ 6228785 w 6228785"/>
              <a:gd name="connsiteY8" fmla="*/ 0 h 2638654"/>
              <a:gd name="connsiteX9" fmla="*/ 6207503 w 6228785"/>
              <a:gd name="connsiteY9" fmla="*/ 2607906 h 2638654"/>
              <a:gd name="connsiteX10" fmla="*/ 0 w 6228785"/>
              <a:gd name="connsiteY10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3663862 w 6228785"/>
              <a:gd name="connsiteY4" fmla="*/ 877625 h 2638654"/>
              <a:gd name="connsiteX5" fmla="*/ 4302698 w 6228785"/>
              <a:gd name="connsiteY5" fmla="*/ 662320 h 2638654"/>
              <a:gd name="connsiteX6" fmla="*/ 5107630 w 6228785"/>
              <a:gd name="connsiteY6" fmla="*/ 391035 h 2638654"/>
              <a:gd name="connsiteX7" fmla="*/ 5995713 w 6228785"/>
              <a:gd name="connsiteY7" fmla="*/ 106771 h 2638654"/>
              <a:gd name="connsiteX8" fmla="*/ 6228785 w 6228785"/>
              <a:gd name="connsiteY8" fmla="*/ 0 h 2638654"/>
              <a:gd name="connsiteX9" fmla="*/ 6207503 w 6228785"/>
              <a:gd name="connsiteY9" fmla="*/ 2607906 h 2638654"/>
              <a:gd name="connsiteX10" fmla="*/ 0 w 6228785"/>
              <a:gd name="connsiteY10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3663862 w 6228785"/>
              <a:gd name="connsiteY4" fmla="*/ 877625 h 2638654"/>
              <a:gd name="connsiteX5" fmla="*/ 4302698 w 6228785"/>
              <a:gd name="connsiteY5" fmla="*/ 662320 h 2638654"/>
              <a:gd name="connsiteX6" fmla="*/ 5107630 w 6228785"/>
              <a:gd name="connsiteY6" fmla="*/ 391035 h 2638654"/>
              <a:gd name="connsiteX7" fmla="*/ 5995713 w 6228785"/>
              <a:gd name="connsiteY7" fmla="*/ 106771 h 2638654"/>
              <a:gd name="connsiteX8" fmla="*/ 6228785 w 6228785"/>
              <a:gd name="connsiteY8" fmla="*/ 0 h 2638654"/>
              <a:gd name="connsiteX9" fmla="*/ 6207503 w 6228785"/>
              <a:gd name="connsiteY9" fmla="*/ 2607906 h 2638654"/>
              <a:gd name="connsiteX10" fmla="*/ 0 w 6228785"/>
              <a:gd name="connsiteY10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3663862 w 6228785"/>
              <a:gd name="connsiteY4" fmla="*/ 877625 h 2638654"/>
              <a:gd name="connsiteX5" fmla="*/ 4302698 w 6228785"/>
              <a:gd name="connsiteY5" fmla="*/ 662320 h 2638654"/>
              <a:gd name="connsiteX6" fmla="*/ 5107630 w 6228785"/>
              <a:gd name="connsiteY6" fmla="*/ 391035 h 2638654"/>
              <a:gd name="connsiteX7" fmla="*/ 5995713 w 6228785"/>
              <a:gd name="connsiteY7" fmla="*/ 106771 h 2638654"/>
              <a:gd name="connsiteX8" fmla="*/ 6228785 w 6228785"/>
              <a:gd name="connsiteY8" fmla="*/ 0 h 2638654"/>
              <a:gd name="connsiteX9" fmla="*/ 6207503 w 6228785"/>
              <a:gd name="connsiteY9" fmla="*/ 2607906 h 2638654"/>
              <a:gd name="connsiteX10" fmla="*/ 0 w 6228785"/>
              <a:gd name="connsiteY10" fmla="*/ 2638654 h 2638654"/>
              <a:gd name="connsiteX0" fmla="*/ 0 w 6228785"/>
              <a:gd name="connsiteY0" fmla="*/ 2638654 h 2638654"/>
              <a:gd name="connsiteX1" fmla="*/ 422999 w 6228785"/>
              <a:gd name="connsiteY1" fmla="*/ 2355200 h 2638654"/>
              <a:gd name="connsiteX2" fmla="*/ 1572839 w 6228785"/>
              <a:gd name="connsiteY2" fmla="*/ 1765623 h 2638654"/>
              <a:gd name="connsiteX3" fmla="*/ 2987700 w 6228785"/>
              <a:gd name="connsiteY3" fmla="*/ 1154204 h 2638654"/>
              <a:gd name="connsiteX4" fmla="*/ 3663862 w 6228785"/>
              <a:gd name="connsiteY4" fmla="*/ 877625 h 2638654"/>
              <a:gd name="connsiteX5" fmla="*/ 4302698 w 6228785"/>
              <a:gd name="connsiteY5" fmla="*/ 662320 h 2638654"/>
              <a:gd name="connsiteX6" fmla="*/ 5107630 w 6228785"/>
              <a:gd name="connsiteY6" fmla="*/ 391035 h 2638654"/>
              <a:gd name="connsiteX7" fmla="*/ 5995713 w 6228785"/>
              <a:gd name="connsiteY7" fmla="*/ 106771 h 2638654"/>
              <a:gd name="connsiteX8" fmla="*/ 6228785 w 6228785"/>
              <a:gd name="connsiteY8" fmla="*/ 0 h 2638654"/>
              <a:gd name="connsiteX9" fmla="*/ 6207503 w 6228785"/>
              <a:gd name="connsiteY9" fmla="*/ 2607906 h 2638654"/>
              <a:gd name="connsiteX10" fmla="*/ 0 w 6228785"/>
              <a:gd name="connsiteY10" fmla="*/ 2638654 h 2638654"/>
              <a:gd name="connsiteX0" fmla="*/ 0 w 6228785"/>
              <a:gd name="connsiteY0" fmla="*/ 2653725 h 2653725"/>
              <a:gd name="connsiteX1" fmla="*/ 422999 w 6228785"/>
              <a:gd name="connsiteY1" fmla="*/ 2370271 h 2653725"/>
              <a:gd name="connsiteX2" fmla="*/ 1572839 w 6228785"/>
              <a:gd name="connsiteY2" fmla="*/ 1780694 h 2653725"/>
              <a:gd name="connsiteX3" fmla="*/ 2987700 w 6228785"/>
              <a:gd name="connsiteY3" fmla="*/ 1169275 h 2653725"/>
              <a:gd name="connsiteX4" fmla="*/ 3663862 w 6228785"/>
              <a:gd name="connsiteY4" fmla="*/ 892696 h 2653725"/>
              <a:gd name="connsiteX5" fmla="*/ 4302698 w 6228785"/>
              <a:gd name="connsiteY5" fmla="*/ 677391 h 2653725"/>
              <a:gd name="connsiteX6" fmla="*/ 5107630 w 6228785"/>
              <a:gd name="connsiteY6" fmla="*/ 406106 h 2653725"/>
              <a:gd name="connsiteX7" fmla="*/ 5995713 w 6228785"/>
              <a:gd name="connsiteY7" fmla="*/ 121842 h 2653725"/>
              <a:gd name="connsiteX8" fmla="*/ 6228785 w 6228785"/>
              <a:gd name="connsiteY8" fmla="*/ 0 h 2653725"/>
              <a:gd name="connsiteX9" fmla="*/ 6207503 w 6228785"/>
              <a:gd name="connsiteY9" fmla="*/ 2622977 h 2653725"/>
              <a:gd name="connsiteX10" fmla="*/ 0 w 6228785"/>
              <a:gd name="connsiteY10" fmla="*/ 2653725 h 2653725"/>
              <a:gd name="connsiteX0" fmla="*/ 0 w 6228785"/>
              <a:gd name="connsiteY0" fmla="*/ 2653725 h 2653725"/>
              <a:gd name="connsiteX1" fmla="*/ 422999 w 6228785"/>
              <a:gd name="connsiteY1" fmla="*/ 2370271 h 2653725"/>
              <a:gd name="connsiteX2" fmla="*/ 1572839 w 6228785"/>
              <a:gd name="connsiteY2" fmla="*/ 1780694 h 2653725"/>
              <a:gd name="connsiteX3" fmla="*/ 2987700 w 6228785"/>
              <a:gd name="connsiteY3" fmla="*/ 1169275 h 2653725"/>
              <a:gd name="connsiteX4" fmla="*/ 3663862 w 6228785"/>
              <a:gd name="connsiteY4" fmla="*/ 892696 h 2653725"/>
              <a:gd name="connsiteX5" fmla="*/ 4302698 w 6228785"/>
              <a:gd name="connsiteY5" fmla="*/ 677391 h 2653725"/>
              <a:gd name="connsiteX6" fmla="*/ 5107630 w 6228785"/>
              <a:gd name="connsiteY6" fmla="*/ 406106 h 2653725"/>
              <a:gd name="connsiteX7" fmla="*/ 5995713 w 6228785"/>
              <a:gd name="connsiteY7" fmla="*/ 121842 h 2653725"/>
              <a:gd name="connsiteX8" fmla="*/ 6228785 w 6228785"/>
              <a:gd name="connsiteY8" fmla="*/ 0 h 2653725"/>
              <a:gd name="connsiteX9" fmla="*/ 6207503 w 6228785"/>
              <a:gd name="connsiteY9" fmla="*/ 2622977 h 2653725"/>
              <a:gd name="connsiteX10" fmla="*/ 0 w 6228785"/>
              <a:gd name="connsiteY10" fmla="*/ 2653725 h 2653725"/>
              <a:gd name="connsiteX0" fmla="*/ 0 w 6228785"/>
              <a:gd name="connsiteY0" fmla="*/ 2653725 h 2653725"/>
              <a:gd name="connsiteX1" fmla="*/ 422999 w 6228785"/>
              <a:gd name="connsiteY1" fmla="*/ 2370271 h 2653725"/>
              <a:gd name="connsiteX2" fmla="*/ 1572839 w 6228785"/>
              <a:gd name="connsiteY2" fmla="*/ 1780694 h 2653725"/>
              <a:gd name="connsiteX3" fmla="*/ 2987700 w 6228785"/>
              <a:gd name="connsiteY3" fmla="*/ 1169275 h 2653725"/>
              <a:gd name="connsiteX4" fmla="*/ 3663862 w 6228785"/>
              <a:gd name="connsiteY4" fmla="*/ 892696 h 2653725"/>
              <a:gd name="connsiteX5" fmla="*/ 4302698 w 6228785"/>
              <a:gd name="connsiteY5" fmla="*/ 677391 h 2653725"/>
              <a:gd name="connsiteX6" fmla="*/ 5107630 w 6228785"/>
              <a:gd name="connsiteY6" fmla="*/ 406106 h 2653725"/>
              <a:gd name="connsiteX7" fmla="*/ 5995713 w 6228785"/>
              <a:gd name="connsiteY7" fmla="*/ 121842 h 2653725"/>
              <a:gd name="connsiteX8" fmla="*/ 6228785 w 6228785"/>
              <a:gd name="connsiteY8" fmla="*/ 0 h 2653725"/>
              <a:gd name="connsiteX9" fmla="*/ 6207503 w 6228785"/>
              <a:gd name="connsiteY9" fmla="*/ 2622977 h 2653725"/>
              <a:gd name="connsiteX10" fmla="*/ 0 w 6228785"/>
              <a:gd name="connsiteY10" fmla="*/ 2653725 h 2653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228785" h="2653725">
                <a:moveTo>
                  <a:pt x="0" y="2653725"/>
                </a:moveTo>
                <a:cubicBezTo>
                  <a:pt x="277274" y="2447909"/>
                  <a:pt x="160859" y="2515776"/>
                  <a:pt x="422999" y="2370271"/>
                </a:cubicBezTo>
                <a:cubicBezTo>
                  <a:pt x="685139" y="2224766"/>
                  <a:pt x="1166132" y="1978455"/>
                  <a:pt x="1572839" y="1780694"/>
                </a:cubicBezTo>
                <a:cubicBezTo>
                  <a:pt x="2001648" y="1603590"/>
                  <a:pt x="2533340" y="1337767"/>
                  <a:pt x="2987700" y="1169275"/>
                </a:cubicBezTo>
                <a:cubicBezTo>
                  <a:pt x="3342592" y="1021275"/>
                  <a:pt x="3444696" y="974677"/>
                  <a:pt x="3663862" y="892696"/>
                </a:cubicBezTo>
                <a:cubicBezTo>
                  <a:pt x="3883028" y="810715"/>
                  <a:pt x="4059941" y="755618"/>
                  <a:pt x="4302698" y="677391"/>
                </a:cubicBezTo>
                <a:cubicBezTo>
                  <a:pt x="4545455" y="599164"/>
                  <a:pt x="4886149" y="500852"/>
                  <a:pt x="5107630" y="406106"/>
                </a:cubicBezTo>
                <a:cubicBezTo>
                  <a:pt x="5437712" y="322126"/>
                  <a:pt x="5810983" y="189885"/>
                  <a:pt x="5995713" y="121842"/>
                </a:cubicBezTo>
                <a:cubicBezTo>
                  <a:pt x="6021851" y="54711"/>
                  <a:pt x="5964211" y="86204"/>
                  <a:pt x="6228785" y="0"/>
                </a:cubicBezTo>
                <a:cubicBezTo>
                  <a:pt x="6205720" y="2626911"/>
                  <a:pt x="6230570" y="6830"/>
                  <a:pt x="6207503" y="2622977"/>
                </a:cubicBezTo>
                <a:lnTo>
                  <a:pt x="0" y="2653725"/>
                </a:lnTo>
                <a:close/>
              </a:path>
            </a:pathLst>
          </a:custGeom>
          <a:solidFill>
            <a:schemeClr val="bg2">
              <a:lumMod val="50000"/>
              <a:alpha val="7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EMPEROR Tx Effect">
            <a:extLst>
              <a:ext uri="{FF2B5EF4-FFF2-40B4-BE49-F238E27FC236}">
                <a16:creationId xmlns:a16="http://schemas.microsoft.com/office/drawing/2014/main" id="{51F303F7-58CA-8884-8716-69AA2469E28A}"/>
              </a:ext>
            </a:extLst>
          </p:cNvPr>
          <p:cNvSpPr/>
          <p:nvPr/>
        </p:nvSpPr>
        <p:spPr>
          <a:xfrm rot="19705252">
            <a:off x="6915699" y="3039834"/>
            <a:ext cx="4372430" cy="527561"/>
          </a:xfrm>
          <a:custGeom>
            <a:avLst/>
            <a:gdLst>
              <a:gd name="connsiteX0" fmla="*/ 0 w 6361043"/>
              <a:gd name="connsiteY0" fmla="*/ 2538738 h 2538738"/>
              <a:gd name="connsiteX1" fmla="*/ 6116843 w 6361043"/>
              <a:gd name="connsiteY1" fmla="*/ 0 h 2538738"/>
              <a:gd name="connsiteX2" fmla="*/ 6361043 w 6361043"/>
              <a:gd name="connsiteY2" fmla="*/ 2538738 h 2538738"/>
              <a:gd name="connsiteX3" fmla="*/ 0 w 6361043"/>
              <a:gd name="connsiteY3" fmla="*/ 2538738 h 2538738"/>
              <a:gd name="connsiteX0" fmla="*/ 0 w 6361043"/>
              <a:gd name="connsiteY0" fmla="*/ 2538738 h 2538738"/>
              <a:gd name="connsiteX1" fmla="*/ 1550505 w 6361043"/>
              <a:gd name="connsiteY1" fmla="*/ 1709529 h 2538738"/>
              <a:gd name="connsiteX2" fmla="*/ 6116843 w 6361043"/>
              <a:gd name="connsiteY2" fmla="*/ 0 h 2538738"/>
              <a:gd name="connsiteX3" fmla="*/ 6361043 w 6361043"/>
              <a:gd name="connsiteY3" fmla="*/ 2538738 h 2538738"/>
              <a:gd name="connsiteX4" fmla="*/ 0 w 6361043"/>
              <a:gd name="connsiteY4" fmla="*/ 2538738 h 2538738"/>
              <a:gd name="connsiteX0" fmla="*/ 0 w 6361043"/>
              <a:gd name="connsiteY0" fmla="*/ 2538738 h 2538738"/>
              <a:gd name="connsiteX1" fmla="*/ 1550505 w 6361043"/>
              <a:gd name="connsiteY1" fmla="*/ 1709529 h 2538738"/>
              <a:gd name="connsiteX2" fmla="*/ 2907907 w 6361043"/>
              <a:gd name="connsiteY2" fmla="*/ 1113181 h 2538738"/>
              <a:gd name="connsiteX3" fmla="*/ 6116843 w 6361043"/>
              <a:gd name="connsiteY3" fmla="*/ 0 h 2538738"/>
              <a:gd name="connsiteX4" fmla="*/ 6361043 w 6361043"/>
              <a:gd name="connsiteY4" fmla="*/ 2538738 h 2538738"/>
              <a:gd name="connsiteX5" fmla="*/ 0 w 6361043"/>
              <a:gd name="connsiteY5" fmla="*/ 2538738 h 2538738"/>
              <a:gd name="connsiteX0" fmla="*/ 0 w 6361043"/>
              <a:gd name="connsiteY0" fmla="*/ 2470584 h 2470584"/>
              <a:gd name="connsiteX1" fmla="*/ 1550505 w 6361043"/>
              <a:gd name="connsiteY1" fmla="*/ 1641375 h 2470584"/>
              <a:gd name="connsiteX2" fmla="*/ 2907907 w 6361043"/>
              <a:gd name="connsiteY2" fmla="*/ 1045027 h 2470584"/>
              <a:gd name="connsiteX3" fmla="*/ 6099804 w 6361043"/>
              <a:gd name="connsiteY3" fmla="*/ 0 h 2470584"/>
              <a:gd name="connsiteX4" fmla="*/ 6361043 w 6361043"/>
              <a:gd name="connsiteY4" fmla="*/ 2470584 h 2470584"/>
              <a:gd name="connsiteX5" fmla="*/ 0 w 6361043"/>
              <a:gd name="connsiteY5" fmla="*/ 2470584 h 2470584"/>
              <a:gd name="connsiteX0" fmla="*/ 0 w 6099804"/>
              <a:gd name="connsiteY0" fmla="*/ 2470584 h 2470584"/>
              <a:gd name="connsiteX1" fmla="*/ 1550505 w 6099804"/>
              <a:gd name="connsiteY1" fmla="*/ 1641375 h 2470584"/>
              <a:gd name="connsiteX2" fmla="*/ 2907907 w 6099804"/>
              <a:gd name="connsiteY2" fmla="*/ 1045027 h 2470584"/>
              <a:gd name="connsiteX3" fmla="*/ 6099804 w 6099804"/>
              <a:gd name="connsiteY3" fmla="*/ 0 h 2470584"/>
              <a:gd name="connsiteX4" fmla="*/ 6003234 w 6099804"/>
              <a:gd name="connsiteY4" fmla="*/ 2447866 h 2470584"/>
              <a:gd name="connsiteX5" fmla="*/ 0 w 6099804"/>
              <a:gd name="connsiteY5" fmla="*/ 2470584 h 2470584"/>
              <a:gd name="connsiteX0" fmla="*/ 0 w 6003234"/>
              <a:gd name="connsiteY0" fmla="*/ 2413789 h 2413789"/>
              <a:gd name="connsiteX1" fmla="*/ 1550505 w 6003234"/>
              <a:gd name="connsiteY1" fmla="*/ 1584580 h 2413789"/>
              <a:gd name="connsiteX2" fmla="*/ 2907907 w 6003234"/>
              <a:gd name="connsiteY2" fmla="*/ 988232 h 2413789"/>
              <a:gd name="connsiteX3" fmla="*/ 5969176 w 6003234"/>
              <a:gd name="connsiteY3" fmla="*/ 0 h 2413789"/>
              <a:gd name="connsiteX4" fmla="*/ 6003234 w 6003234"/>
              <a:gd name="connsiteY4" fmla="*/ 2391071 h 2413789"/>
              <a:gd name="connsiteX5" fmla="*/ 0 w 6003234"/>
              <a:gd name="connsiteY5" fmla="*/ 2413789 h 2413789"/>
              <a:gd name="connsiteX0" fmla="*/ 0 w 6003234"/>
              <a:gd name="connsiteY0" fmla="*/ 2413789 h 2413789"/>
              <a:gd name="connsiteX1" fmla="*/ 1550505 w 6003234"/>
              <a:gd name="connsiteY1" fmla="*/ 1584580 h 2413789"/>
              <a:gd name="connsiteX2" fmla="*/ 2907907 w 6003234"/>
              <a:gd name="connsiteY2" fmla="*/ 988232 h 2413789"/>
              <a:gd name="connsiteX3" fmla="*/ 5986215 w 6003234"/>
              <a:gd name="connsiteY3" fmla="*/ 0 h 2413789"/>
              <a:gd name="connsiteX4" fmla="*/ 6003234 w 6003234"/>
              <a:gd name="connsiteY4" fmla="*/ 2391071 h 2413789"/>
              <a:gd name="connsiteX5" fmla="*/ 0 w 6003234"/>
              <a:gd name="connsiteY5" fmla="*/ 2413789 h 2413789"/>
              <a:gd name="connsiteX0" fmla="*/ 0 w 6003234"/>
              <a:gd name="connsiteY0" fmla="*/ 2413789 h 2413789"/>
              <a:gd name="connsiteX1" fmla="*/ 1550505 w 6003234"/>
              <a:gd name="connsiteY1" fmla="*/ 1584580 h 2413789"/>
              <a:gd name="connsiteX2" fmla="*/ 2907907 w 6003234"/>
              <a:gd name="connsiteY2" fmla="*/ 988232 h 2413789"/>
              <a:gd name="connsiteX3" fmla="*/ 5986215 w 6003234"/>
              <a:gd name="connsiteY3" fmla="*/ 0 h 2413789"/>
              <a:gd name="connsiteX4" fmla="*/ 6003234 w 6003234"/>
              <a:gd name="connsiteY4" fmla="*/ 2391071 h 2413789"/>
              <a:gd name="connsiteX5" fmla="*/ 0 w 6003234"/>
              <a:gd name="connsiteY5" fmla="*/ 2413789 h 2413789"/>
              <a:gd name="connsiteX0" fmla="*/ 0 w 5998008"/>
              <a:gd name="connsiteY0" fmla="*/ 2927453 h 2927453"/>
              <a:gd name="connsiteX1" fmla="*/ 1545279 w 5998008"/>
              <a:gd name="connsiteY1" fmla="*/ 1584580 h 2927453"/>
              <a:gd name="connsiteX2" fmla="*/ 2902681 w 5998008"/>
              <a:gd name="connsiteY2" fmla="*/ 988232 h 2927453"/>
              <a:gd name="connsiteX3" fmla="*/ 5980989 w 5998008"/>
              <a:gd name="connsiteY3" fmla="*/ 0 h 2927453"/>
              <a:gd name="connsiteX4" fmla="*/ 5998008 w 5998008"/>
              <a:gd name="connsiteY4" fmla="*/ 2391071 h 2927453"/>
              <a:gd name="connsiteX5" fmla="*/ 0 w 5998008"/>
              <a:gd name="connsiteY5" fmla="*/ 2927453 h 2927453"/>
              <a:gd name="connsiteX0" fmla="*/ 0 w 5998008"/>
              <a:gd name="connsiteY0" fmla="*/ 2927453 h 2927453"/>
              <a:gd name="connsiteX1" fmla="*/ 1545279 w 5998008"/>
              <a:gd name="connsiteY1" fmla="*/ 1584580 h 2927453"/>
              <a:gd name="connsiteX2" fmla="*/ 2902681 w 5998008"/>
              <a:gd name="connsiteY2" fmla="*/ 988232 h 2927453"/>
              <a:gd name="connsiteX3" fmla="*/ 5980989 w 5998008"/>
              <a:gd name="connsiteY3" fmla="*/ 0 h 2927453"/>
              <a:gd name="connsiteX4" fmla="*/ 5998008 w 5998008"/>
              <a:gd name="connsiteY4" fmla="*/ 2391071 h 2927453"/>
              <a:gd name="connsiteX5" fmla="*/ 0 w 5998008"/>
              <a:gd name="connsiteY5" fmla="*/ 2927453 h 2927453"/>
              <a:gd name="connsiteX0" fmla="*/ 0 w 6002604"/>
              <a:gd name="connsiteY0" fmla="*/ 3420445 h 3420447"/>
              <a:gd name="connsiteX1" fmla="*/ 1549875 w 6002604"/>
              <a:gd name="connsiteY1" fmla="*/ 1584580 h 3420447"/>
              <a:gd name="connsiteX2" fmla="*/ 2907277 w 6002604"/>
              <a:gd name="connsiteY2" fmla="*/ 988232 h 3420447"/>
              <a:gd name="connsiteX3" fmla="*/ 5985585 w 6002604"/>
              <a:gd name="connsiteY3" fmla="*/ 0 h 3420447"/>
              <a:gd name="connsiteX4" fmla="*/ 6002604 w 6002604"/>
              <a:gd name="connsiteY4" fmla="*/ 2391071 h 3420447"/>
              <a:gd name="connsiteX5" fmla="*/ 0 w 6002604"/>
              <a:gd name="connsiteY5" fmla="*/ 3420445 h 3420447"/>
              <a:gd name="connsiteX0" fmla="*/ 0 w 6002604"/>
              <a:gd name="connsiteY0" fmla="*/ 3420445 h 3420447"/>
              <a:gd name="connsiteX1" fmla="*/ 1549875 w 6002604"/>
              <a:gd name="connsiteY1" fmla="*/ 1584580 h 3420447"/>
              <a:gd name="connsiteX2" fmla="*/ 2907277 w 6002604"/>
              <a:gd name="connsiteY2" fmla="*/ 988232 h 3420447"/>
              <a:gd name="connsiteX3" fmla="*/ 5985585 w 6002604"/>
              <a:gd name="connsiteY3" fmla="*/ 0 h 3420447"/>
              <a:gd name="connsiteX4" fmla="*/ 6002604 w 6002604"/>
              <a:gd name="connsiteY4" fmla="*/ 2391071 h 3420447"/>
              <a:gd name="connsiteX5" fmla="*/ 0 w 6002604"/>
              <a:gd name="connsiteY5" fmla="*/ 3420445 h 3420447"/>
              <a:gd name="connsiteX0" fmla="*/ 0 w 5985585"/>
              <a:gd name="connsiteY0" fmla="*/ 3420445 h 3640114"/>
              <a:gd name="connsiteX1" fmla="*/ 1549875 w 5985585"/>
              <a:gd name="connsiteY1" fmla="*/ 1584580 h 3640114"/>
              <a:gd name="connsiteX2" fmla="*/ 2907277 w 5985585"/>
              <a:gd name="connsiteY2" fmla="*/ 988232 h 3640114"/>
              <a:gd name="connsiteX3" fmla="*/ 5985585 w 5985585"/>
              <a:gd name="connsiteY3" fmla="*/ 0 h 3640114"/>
              <a:gd name="connsiteX4" fmla="*/ 5884800 w 5985585"/>
              <a:gd name="connsiteY4" fmla="*/ 3591803 h 3640114"/>
              <a:gd name="connsiteX5" fmla="*/ 0 w 5985585"/>
              <a:gd name="connsiteY5" fmla="*/ 3420445 h 3640114"/>
              <a:gd name="connsiteX0" fmla="*/ 0 w 5985585"/>
              <a:gd name="connsiteY0" fmla="*/ 3420445 h 3591804"/>
              <a:gd name="connsiteX1" fmla="*/ 1549875 w 5985585"/>
              <a:gd name="connsiteY1" fmla="*/ 1584580 h 3591804"/>
              <a:gd name="connsiteX2" fmla="*/ 2907277 w 5985585"/>
              <a:gd name="connsiteY2" fmla="*/ 988232 h 3591804"/>
              <a:gd name="connsiteX3" fmla="*/ 5985585 w 5985585"/>
              <a:gd name="connsiteY3" fmla="*/ 0 h 3591804"/>
              <a:gd name="connsiteX4" fmla="*/ 5884800 w 5985585"/>
              <a:gd name="connsiteY4" fmla="*/ 3591803 h 3591804"/>
              <a:gd name="connsiteX5" fmla="*/ 0 w 5985585"/>
              <a:gd name="connsiteY5" fmla="*/ 3420445 h 3591804"/>
              <a:gd name="connsiteX0" fmla="*/ 0 w 5983937"/>
              <a:gd name="connsiteY0" fmla="*/ 2477753 h 2649112"/>
              <a:gd name="connsiteX1" fmla="*/ 1549875 w 5983937"/>
              <a:gd name="connsiteY1" fmla="*/ 641888 h 2649112"/>
              <a:gd name="connsiteX2" fmla="*/ 2907277 w 5983937"/>
              <a:gd name="connsiteY2" fmla="*/ 45540 h 2649112"/>
              <a:gd name="connsiteX3" fmla="*/ 5983937 w 5983937"/>
              <a:gd name="connsiteY3" fmla="*/ 1034930 h 2649112"/>
              <a:gd name="connsiteX4" fmla="*/ 5884800 w 5983937"/>
              <a:gd name="connsiteY4" fmla="*/ 2649111 h 2649112"/>
              <a:gd name="connsiteX5" fmla="*/ 0 w 5983937"/>
              <a:gd name="connsiteY5" fmla="*/ 2477753 h 2649112"/>
              <a:gd name="connsiteX0" fmla="*/ 0 w 5983937"/>
              <a:gd name="connsiteY0" fmla="*/ 2138704 h 2310063"/>
              <a:gd name="connsiteX1" fmla="*/ 1549875 w 5983937"/>
              <a:gd name="connsiteY1" fmla="*/ 302839 h 2310063"/>
              <a:gd name="connsiteX2" fmla="*/ 2891055 w 5983937"/>
              <a:gd name="connsiteY2" fmla="*/ 56714 h 2310063"/>
              <a:gd name="connsiteX3" fmla="*/ 5983937 w 5983937"/>
              <a:gd name="connsiteY3" fmla="*/ 695881 h 2310063"/>
              <a:gd name="connsiteX4" fmla="*/ 5884800 w 5983937"/>
              <a:gd name="connsiteY4" fmla="*/ 2310062 h 2310063"/>
              <a:gd name="connsiteX5" fmla="*/ 0 w 5983937"/>
              <a:gd name="connsiteY5" fmla="*/ 2138704 h 2310063"/>
              <a:gd name="connsiteX0" fmla="*/ 0 w 5983937"/>
              <a:gd name="connsiteY0" fmla="*/ 2138704 h 2310063"/>
              <a:gd name="connsiteX1" fmla="*/ 1549875 w 5983937"/>
              <a:gd name="connsiteY1" fmla="*/ 302839 h 2310063"/>
              <a:gd name="connsiteX2" fmla="*/ 2891055 w 5983937"/>
              <a:gd name="connsiteY2" fmla="*/ 56714 h 2310063"/>
              <a:gd name="connsiteX3" fmla="*/ 5983937 w 5983937"/>
              <a:gd name="connsiteY3" fmla="*/ 695881 h 2310063"/>
              <a:gd name="connsiteX4" fmla="*/ 5884800 w 5983937"/>
              <a:gd name="connsiteY4" fmla="*/ 2310062 h 2310063"/>
              <a:gd name="connsiteX5" fmla="*/ 0 w 5983937"/>
              <a:gd name="connsiteY5" fmla="*/ 2138704 h 2310063"/>
              <a:gd name="connsiteX0" fmla="*/ 0 w 5983937"/>
              <a:gd name="connsiteY0" fmla="*/ 2138704 h 2310063"/>
              <a:gd name="connsiteX1" fmla="*/ 1525638 w 5983937"/>
              <a:gd name="connsiteY1" fmla="*/ 754453 h 2310063"/>
              <a:gd name="connsiteX2" fmla="*/ 2891055 w 5983937"/>
              <a:gd name="connsiteY2" fmla="*/ 56714 h 2310063"/>
              <a:gd name="connsiteX3" fmla="*/ 5983937 w 5983937"/>
              <a:gd name="connsiteY3" fmla="*/ 695881 h 2310063"/>
              <a:gd name="connsiteX4" fmla="*/ 5884800 w 5983937"/>
              <a:gd name="connsiteY4" fmla="*/ 2310062 h 2310063"/>
              <a:gd name="connsiteX5" fmla="*/ 0 w 5983937"/>
              <a:gd name="connsiteY5" fmla="*/ 2138704 h 2310063"/>
              <a:gd name="connsiteX0" fmla="*/ 0 w 5983937"/>
              <a:gd name="connsiteY0" fmla="*/ 2269072 h 2440431"/>
              <a:gd name="connsiteX1" fmla="*/ 1525638 w 5983937"/>
              <a:gd name="connsiteY1" fmla="*/ 884821 h 2440431"/>
              <a:gd name="connsiteX2" fmla="*/ 3233947 w 5983937"/>
              <a:gd name="connsiteY2" fmla="*/ 51798 h 2440431"/>
              <a:gd name="connsiteX3" fmla="*/ 5983937 w 5983937"/>
              <a:gd name="connsiteY3" fmla="*/ 826249 h 2440431"/>
              <a:gd name="connsiteX4" fmla="*/ 5884800 w 5983937"/>
              <a:gd name="connsiteY4" fmla="*/ 2440430 h 2440431"/>
              <a:gd name="connsiteX5" fmla="*/ 0 w 5983937"/>
              <a:gd name="connsiteY5" fmla="*/ 2269072 h 2440431"/>
              <a:gd name="connsiteX0" fmla="*/ 0 w 5983937"/>
              <a:gd name="connsiteY0" fmla="*/ 2269072 h 2440431"/>
              <a:gd name="connsiteX1" fmla="*/ 1525638 w 5983937"/>
              <a:gd name="connsiteY1" fmla="*/ 884821 h 2440431"/>
              <a:gd name="connsiteX2" fmla="*/ 3233947 w 5983937"/>
              <a:gd name="connsiteY2" fmla="*/ 51798 h 2440431"/>
              <a:gd name="connsiteX3" fmla="*/ 5983937 w 5983937"/>
              <a:gd name="connsiteY3" fmla="*/ 826249 h 2440431"/>
              <a:gd name="connsiteX4" fmla="*/ 5884800 w 5983937"/>
              <a:gd name="connsiteY4" fmla="*/ 2440430 h 2440431"/>
              <a:gd name="connsiteX5" fmla="*/ 0 w 5983937"/>
              <a:gd name="connsiteY5" fmla="*/ 2269072 h 2440431"/>
              <a:gd name="connsiteX0" fmla="*/ 0 w 5993953"/>
              <a:gd name="connsiteY0" fmla="*/ 2395809 h 2440431"/>
              <a:gd name="connsiteX1" fmla="*/ 1535654 w 5993953"/>
              <a:gd name="connsiteY1" fmla="*/ 884821 h 2440431"/>
              <a:gd name="connsiteX2" fmla="*/ 3243963 w 5993953"/>
              <a:gd name="connsiteY2" fmla="*/ 51798 h 2440431"/>
              <a:gd name="connsiteX3" fmla="*/ 5993953 w 5993953"/>
              <a:gd name="connsiteY3" fmla="*/ 826249 h 2440431"/>
              <a:gd name="connsiteX4" fmla="*/ 5894816 w 5993953"/>
              <a:gd name="connsiteY4" fmla="*/ 2440430 h 2440431"/>
              <a:gd name="connsiteX5" fmla="*/ 0 w 5993953"/>
              <a:gd name="connsiteY5" fmla="*/ 2395809 h 2440431"/>
              <a:gd name="connsiteX0" fmla="*/ 288071 w 6282024"/>
              <a:gd name="connsiteY0" fmla="*/ 2395809 h 2440431"/>
              <a:gd name="connsiteX1" fmla="*/ 1015012 w 6282024"/>
              <a:gd name="connsiteY1" fmla="*/ 1292482 h 2440431"/>
              <a:gd name="connsiteX2" fmla="*/ 1823725 w 6282024"/>
              <a:gd name="connsiteY2" fmla="*/ 884821 h 2440431"/>
              <a:gd name="connsiteX3" fmla="*/ 3532034 w 6282024"/>
              <a:gd name="connsiteY3" fmla="*/ 51798 h 2440431"/>
              <a:gd name="connsiteX4" fmla="*/ 6282024 w 6282024"/>
              <a:gd name="connsiteY4" fmla="*/ 826249 h 2440431"/>
              <a:gd name="connsiteX5" fmla="*/ 6182887 w 6282024"/>
              <a:gd name="connsiteY5" fmla="*/ 2440430 h 2440431"/>
              <a:gd name="connsiteX6" fmla="*/ 288071 w 6282024"/>
              <a:gd name="connsiteY6" fmla="*/ 2395809 h 2440431"/>
              <a:gd name="connsiteX0" fmla="*/ 282283 w 6276236"/>
              <a:gd name="connsiteY0" fmla="*/ 2395809 h 2440431"/>
              <a:gd name="connsiteX1" fmla="*/ 1009224 w 6276236"/>
              <a:gd name="connsiteY1" fmla="*/ 1292482 h 2440431"/>
              <a:gd name="connsiteX2" fmla="*/ 1817937 w 6276236"/>
              <a:gd name="connsiteY2" fmla="*/ 884821 h 2440431"/>
              <a:gd name="connsiteX3" fmla="*/ 3526246 w 6276236"/>
              <a:gd name="connsiteY3" fmla="*/ 51798 h 2440431"/>
              <a:gd name="connsiteX4" fmla="*/ 6276236 w 6276236"/>
              <a:gd name="connsiteY4" fmla="*/ 826249 h 2440431"/>
              <a:gd name="connsiteX5" fmla="*/ 6177099 w 6276236"/>
              <a:gd name="connsiteY5" fmla="*/ 2440430 h 2440431"/>
              <a:gd name="connsiteX6" fmla="*/ 282283 w 6276236"/>
              <a:gd name="connsiteY6" fmla="*/ 2395809 h 2440431"/>
              <a:gd name="connsiteX0" fmla="*/ 0 w 5993953"/>
              <a:gd name="connsiteY0" fmla="*/ 2395809 h 2440431"/>
              <a:gd name="connsiteX1" fmla="*/ 726941 w 5993953"/>
              <a:gd name="connsiteY1" fmla="*/ 1292482 h 2440431"/>
              <a:gd name="connsiteX2" fmla="*/ 1535654 w 5993953"/>
              <a:gd name="connsiteY2" fmla="*/ 884821 h 2440431"/>
              <a:gd name="connsiteX3" fmla="*/ 3243963 w 5993953"/>
              <a:gd name="connsiteY3" fmla="*/ 51798 h 2440431"/>
              <a:gd name="connsiteX4" fmla="*/ 5993953 w 5993953"/>
              <a:gd name="connsiteY4" fmla="*/ 826249 h 2440431"/>
              <a:gd name="connsiteX5" fmla="*/ 5894816 w 5993953"/>
              <a:gd name="connsiteY5" fmla="*/ 2440430 h 2440431"/>
              <a:gd name="connsiteX6" fmla="*/ 0 w 5993953"/>
              <a:gd name="connsiteY6" fmla="*/ 2395809 h 2440431"/>
              <a:gd name="connsiteX0" fmla="*/ 0 w 5936268"/>
              <a:gd name="connsiteY0" fmla="*/ 2510261 h 2510259"/>
              <a:gd name="connsiteX1" fmla="*/ 669256 w 5936268"/>
              <a:gd name="connsiteY1" fmla="*/ 1292482 h 2510259"/>
              <a:gd name="connsiteX2" fmla="*/ 1477969 w 5936268"/>
              <a:gd name="connsiteY2" fmla="*/ 884821 h 2510259"/>
              <a:gd name="connsiteX3" fmla="*/ 3186278 w 5936268"/>
              <a:gd name="connsiteY3" fmla="*/ 51798 h 2510259"/>
              <a:gd name="connsiteX4" fmla="*/ 5936268 w 5936268"/>
              <a:gd name="connsiteY4" fmla="*/ 826249 h 2510259"/>
              <a:gd name="connsiteX5" fmla="*/ 5837131 w 5936268"/>
              <a:gd name="connsiteY5" fmla="*/ 2440430 h 2510259"/>
              <a:gd name="connsiteX6" fmla="*/ 0 w 5936268"/>
              <a:gd name="connsiteY6" fmla="*/ 2510261 h 2510259"/>
              <a:gd name="connsiteX0" fmla="*/ 0 w 5936268"/>
              <a:gd name="connsiteY0" fmla="*/ 2510261 h 2510259"/>
              <a:gd name="connsiteX1" fmla="*/ 669256 w 5936268"/>
              <a:gd name="connsiteY1" fmla="*/ 1292482 h 2510259"/>
              <a:gd name="connsiteX2" fmla="*/ 1477969 w 5936268"/>
              <a:gd name="connsiteY2" fmla="*/ 884821 h 2510259"/>
              <a:gd name="connsiteX3" fmla="*/ 3186278 w 5936268"/>
              <a:gd name="connsiteY3" fmla="*/ 51798 h 2510259"/>
              <a:gd name="connsiteX4" fmla="*/ 5936268 w 5936268"/>
              <a:gd name="connsiteY4" fmla="*/ 826249 h 2510259"/>
              <a:gd name="connsiteX5" fmla="*/ 5837131 w 5936268"/>
              <a:gd name="connsiteY5" fmla="*/ 2440430 h 2510259"/>
              <a:gd name="connsiteX6" fmla="*/ 0 w 5936268"/>
              <a:gd name="connsiteY6" fmla="*/ 2510261 h 2510259"/>
              <a:gd name="connsiteX0" fmla="*/ 0 w 5936268"/>
              <a:gd name="connsiteY0" fmla="*/ 2510261 h 2510259"/>
              <a:gd name="connsiteX1" fmla="*/ 669256 w 5936268"/>
              <a:gd name="connsiteY1" fmla="*/ 1292482 h 2510259"/>
              <a:gd name="connsiteX2" fmla="*/ 1477969 w 5936268"/>
              <a:gd name="connsiteY2" fmla="*/ 884821 h 2510259"/>
              <a:gd name="connsiteX3" fmla="*/ 3186278 w 5936268"/>
              <a:gd name="connsiteY3" fmla="*/ 51798 h 2510259"/>
              <a:gd name="connsiteX4" fmla="*/ 5936268 w 5936268"/>
              <a:gd name="connsiteY4" fmla="*/ 826249 h 2510259"/>
              <a:gd name="connsiteX5" fmla="*/ 5837131 w 5936268"/>
              <a:gd name="connsiteY5" fmla="*/ 2440430 h 2510259"/>
              <a:gd name="connsiteX6" fmla="*/ 0 w 5936268"/>
              <a:gd name="connsiteY6" fmla="*/ 2510261 h 2510259"/>
              <a:gd name="connsiteX0" fmla="*/ 0 w 5936268"/>
              <a:gd name="connsiteY0" fmla="*/ 2510261 h 2510259"/>
              <a:gd name="connsiteX1" fmla="*/ 669256 w 5936268"/>
              <a:gd name="connsiteY1" fmla="*/ 1292482 h 2510259"/>
              <a:gd name="connsiteX2" fmla="*/ 1477969 w 5936268"/>
              <a:gd name="connsiteY2" fmla="*/ 884821 h 2510259"/>
              <a:gd name="connsiteX3" fmla="*/ 3186278 w 5936268"/>
              <a:gd name="connsiteY3" fmla="*/ 51798 h 2510259"/>
              <a:gd name="connsiteX4" fmla="*/ 5936268 w 5936268"/>
              <a:gd name="connsiteY4" fmla="*/ 826249 h 2510259"/>
              <a:gd name="connsiteX5" fmla="*/ 5837131 w 5936268"/>
              <a:gd name="connsiteY5" fmla="*/ 2440430 h 2510259"/>
              <a:gd name="connsiteX6" fmla="*/ 0 w 5936268"/>
              <a:gd name="connsiteY6" fmla="*/ 2510261 h 2510259"/>
              <a:gd name="connsiteX0" fmla="*/ 0 w 5936268"/>
              <a:gd name="connsiteY0" fmla="*/ 2144160 h 2144158"/>
              <a:gd name="connsiteX1" fmla="*/ 669256 w 5936268"/>
              <a:gd name="connsiteY1" fmla="*/ 926381 h 2144158"/>
              <a:gd name="connsiteX2" fmla="*/ 1477969 w 5936268"/>
              <a:gd name="connsiteY2" fmla="*/ 518720 h 2144158"/>
              <a:gd name="connsiteX3" fmla="*/ 3034096 w 5936268"/>
              <a:gd name="connsiteY3" fmla="*/ 68675 h 2144158"/>
              <a:gd name="connsiteX4" fmla="*/ 5936268 w 5936268"/>
              <a:gd name="connsiteY4" fmla="*/ 460148 h 2144158"/>
              <a:gd name="connsiteX5" fmla="*/ 5837131 w 5936268"/>
              <a:gd name="connsiteY5" fmla="*/ 2074329 h 2144158"/>
              <a:gd name="connsiteX6" fmla="*/ 0 w 5936268"/>
              <a:gd name="connsiteY6" fmla="*/ 2144160 h 2144158"/>
              <a:gd name="connsiteX0" fmla="*/ 0 w 5936268"/>
              <a:gd name="connsiteY0" fmla="*/ 2170064 h 2170062"/>
              <a:gd name="connsiteX1" fmla="*/ 669256 w 5936268"/>
              <a:gd name="connsiteY1" fmla="*/ 952285 h 2170062"/>
              <a:gd name="connsiteX2" fmla="*/ 1477969 w 5936268"/>
              <a:gd name="connsiteY2" fmla="*/ 544624 h 2170062"/>
              <a:gd name="connsiteX3" fmla="*/ 3034096 w 5936268"/>
              <a:gd name="connsiteY3" fmla="*/ 94579 h 2170062"/>
              <a:gd name="connsiteX4" fmla="*/ 5936268 w 5936268"/>
              <a:gd name="connsiteY4" fmla="*/ 486052 h 2170062"/>
              <a:gd name="connsiteX5" fmla="*/ 5837131 w 5936268"/>
              <a:gd name="connsiteY5" fmla="*/ 2100233 h 2170062"/>
              <a:gd name="connsiteX6" fmla="*/ 0 w 5936268"/>
              <a:gd name="connsiteY6" fmla="*/ 2170064 h 2170062"/>
              <a:gd name="connsiteX0" fmla="*/ 100174 w 6036442"/>
              <a:gd name="connsiteY0" fmla="*/ 2170064 h 2204888"/>
              <a:gd name="connsiteX1" fmla="*/ 769430 w 6036442"/>
              <a:gd name="connsiteY1" fmla="*/ 952285 h 2204888"/>
              <a:gd name="connsiteX2" fmla="*/ 1578143 w 6036442"/>
              <a:gd name="connsiteY2" fmla="*/ 544624 h 2204888"/>
              <a:gd name="connsiteX3" fmla="*/ 3134270 w 6036442"/>
              <a:gd name="connsiteY3" fmla="*/ 94579 h 2204888"/>
              <a:gd name="connsiteX4" fmla="*/ 6036442 w 6036442"/>
              <a:gd name="connsiteY4" fmla="*/ 486052 h 2204888"/>
              <a:gd name="connsiteX5" fmla="*/ 5937305 w 6036442"/>
              <a:gd name="connsiteY5" fmla="*/ 2100233 h 2204888"/>
              <a:gd name="connsiteX6" fmla="*/ 650359 w 6036442"/>
              <a:gd name="connsiteY6" fmla="*/ 1850897 h 2204888"/>
              <a:gd name="connsiteX7" fmla="*/ 100174 w 6036442"/>
              <a:gd name="connsiteY7" fmla="*/ 2170064 h 2204888"/>
              <a:gd name="connsiteX0" fmla="*/ 4169 w 5940437"/>
              <a:gd name="connsiteY0" fmla="*/ 2170064 h 2227044"/>
              <a:gd name="connsiteX1" fmla="*/ 673425 w 5940437"/>
              <a:gd name="connsiteY1" fmla="*/ 952285 h 2227044"/>
              <a:gd name="connsiteX2" fmla="*/ 1482138 w 5940437"/>
              <a:gd name="connsiteY2" fmla="*/ 544624 h 2227044"/>
              <a:gd name="connsiteX3" fmla="*/ 3038265 w 5940437"/>
              <a:gd name="connsiteY3" fmla="*/ 94579 h 2227044"/>
              <a:gd name="connsiteX4" fmla="*/ 5940437 w 5940437"/>
              <a:gd name="connsiteY4" fmla="*/ 486052 h 2227044"/>
              <a:gd name="connsiteX5" fmla="*/ 5841300 w 5940437"/>
              <a:gd name="connsiteY5" fmla="*/ 2100233 h 2227044"/>
              <a:gd name="connsiteX6" fmla="*/ 554354 w 5940437"/>
              <a:gd name="connsiteY6" fmla="*/ 1850897 h 2227044"/>
              <a:gd name="connsiteX7" fmla="*/ 4169 w 5940437"/>
              <a:gd name="connsiteY7" fmla="*/ 2170064 h 2227044"/>
              <a:gd name="connsiteX0" fmla="*/ 4693 w 5928302"/>
              <a:gd name="connsiteY0" fmla="*/ 2060367 h 2166309"/>
              <a:gd name="connsiteX1" fmla="*/ 661290 w 5928302"/>
              <a:gd name="connsiteY1" fmla="*/ 952285 h 2166309"/>
              <a:gd name="connsiteX2" fmla="*/ 1470003 w 5928302"/>
              <a:gd name="connsiteY2" fmla="*/ 544624 h 2166309"/>
              <a:gd name="connsiteX3" fmla="*/ 3026130 w 5928302"/>
              <a:gd name="connsiteY3" fmla="*/ 94579 h 2166309"/>
              <a:gd name="connsiteX4" fmla="*/ 5928302 w 5928302"/>
              <a:gd name="connsiteY4" fmla="*/ 486052 h 2166309"/>
              <a:gd name="connsiteX5" fmla="*/ 5829165 w 5928302"/>
              <a:gd name="connsiteY5" fmla="*/ 2100233 h 2166309"/>
              <a:gd name="connsiteX6" fmla="*/ 542219 w 5928302"/>
              <a:gd name="connsiteY6" fmla="*/ 1850897 h 2166309"/>
              <a:gd name="connsiteX7" fmla="*/ 4693 w 5928302"/>
              <a:gd name="connsiteY7" fmla="*/ 2060367 h 2166309"/>
              <a:gd name="connsiteX0" fmla="*/ 4693 w 5928302"/>
              <a:gd name="connsiteY0" fmla="*/ 2060367 h 2138245"/>
              <a:gd name="connsiteX1" fmla="*/ 661290 w 5928302"/>
              <a:gd name="connsiteY1" fmla="*/ 952285 h 2138245"/>
              <a:gd name="connsiteX2" fmla="*/ 1470003 w 5928302"/>
              <a:gd name="connsiteY2" fmla="*/ 544624 h 2138245"/>
              <a:gd name="connsiteX3" fmla="*/ 3026130 w 5928302"/>
              <a:gd name="connsiteY3" fmla="*/ 94579 h 2138245"/>
              <a:gd name="connsiteX4" fmla="*/ 5928302 w 5928302"/>
              <a:gd name="connsiteY4" fmla="*/ 486052 h 2138245"/>
              <a:gd name="connsiteX5" fmla="*/ 5829165 w 5928302"/>
              <a:gd name="connsiteY5" fmla="*/ 2100233 h 2138245"/>
              <a:gd name="connsiteX6" fmla="*/ 542219 w 5928302"/>
              <a:gd name="connsiteY6" fmla="*/ 1850897 h 2138245"/>
              <a:gd name="connsiteX7" fmla="*/ 4693 w 5928302"/>
              <a:gd name="connsiteY7" fmla="*/ 2060367 h 2138245"/>
              <a:gd name="connsiteX0" fmla="*/ 4693 w 6009580"/>
              <a:gd name="connsiteY0" fmla="*/ 2060367 h 2186709"/>
              <a:gd name="connsiteX1" fmla="*/ 661290 w 6009580"/>
              <a:gd name="connsiteY1" fmla="*/ 952285 h 2186709"/>
              <a:gd name="connsiteX2" fmla="*/ 1470003 w 6009580"/>
              <a:gd name="connsiteY2" fmla="*/ 544624 h 2186709"/>
              <a:gd name="connsiteX3" fmla="*/ 3026130 w 6009580"/>
              <a:gd name="connsiteY3" fmla="*/ 94579 h 2186709"/>
              <a:gd name="connsiteX4" fmla="*/ 5928302 w 6009580"/>
              <a:gd name="connsiteY4" fmla="*/ 486052 h 2186709"/>
              <a:gd name="connsiteX5" fmla="*/ 5829165 w 6009580"/>
              <a:gd name="connsiteY5" fmla="*/ 2100233 h 2186709"/>
              <a:gd name="connsiteX6" fmla="*/ 5549610 w 6009580"/>
              <a:gd name="connsiteY6" fmla="*/ 1868512 h 2186709"/>
              <a:gd name="connsiteX7" fmla="*/ 542219 w 6009580"/>
              <a:gd name="connsiteY7" fmla="*/ 1850897 h 2186709"/>
              <a:gd name="connsiteX8" fmla="*/ 4693 w 6009580"/>
              <a:gd name="connsiteY8" fmla="*/ 2060367 h 2186709"/>
              <a:gd name="connsiteX0" fmla="*/ 4693 w 5928302"/>
              <a:gd name="connsiteY0" fmla="*/ 2060367 h 2173884"/>
              <a:gd name="connsiteX1" fmla="*/ 661290 w 5928302"/>
              <a:gd name="connsiteY1" fmla="*/ 952285 h 2173884"/>
              <a:gd name="connsiteX2" fmla="*/ 1470003 w 5928302"/>
              <a:gd name="connsiteY2" fmla="*/ 544624 h 2173884"/>
              <a:gd name="connsiteX3" fmla="*/ 3026130 w 5928302"/>
              <a:gd name="connsiteY3" fmla="*/ 94579 h 2173884"/>
              <a:gd name="connsiteX4" fmla="*/ 5928302 w 5928302"/>
              <a:gd name="connsiteY4" fmla="*/ 486052 h 2173884"/>
              <a:gd name="connsiteX5" fmla="*/ 5829165 w 5928302"/>
              <a:gd name="connsiteY5" fmla="*/ 2100233 h 2173884"/>
              <a:gd name="connsiteX6" fmla="*/ 5549610 w 5928302"/>
              <a:gd name="connsiteY6" fmla="*/ 1868512 h 2173884"/>
              <a:gd name="connsiteX7" fmla="*/ 542219 w 5928302"/>
              <a:gd name="connsiteY7" fmla="*/ 1850897 h 2173884"/>
              <a:gd name="connsiteX8" fmla="*/ 4693 w 5928302"/>
              <a:gd name="connsiteY8" fmla="*/ 2060367 h 2173884"/>
              <a:gd name="connsiteX0" fmla="*/ 4693 w 5928302"/>
              <a:gd name="connsiteY0" fmla="*/ 2060367 h 2138245"/>
              <a:gd name="connsiteX1" fmla="*/ 661290 w 5928302"/>
              <a:gd name="connsiteY1" fmla="*/ 952285 h 2138245"/>
              <a:gd name="connsiteX2" fmla="*/ 1470003 w 5928302"/>
              <a:gd name="connsiteY2" fmla="*/ 544624 h 2138245"/>
              <a:gd name="connsiteX3" fmla="*/ 3026130 w 5928302"/>
              <a:gd name="connsiteY3" fmla="*/ 94579 h 2138245"/>
              <a:gd name="connsiteX4" fmla="*/ 5928302 w 5928302"/>
              <a:gd name="connsiteY4" fmla="*/ 486052 h 2138245"/>
              <a:gd name="connsiteX5" fmla="*/ 5829165 w 5928302"/>
              <a:gd name="connsiteY5" fmla="*/ 2100233 h 2138245"/>
              <a:gd name="connsiteX6" fmla="*/ 5549610 w 5928302"/>
              <a:gd name="connsiteY6" fmla="*/ 1868512 h 2138245"/>
              <a:gd name="connsiteX7" fmla="*/ 542219 w 5928302"/>
              <a:gd name="connsiteY7" fmla="*/ 1850897 h 2138245"/>
              <a:gd name="connsiteX8" fmla="*/ 4693 w 5928302"/>
              <a:gd name="connsiteY8" fmla="*/ 2060367 h 2138245"/>
              <a:gd name="connsiteX0" fmla="*/ 4693 w 6022971"/>
              <a:gd name="connsiteY0" fmla="*/ 2060367 h 2138245"/>
              <a:gd name="connsiteX1" fmla="*/ 661290 w 6022971"/>
              <a:gd name="connsiteY1" fmla="*/ 952285 h 2138245"/>
              <a:gd name="connsiteX2" fmla="*/ 1470003 w 6022971"/>
              <a:gd name="connsiteY2" fmla="*/ 544624 h 2138245"/>
              <a:gd name="connsiteX3" fmla="*/ 3026130 w 6022971"/>
              <a:gd name="connsiteY3" fmla="*/ 94579 h 2138245"/>
              <a:gd name="connsiteX4" fmla="*/ 6022972 w 6022971"/>
              <a:gd name="connsiteY4" fmla="*/ 319945 h 2138245"/>
              <a:gd name="connsiteX5" fmla="*/ 5829165 w 6022971"/>
              <a:gd name="connsiteY5" fmla="*/ 2100233 h 2138245"/>
              <a:gd name="connsiteX6" fmla="*/ 5549610 w 6022971"/>
              <a:gd name="connsiteY6" fmla="*/ 1868512 h 2138245"/>
              <a:gd name="connsiteX7" fmla="*/ 542219 w 6022971"/>
              <a:gd name="connsiteY7" fmla="*/ 1850897 h 2138245"/>
              <a:gd name="connsiteX8" fmla="*/ 4693 w 6022971"/>
              <a:gd name="connsiteY8" fmla="*/ 2060367 h 2138245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6022972 w 6022972"/>
              <a:gd name="connsiteY4" fmla="*/ 319945 h 2138245"/>
              <a:gd name="connsiteX5" fmla="*/ 5829165 w 6022972"/>
              <a:gd name="connsiteY5" fmla="*/ 2100233 h 2138245"/>
              <a:gd name="connsiteX6" fmla="*/ 5549610 w 6022972"/>
              <a:gd name="connsiteY6" fmla="*/ 1868512 h 2138245"/>
              <a:gd name="connsiteX7" fmla="*/ 542219 w 6022972"/>
              <a:gd name="connsiteY7" fmla="*/ 1850897 h 2138245"/>
              <a:gd name="connsiteX8" fmla="*/ 4693 w 6022972"/>
              <a:gd name="connsiteY8" fmla="*/ 2060367 h 2138245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6022972 w 6022972"/>
              <a:gd name="connsiteY4" fmla="*/ 319945 h 2138245"/>
              <a:gd name="connsiteX5" fmla="*/ 5829165 w 6022972"/>
              <a:gd name="connsiteY5" fmla="*/ 2100233 h 2138245"/>
              <a:gd name="connsiteX6" fmla="*/ 5549610 w 6022972"/>
              <a:gd name="connsiteY6" fmla="*/ 1868512 h 2138245"/>
              <a:gd name="connsiteX7" fmla="*/ 542219 w 6022972"/>
              <a:gd name="connsiteY7" fmla="*/ 1850897 h 2138245"/>
              <a:gd name="connsiteX8" fmla="*/ 4693 w 6022972"/>
              <a:gd name="connsiteY8" fmla="*/ 2060367 h 2138245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6022972 w 6022972"/>
              <a:gd name="connsiteY4" fmla="*/ 319945 h 2138245"/>
              <a:gd name="connsiteX5" fmla="*/ 5829165 w 6022972"/>
              <a:gd name="connsiteY5" fmla="*/ 2100233 h 2138245"/>
              <a:gd name="connsiteX6" fmla="*/ 5549610 w 6022972"/>
              <a:gd name="connsiteY6" fmla="*/ 1868512 h 2138245"/>
              <a:gd name="connsiteX7" fmla="*/ 5460980 w 6022972"/>
              <a:gd name="connsiteY7" fmla="*/ 2054540 h 2138245"/>
              <a:gd name="connsiteX8" fmla="*/ 542219 w 6022972"/>
              <a:gd name="connsiteY8" fmla="*/ 1850897 h 2138245"/>
              <a:gd name="connsiteX9" fmla="*/ 4693 w 6022972"/>
              <a:gd name="connsiteY9" fmla="*/ 2060367 h 2138245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6022972 w 6022972"/>
              <a:gd name="connsiteY4" fmla="*/ 319945 h 2138245"/>
              <a:gd name="connsiteX5" fmla="*/ 5829165 w 6022972"/>
              <a:gd name="connsiteY5" fmla="*/ 2100233 h 2138245"/>
              <a:gd name="connsiteX6" fmla="*/ 5549610 w 6022972"/>
              <a:gd name="connsiteY6" fmla="*/ 1868512 h 2138245"/>
              <a:gd name="connsiteX7" fmla="*/ 5460980 w 6022972"/>
              <a:gd name="connsiteY7" fmla="*/ 2054540 h 2138245"/>
              <a:gd name="connsiteX8" fmla="*/ 542219 w 6022972"/>
              <a:gd name="connsiteY8" fmla="*/ 1850897 h 2138245"/>
              <a:gd name="connsiteX9" fmla="*/ 4693 w 6022972"/>
              <a:gd name="connsiteY9" fmla="*/ 2060367 h 2138245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6022972 w 6022972"/>
              <a:gd name="connsiteY4" fmla="*/ 319945 h 2138245"/>
              <a:gd name="connsiteX5" fmla="*/ 5829165 w 6022972"/>
              <a:gd name="connsiteY5" fmla="*/ 2100233 h 2138245"/>
              <a:gd name="connsiteX6" fmla="*/ 5549610 w 6022972"/>
              <a:gd name="connsiteY6" fmla="*/ 1868512 h 2138245"/>
              <a:gd name="connsiteX7" fmla="*/ 5460980 w 6022972"/>
              <a:gd name="connsiteY7" fmla="*/ 2054540 h 2138245"/>
              <a:gd name="connsiteX8" fmla="*/ 542219 w 6022972"/>
              <a:gd name="connsiteY8" fmla="*/ 1850897 h 2138245"/>
              <a:gd name="connsiteX9" fmla="*/ 4693 w 6022972"/>
              <a:gd name="connsiteY9" fmla="*/ 2060367 h 2138245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6022972 w 6022972"/>
              <a:gd name="connsiteY4" fmla="*/ 319945 h 2138245"/>
              <a:gd name="connsiteX5" fmla="*/ 5829165 w 6022972"/>
              <a:gd name="connsiteY5" fmla="*/ 2100233 h 2138245"/>
              <a:gd name="connsiteX6" fmla="*/ 5549610 w 6022972"/>
              <a:gd name="connsiteY6" fmla="*/ 1868512 h 2138245"/>
              <a:gd name="connsiteX7" fmla="*/ 5460980 w 6022972"/>
              <a:gd name="connsiteY7" fmla="*/ 2054540 h 2138245"/>
              <a:gd name="connsiteX8" fmla="*/ 3198718 w 6022972"/>
              <a:gd name="connsiteY8" fmla="*/ 1482768 h 2138245"/>
              <a:gd name="connsiteX9" fmla="*/ 542219 w 6022972"/>
              <a:gd name="connsiteY9" fmla="*/ 1850897 h 2138245"/>
              <a:gd name="connsiteX10" fmla="*/ 4693 w 6022972"/>
              <a:gd name="connsiteY10" fmla="*/ 2060367 h 2138245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6022972 w 6022972"/>
              <a:gd name="connsiteY4" fmla="*/ 319945 h 2138245"/>
              <a:gd name="connsiteX5" fmla="*/ 5829165 w 6022972"/>
              <a:gd name="connsiteY5" fmla="*/ 2100233 h 2138245"/>
              <a:gd name="connsiteX6" fmla="*/ 5549610 w 6022972"/>
              <a:gd name="connsiteY6" fmla="*/ 1868512 h 2138245"/>
              <a:gd name="connsiteX7" fmla="*/ 5460980 w 6022972"/>
              <a:gd name="connsiteY7" fmla="*/ 2054540 h 2138245"/>
              <a:gd name="connsiteX8" fmla="*/ 3198718 w 6022972"/>
              <a:gd name="connsiteY8" fmla="*/ 1482768 h 2138245"/>
              <a:gd name="connsiteX9" fmla="*/ 1352987 w 6022972"/>
              <a:gd name="connsiteY9" fmla="*/ 1622631 h 2138245"/>
              <a:gd name="connsiteX10" fmla="*/ 542219 w 6022972"/>
              <a:gd name="connsiteY10" fmla="*/ 1850897 h 2138245"/>
              <a:gd name="connsiteX11" fmla="*/ 4693 w 6022972"/>
              <a:gd name="connsiteY11" fmla="*/ 2060367 h 2138245"/>
              <a:gd name="connsiteX0" fmla="*/ 4693 w 6022972"/>
              <a:gd name="connsiteY0" fmla="*/ 2065891 h 2143769"/>
              <a:gd name="connsiteX1" fmla="*/ 661290 w 6022972"/>
              <a:gd name="connsiteY1" fmla="*/ 957809 h 2143769"/>
              <a:gd name="connsiteX2" fmla="*/ 1470003 w 6022972"/>
              <a:gd name="connsiteY2" fmla="*/ 550148 h 2143769"/>
              <a:gd name="connsiteX3" fmla="*/ 3026130 w 6022972"/>
              <a:gd name="connsiteY3" fmla="*/ 100103 h 2143769"/>
              <a:gd name="connsiteX4" fmla="*/ 4894713 w 6022972"/>
              <a:gd name="connsiteY4" fmla="*/ 9985 h 2143769"/>
              <a:gd name="connsiteX5" fmla="*/ 6022972 w 6022972"/>
              <a:gd name="connsiteY5" fmla="*/ 325469 h 2143769"/>
              <a:gd name="connsiteX6" fmla="*/ 5829165 w 6022972"/>
              <a:gd name="connsiteY6" fmla="*/ 2105757 h 2143769"/>
              <a:gd name="connsiteX7" fmla="*/ 5549610 w 6022972"/>
              <a:gd name="connsiteY7" fmla="*/ 1874036 h 2143769"/>
              <a:gd name="connsiteX8" fmla="*/ 5460980 w 6022972"/>
              <a:gd name="connsiteY8" fmla="*/ 2060064 h 2143769"/>
              <a:gd name="connsiteX9" fmla="*/ 3198718 w 6022972"/>
              <a:gd name="connsiteY9" fmla="*/ 1488292 h 2143769"/>
              <a:gd name="connsiteX10" fmla="*/ 1352987 w 6022972"/>
              <a:gd name="connsiteY10" fmla="*/ 1628155 h 2143769"/>
              <a:gd name="connsiteX11" fmla="*/ 542219 w 6022972"/>
              <a:gd name="connsiteY11" fmla="*/ 1856421 h 2143769"/>
              <a:gd name="connsiteX12" fmla="*/ 4693 w 6022972"/>
              <a:gd name="connsiteY12" fmla="*/ 2065891 h 2143769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4894713 w 6022972"/>
              <a:gd name="connsiteY4" fmla="*/ 4461 h 2138245"/>
              <a:gd name="connsiteX5" fmla="*/ 6022972 w 6022972"/>
              <a:gd name="connsiteY5" fmla="*/ 319945 h 2138245"/>
              <a:gd name="connsiteX6" fmla="*/ 5829165 w 6022972"/>
              <a:gd name="connsiteY6" fmla="*/ 2100233 h 2138245"/>
              <a:gd name="connsiteX7" fmla="*/ 5549610 w 6022972"/>
              <a:gd name="connsiteY7" fmla="*/ 1868512 h 2138245"/>
              <a:gd name="connsiteX8" fmla="*/ 5460980 w 6022972"/>
              <a:gd name="connsiteY8" fmla="*/ 2054540 h 2138245"/>
              <a:gd name="connsiteX9" fmla="*/ 3198718 w 6022972"/>
              <a:gd name="connsiteY9" fmla="*/ 1482768 h 2138245"/>
              <a:gd name="connsiteX10" fmla="*/ 1352987 w 6022972"/>
              <a:gd name="connsiteY10" fmla="*/ 1622631 h 2138245"/>
              <a:gd name="connsiteX11" fmla="*/ 542219 w 6022972"/>
              <a:gd name="connsiteY11" fmla="*/ 1850897 h 2138245"/>
              <a:gd name="connsiteX12" fmla="*/ 4693 w 6022972"/>
              <a:gd name="connsiteY12" fmla="*/ 2060367 h 2138245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4894713 w 6022972"/>
              <a:gd name="connsiteY4" fmla="*/ 4461 h 2138245"/>
              <a:gd name="connsiteX5" fmla="*/ 6022972 w 6022972"/>
              <a:gd name="connsiteY5" fmla="*/ 319945 h 2138245"/>
              <a:gd name="connsiteX6" fmla="*/ 5829165 w 6022972"/>
              <a:gd name="connsiteY6" fmla="*/ 2100233 h 2138245"/>
              <a:gd name="connsiteX7" fmla="*/ 5549610 w 6022972"/>
              <a:gd name="connsiteY7" fmla="*/ 1868512 h 2138245"/>
              <a:gd name="connsiteX8" fmla="*/ 5460980 w 6022972"/>
              <a:gd name="connsiteY8" fmla="*/ 2054540 h 2138245"/>
              <a:gd name="connsiteX9" fmla="*/ 3198718 w 6022972"/>
              <a:gd name="connsiteY9" fmla="*/ 1482768 h 2138245"/>
              <a:gd name="connsiteX10" fmla="*/ 1352987 w 6022972"/>
              <a:gd name="connsiteY10" fmla="*/ 1622631 h 2138245"/>
              <a:gd name="connsiteX11" fmla="*/ 542219 w 6022972"/>
              <a:gd name="connsiteY11" fmla="*/ 1850897 h 2138245"/>
              <a:gd name="connsiteX12" fmla="*/ 4693 w 6022972"/>
              <a:gd name="connsiteY12" fmla="*/ 2060367 h 2138245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4894713 w 6022972"/>
              <a:gd name="connsiteY4" fmla="*/ 4461 h 2138245"/>
              <a:gd name="connsiteX5" fmla="*/ 6022972 w 6022972"/>
              <a:gd name="connsiteY5" fmla="*/ 319945 h 2138245"/>
              <a:gd name="connsiteX6" fmla="*/ 5829165 w 6022972"/>
              <a:gd name="connsiteY6" fmla="*/ 2100233 h 2138245"/>
              <a:gd name="connsiteX7" fmla="*/ 5549610 w 6022972"/>
              <a:gd name="connsiteY7" fmla="*/ 1868512 h 2138245"/>
              <a:gd name="connsiteX8" fmla="*/ 5460980 w 6022972"/>
              <a:gd name="connsiteY8" fmla="*/ 2054540 h 2138245"/>
              <a:gd name="connsiteX9" fmla="*/ 3198718 w 6022972"/>
              <a:gd name="connsiteY9" fmla="*/ 1482768 h 2138245"/>
              <a:gd name="connsiteX10" fmla="*/ 1352987 w 6022972"/>
              <a:gd name="connsiteY10" fmla="*/ 1622631 h 2138245"/>
              <a:gd name="connsiteX11" fmla="*/ 542219 w 6022972"/>
              <a:gd name="connsiteY11" fmla="*/ 1850897 h 2138245"/>
              <a:gd name="connsiteX12" fmla="*/ 4693 w 6022972"/>
              <a:gd name="connsiteY12" fmla="*/ 2060367 h 2138245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4894713 w 6022972"/>
              <a:gd name="connsiteY4" fmla="*/ 4461 h 2138245"/>
              <a:gd name="connsiteX5" fmla="*/ 6022972 w 6022972"/>
              <a:gd name="connsiteY5" fmla="*/ 319945 h 2138245"/>
              <a:gd name="connsiteX6" fmla="*/ 5829165 w 6022972"/>
              <a:gd name="connsiteY6" fmla="*/ 2100233 h 2138245"/>
              <a:gd name="connsiteX7" fmla="*/ 5549610 w 6022972"/>
              <a:gd name="connsiteY7" fmla="*/ 1868512 h 2138245"/>
              <a:gd name="connsiteX8" fmla="*/ 5460980 w 6022972"/>
              <a:gd name="connsiteY8" fmla="*/ 2054540 h 2138245"/>
              <a:gd name="connsiteX9" fmla="*/ 3198718 w 6022972"/>
              <a:gd name="connsiteY9" fmla="*/ 1482768 h 2138245"/>
              <a:gd name="connsiteX10" fmla="*/ 1352987 w 6022972"/>
              <a:gd name="connsiteY10" fmla="*/ 1622631 h 2138245"/>
              <a:gd name="connsiteX11" fmla="*/ 542219 w 6022972"/>
              <a:gd name="connsiteY11" fmla="*/ 1850897 h 2138245"/>
              <a:gd name="connsiteX12" fmla="*/ 4693 w 6022972"/>
              <a:gd name="connsiteY12" fmla="*/ 2060367 h 2138245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4894713 w 6022972"/>
              <a:gd name="connsiteY4" fmla="*/ 4461 h 2138245"/>
              <a:gd name="connsiteX5" fmla="*/ 6022972 w 6022972"/>
              <a:gd name="connsiteY5" fmla="*/ 319945 h 2138245"/>
              <a:gd name="connsiteX6" fmla="*/ 5771482 w 6022972"/>
              <a:gd name="connsiteY6" fmla="*/ 1985780 h 2138245"/>
              <a:gd name="connsiteX7" fmla="*/ 5549610 w 6022972"/>
              <a:gd name="connsiteY7" fmla="*/ 1868512 h 2138245"/>
              <a:gd name="connsiteX8" fmla="*/ 5460980 w 6022972"/>
              <a:gd name="connsiteY8" fmla="*/ 2054540 h 2138245"/>
              <a:gd name="connsiteX9" fmla="*/ 3198718 w 6022972"/>
              <a:gd name="connsiteY9" fmla="*/ 1482768 h 2138245"/>
              <a:gd name="connsiteX10" fmla="*/ 1352987 w 6022972"/>
              <a:gd name="connsiteY10" fmla="*/ 1622631 h 2138245"/>
              <a:gd name="connsiteX11" fmla="*/ 542219 w 6022972"/>
              <a:gd name="connsiteY11" fmla="*/ 1850897 h 2138245"/>
              <a:gd name="connsiteX12" fmla="*/ 4693 w 6022972"/>
              <a:gd name="connsiteY12" fmla="*/ 2060367 h 2138245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4894713 w 6022972"/>
              <a:gd name="connsiteY4" fmla="*/ 4461 h 2138245"/>
              <a:gd name="connsiteX5" fmla="*/ 6022972 w 6022972"/>
              <a:gd name="connsiteY5" fmla="*/ 319945 h 2138245"/>
              <a:gd name="connsiteX6" fmla="*/ 5771482 w 6022972"/>
              <a:gd name="connsiteY6" fmla="*/ 1985780 h 2138245"/>
              <a:gd name="connsiteX7" fmla="*/ 5549610 w 6022972"/>
              <a:gd name="connsiteY7" fmla="*/ 1868512 h 2138245"/>
              <a:gd name="connsiteX8" fmla="*/ 5460980 w 6022972"/>
              <a:gd name="connsiteY8" fmla="*/ 2054540 h 2138245"/>
              <a:gd name="connsiteX9" fmla="*/ 3198718 w 6022972"/>
              <a:gd name="connsiteY9" fmla="*/ 1482768 h 2138245"/>
              <a:gd name="connsiteX10" fmla="*/ 1352987 w 6022972"/>
              <a:gd name="connsiteY10" fmla="*/ 1622631 h 2138245"/>
              <a:gd name="connsiteX11" fmla="*/ 542219 w 6022972"/>
              <a:gd name="connsiteY11" fmla="*/ 1850897 h 2138245"/>
              <a:gd name="connsiteX12" fmla="*/ 4693 w 6022972"/>
              <a:gd name="connsiteY12" fmla="*/ 2060367 h 2138245"/>
              <a:gd name="connsiteX0" fmla="*/ 4693 w 6022972"/>
              <a:gd name="connsiteY0" fmla="*/ 2060367 h 2138245"/>
              <a:gd name="connsiteX1" fmla="*/ 661290 w 6022972"/>
              <a:gd name="connsiteY1" fmla="*/ 95228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4894713 w 6022972"/>
              <a:gd name="connsiteY4" fmla="*/ 4461 h 2138245"/>
              <a:gd name="connsiteX5" fmla="*/ 6022972 w 6022972"/>
              <a:gd name="connsiteY5" fmla="*/ 319945 h 2138245"/>
              <a:gd name="connsiteX6" fmla="*/ 5771482 w 6022972"/>
              <a:gd name="connsiteY6" fmla="*/ 1985780 h 2138245"/>
              <a:gd name="connsiteX7" fmla="*/ 5549610 w 6022972"/>
              <a:gd name="connsiteY7" fmla="*/ 1868512 h 2138245"/>
              <a:gd name="connsiteX8" fmla="*/ 5460980 w 6022972"/>
              <a:gd name="connsiteY8" fmla="*/ 2054540 h 2138245"/>
              <a:gd name="connsiteX9" fmla="*/ 3198718 w 6022972"/>
              <a:gd name="connsiteY9" fmla="*/ 1482768 h 2138245"/>
              <a:gd name="connsiteX10" fmla="*/ 1352987 w 6022972"/>
              <a:gd name="connsiteY10" fmla="*/ 1622631 h 2138245"/>
              <a:gd name="connsiteX11" fmla="*/ 542219 w 6022972"/>
              <a:gd name="connsiteY11" fmla="*/ 1850897 h 2138245"/>
              <a:gd name="connsiteX12" fmla="*/ 4693 w 6022972"/>
              <a:gd name="connsiteY12" fmla="*/ 2060367 h 2138245"/>
              <a:gd name="connsiteX0" fmla="*/ 4693 w 6022972"/>
              <a:gd name="connsiteY0" fmla="*/ 2060367 h 2138245"/>
              <a:gd name="connsiteX1" fmla="*/ 638179 w 6022972"/>
              <a:gd name="connsiteY1" fmla="*/ 1130145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4894713 w 6022972"/>
              <a:gd name="connsiteY4" fmla="*/ 4461 h 2138245"/>
              <a:gd name="connsiteX5" fmla="*/ 6022972 w 6022972"/>
              <a:gd name="connsiteY5" fmla="*/ 319945 h 2138245"/>
              <a:gd name="connsiteX6" fmla="*/ 5771482 w 6022972"/>
              <a:gd name="connsiteY6" fmla="*/ 1985780 h 2138245"/>
              <a:gd name="connsiteX7" fmla="*/ 5549610 w 6022972"/>
              <a:gd name="connsiteY7" fmla="*/ 1868512 h 2138245"/>
              <a:gd name="connsiteX8" fmla="*/ 5460980 w 6022972"/>
              <a:gd name="connsiteY8" fmla="*/ 2054540 h 2138245"/>
              <a:gd name="connsiteX9" fmla="*/ 3198718 w 6022972"/>
              <a:gd name="connsiteY9" fmla="*/ 1482768 h 2138245"/>
              <a:gd name="connsiteX10" fmla="*/ 1352987 w 6022972"/>
              <a:gd name="connsiteY10" fmla="*/ 1622631 h 2138245"/>
              <a:gd name="connsiteX11" fmla="*/ 542219 w 6022972"/>
              <a:gd name="connsiteY11" fmla="*/ 1850897 h 2138245"/>
              <a:gd name="connsiteX12" fmla="*/ 4693 w 6022972"/>
              <a:gd name="connsiteY12" fmla="*/ 2060367 h 2138245"/>
              <a:gd name="connsiteX0" fmla="*/ 4693 w 6022972"/>
              <a:gd name="connsiteY0" fmla="*/ 2060367 h 2138245"/>
              <a:gd name="connsiteX1" fmla="*/ 676867 w 6022972"/>
              <a:gd name="connsiteY1" fmla="*/ 1204523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4894713 w 6022972"/>
              <a:gd name="connsiteY4" fmla="*/ 4461 h 2138245"/>
              <a:gd name="connsiteX5" fmla="*/ 6022972 w 6022972"/>
              <a:gd name="connsiteY5" fmla="*/ 319945 h 2138245"/>
              <a:gd name="connsiteX6" fmla="*/ 5771482 w 6022972"/>
              <a:gd name="connsiteY6" fmla="*/ 1985780 h 2138245"/>
              <a:gd name="connsiteX7" fmla="*/ 5549610 w 6022972"/>
              <a:gd name="connsiteY7" fmla="*/ 1868512 h 2138245"/>
              <a:gd name="connsiteX8" fmla="*/ 5460980 w 6022972"/>
              <a:gd name="connsiteY8" fmla="*/ 2054540 h 2138245"/>
              <a:gd name="connsiteX9" fmla="*/ 3198718 w 6022972"/>
              <a:gd name="connsiteY9" fmla="*/ 1482768 h 2138245"/>
              <a:gd name="connsiteX10" fmla="*/ 1352987 w 6022972"/>
              <a:gd name="connsiteY10" fmla="*/ 1622631 h 2138245"/>
              <a:gd name="connsiteX11" fmla="*/ 542219 w 6022972"/>
              <a:gd name="connsiteY11" fmla="*/ 1850897 h 2138245"/>
              <a:gd name="connsiteX12" fmla="*/ 4693 w 6022972"/>
              <a:gd name="connsiteY12" fmla="*/ 2060367 h 2138245"/>
              <a:gd name="connsiteX0" fmla="*/ 4693 w 6022972"/>
              <a:gd name="connsiteY0" fmla="*/ 2060367 h 2138245"/>
              <a:gd name="connsiteX1" fmla="*/ 662809 w 6022972"/>
              <a:gd name="connsiteY1" fmla="*/ 1140447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4894713 w 6022972"/>
              <a:gd name="connsiteY4" fmla="*/ 4461 h 2138245"/>
              <a:gd name="connsiteX5" fmla="*/ 6022972 w 6022972"/>
              <a:gd name="connsiteY5" fmla="*/ 319945 h 2138245"/>
              <a:gd name="connsiteX6" fmla="*/ 5771482 w 6022972"/>
              <a:gd name="connsiteY6" fmla="*/ 1985780 h 2138245"/>
              <a:gd name="connsiteX7" fmla="*/ 5549610 w 6022972"/>
              <a:gd name="connsiteY7" fmla="*/ 1868512 h 2138245"/>
              <a:gd name="connsiteX8" fmla="*/ 5460980 w 6022972"/>
              <a:gd name="connsiteY8" fmla="*/ 2054540 h 2138245"/>
              <a:gd name="connsiteX9" fmla="*/ 3198718 w 6022972"/>
              <a:gd name="connsiteY9" fmla="*/ 1482768 h 2138245"/>
              <a:gd name="connsiteX10" fmla="*/ 1352987 w 6022972"/>
              <a:gd name="connsiteY10" fmla="*/ 1622631 h 2138245"/>
              <a:gd name="connsiteX11" fmla="*/ 542219 w 6022972"/>
              <a:gd name="connsiteY11" fmla="*/ 1850897 h 2138245"/>
              <a:gd name="connsiteX12" fmla="*/ 4693 w 6022972"/>
              <a:gd name="connsiteY12" fmla="*/ 2060367 h 2138245"/>
              <a:gd name="connsiteX0" fmla="*/ 4693 w 6022972"/>
              <a:gd name="connsiteY0" fmla="*/ 2060367 h 2138245"/>
              <a:gd name="connsiteX1" fmla="*/ 662809 w 6022972"/>
              <a:gd name="connsiteY1" fmla="*/ 1140447 h 2138245"/>
              <a:gd name="connsiteX2" fmla="*/ 1470003 w 6022972"/>
              <a:gd name="connsiteY2" fmla="*/ 544624 h 2138245"/>
              <a:gd name="connsiteX3" fmla="*/ 3026130 w 6022972"/>
              <a:gd name="connsiteY3" fmla="*/ 94579 h 2138245"/>
              <a:gd name="connsiteX4" fmla="*/ 4894713 w 6022972"/>
              <a:gd name="connsiteY4" fmla="*/ 4461 h 2138245"/>
              <a:gd name="connsiteX5" fmla="*/ 6022972 w 6022972"/>
              <a:gd name="connsiteY5" fmla="*/ 319945 h 2138245"/>
              <a:gd name="connsiteX6" fmla="*/ 5771482 w 6022972"/>
              <a:gd name="connsiteY6" fmla="*/ 1985780 h 2138245"/>
              <a:gd name="connsiteX7" fmla="*/ 5549610 w 6022972"/>
              <a:gd name="connsiteY7" fmla="*/ 1868512 h 2138245"/>
              <a:gd name="connsiteX8" fmla="*/ 5460980 w 6022972"/>
              <a:gd name="connsiteY8" fmla="*/ 2054540 h 2138245"/>
              <a:gd name="connsiteX9" fmla="*/ 3198718 w 6022972"/>
              <a:gd name="connsiteY9" fmla="*/ 1482768 h 2138245"/>
              <a:gd name="connsiteX10" fmla="*/ 1352987 w 6022972"/>
              <a:gd name="connsiteY10" fmla="*/ 1622631 h 2138245"/>
              <a:gd name="connsiteX11" fmla="*/ 542219 w 6022972"/>
              <a:gd name="connsiteY11" fmla="*/ 1850897 h 2138245"/>
              <a:gd name="connsiteX12" fmla="*/ 4693 w 6022972"/>
              <a:gd name="connsiteY12" fmla="*/ 2060367 h 2138245"/>
              <a:gd name="connsiteX0" fmla="*/ 4693 w 6022972"/>
              <a:gd name="connsiteY0" fmla="*/ 2062873 h 2140751"/>
              <a:gd name="connsiteX1" fmla="*/ 662809 w 6022972"/>
              <a:gd name="connsiteY1" fmla="*/ 1142953 h 2140751"/>
              <a:gd name="connsiteX2" fmla="*/ 1470003 w 6022972"/>
              <a:gd name="connsiteY2" fmla="*/ 547130 h 2140751"/>
              <a:gd name="connsiteX3" fmla="*/ 3026130 w 6022972"/>
              <a:gd name="connsiteY3" fmla="*/ 97085 h 2140751"/>
              <a:gd name="connsiteX4" fmla="*/ 4894713 w 6022972"/>
              <a:gd name="connsiteY4" fmla="*/ 6967 h 2140751"/>
              <a:gd name="connsiteX5" fmla="*/ 6022972 w 6022972"/>
              <a:gd name="connsiteY5" fmla="*/ 322451 h 2140751"/>
              <a:gd name="connsiteX6" fmla="*/ 5771482 w 6022972"/>
              <a:gd name="connsiteY6" fmla="*/ 1988286 h 2140751"/>
              <a:gd name="connsiteX7" fmla="*/ 5549610 w 6022972"/>
              <a:gd name="connsiteY7" fmla="*/ 1871018 h 2140751"/>
              <a:gd name="connsiteX8" fmla="*/ 5460980 w 6022972"/>
              <a:gd name="connsiteY8" fmla="*/ 2057046 h 2140751"/>
              <a:gd name="connsiteX9" fmla="*/ 3198718 w 6022972"/>
              <a:gd name="connsiteY9" fmla="*/ 1485274 h 2140751"/>
              <a:gd name="connsiteX10" fmla="*/ 1352987 w 6022972"/>
              <a:gd name="connsiteY10" fmla="*/ 1625137 h 2140751"/>
              <a:gd name="connsiteX11" fmla="*/ 542219 w 6022972"/>
              <a:gd name="connsiteY11" fmla="*/ 1853403 h 2140751"/>
              <a:gd name="connsiteX12" fmla="*/ 4693 w 6022972"/>
              <a:gd name="connsiteY12" fmla="*/ 2062873 h 2140751"/>
              <a:gd name="connsiteX0" fmla="*/ 4693 w 6022972"/>
              <a:gd name="connsiteY0" fmla="*/ 2055906 h 2133784"/>
              <a:gd name="connsiteX1" fmla="*/ 662809 w 6022972"/>
              <a:gd name="connsiteY1" fmla="*/ 1135986 h 2133784"/>
              <a:gd name="connsiteX2" fmla="*/ 1470003 w 6022972"/>
              <a:gd name="connsiteY2" fmla="*/ 540163 h 2133784"/>
              <a:gd name="connsiteX3" fmla="*/ 3026130 w 6022972"/>
              <a:gd name="connsiteY3" fmla="*/ 90118 h 2133784"/>
              <a:gd name="connsiteX4" fmla="*/ 4894713 w 6022972"/>
              <a:gd name="connsiteY4" fmla="*/ 0 h 2133784"/>
              <a:gd name="connsiteX5" fmla="*/ 6022972 w 6022972"/>
              <a:gd name="connsiteY5" fmla="*/ 315484 h 2133784"/>
              <a:gd name="connsiteX6" fmla="*/ 5771482 w 6022972"/>
              <a:gd name="connsiteY6" fmla="*/ 1981319 h 2133784"/>
              <a:gd name="connsiteX7" fmla="*/ 5549610 w 6022972"/>
              <a:gd name="connsiteY7" fmla="*/ 1864051 h 2133784"/>
              <a:gd name="connsiteX8" fmla="*/ 5460980 w 6022972"/>
              <a:gd name="connsiteY8" fmla="*/ 2050079 h 2133784"/>
              <a:gd name="connsiteX9" fmla="*/ 3198718 w 6022972"/>
              <a:gd name="connsiteY9" fmla="*/ 1478307 h 2133784"/>
              <a:gd name="connsiteX10" fmla="*/ 1352987 w 6022972"/>
              <a:gd name="connsiteY10" fmla="*/ 1618170 h 2133784"/>
              <a:gd name="connsiteX11" fmla="*/ 542219 w 6022972"/>
              <a:gd name="connsiteY11" fmla="*/ 1846436 h 2133784"/>
              <a:gd name="connsiteX12" fmla="*/ 4693 w 6022972"/>
              <a:gd name="connsiteY12" fmla="*/ 2055906 h 2133784"/>
              <a:gd name="connsiteX0" fmla="*/ 4693 w 6022972"/>
              <a:gd name="connsiteY0" fmla="*/ 2055906 h 2133784"/>
              <a:gd name="connsiteX1" fmla="*/ 662809 w 6022972"/>
              <a:gd name="connsiteY1" fmla="*/ 1135986 h 2133784"/>
              <a:gd name="connsiteX2" fmla="*/ 1470003 w 6022972"/>
              <a:gd name="connsiteY2" fmla="*/ 540163 h 2133784"/>
              <a:gd name="connsiteX3" fmla="*/ 3026130 w 6022972"/>
              <a:gd name="connsiteY3" fmla="*/ 90118 h 2133784"/>
              <a:gd name="connsiteX4" fmla="*/ 4894713 w 6022972"/>
              <a:gd name="connsiteY4" fmla="*/ 0 h 2133784"/>
              <a:gd name="connsiteX5" fmla="*/ 6022972 w 6022972"/>
              <a:gd name="connsiteY5" fmla="*/ 315484 h 2133784"/>
              <a:gd name="connsiteX6" fmla="*/ 5771482 w 6022972"/>
              <a:gd name="connsiteY6" fmla="*/ 1981319 h 2133784"/>
              <a:gd name="connsiteX7" fmla="*/ 5549610 w 6022972"/>
              <a:gd name="connsiteY7" fmla="*/ 1864051 h 2133784"/>
              <a:gd name="connsiteX8" fmla="*/ 5460980 w 6022972"/>
              <a:gd name="connsiteY8" fmla="*/ 2050079 h 2133784"/>
              <a:gd name="connsiteX9" fmla="*/ 3198718 w 6022972"/>
              <a:gd name="connsiteY9" fmla="*/ 1478307 h 2133784"/>
              <a:gd name="connsiteX10" fmla="*/ 1352987 w 6022972"/>
              <a:gd name="connsiteY10" fmla="*/ 1618170 h 2133784"/>
              <a:gd name="connsiteX11" fmla="*/ 542219 w 6022972"/>
              <a:gd name="connsiteY11" fmla="*/ 1846436 h 2133784"/>
              <a:gd name="connsiteX12" fmla="*/ 4693 w 6022972"/>
              <a:gd name="connsiteY12" fmla="*/ 2055906 h 2133784"/>
              <a:gd name="connsiteX0" fmla="*/ 4693 w 6022972"/>
              <a:gd name="connsiteY0" fmla="*/ 2058503 h 2136381"/>
              <a:gd name="connsiteX1" fmla="*/ 662809 w 6022972"/>
              <a:gd name="connsiteY1" fmla="*/ 1138583 h 2136381"/>
              <a:gd name="connsiteX2" fmla="*/ 1470003 w 6022972"/>
              <a:gd name="connsiteY2" fmla="*/ 542760 h 2136381"/>
              <a:gd name="connsiteX3" fmla="*/ 3026130 w 6022972"/>
              <a:gd name="connsiteY3" fmla="*/ 92715 h 2136381"/>
              <a:gd name="connsiteX4" fmla="*/ 4894713 w 6022972"/>
              <a:gd name="connsiteY4" fmla="*/ 2597 h 2136381"/>
              <a:gd name="connsiteX5" fmla="*/ 6022972 w 6022972"/>
              <a:gd name="connsiteY5" fmla="*/ 318081 h 2136381"/>
              <a:gd name="connsiteX6" fmla="*/ 5771482 w 6022972"/>
              <a:gd name="connsiteY6" fmla="*/ 1983916 h 2136381"/>
              <a:gd name="connsiteX7" fmla="*/ 5549610 w 6022972"/>
              <a:gd name="connsiteY7" fmla="*/ 1866648 h 2136381"/>
              <a:gd name="connsiteX8" fmla="*/ 5460980 w 6022972"/>
              <a:gd name="connsiteY8" fmla="*/ 2052676 h 2136381"/>
              <a:gd name="connsiteX9" fmla="*/ 3198718 w 6022972"/>
              <a:gd name="connsiteY9" fmla="*/ 1480904 h 2136381"/>
              <a:gd name="connsiteX10" fmla="*/ 1352987 w 6022972"/>
              <a:gd name="connsiteY10" fmla="*/ 1620767 h 2136381"/>
              <a:gd name="connsiteX11" fmla="*/ 542219 w 6022972"/>
              <a:gd name="connsiteY11" fmla="*/ 1849033 h 2136381"/>
              <a:gd name="connsiteX12" fmla="*/ 4693 w 6022972"/>
              <a:gd name="connsiteY12" fmla="*/ 2058503 h 2136381"/>
              <a:gd name="connsiteX0" fmla="*/ 4693 w 6022972"/>
              <a:gd name="connsiteY0" fmla="*/ 2055906 h 2133784"/>
              <a:gd name="connsiteX1" fmla="*/ 662809 w 6022972"/>
              <a:gd name="connsiteY1" fmla="*/ 1135986 h 2133784"/>
              <a:gd name="connsiteX2" fmla="*/ 1470003 w 6022972"/>
              <a:gd name="connsiteY2" fmla="*/ 540163 h 2133784"/>
              <a:gd name="connsiteX3" fmla="*/ 2356829 w 6022972"/>
              <a:gd name="connsiteY3" fmla="*/ 125568 h 2133784"/>
              <a:gd name="connsiteX4" fmla="*/ 3026130 w 6022972"/>
              <a:gd name="connsiteY4" fmla="*/ 90118 h 2133784"/>
              <a:gd name="connsiteX5" fmla="*/ 4894713 w 6022972"/>
              <a:gd name="connsiteY5" fmla="*/ 0 h 2133784"/>
              <a:gd name="connsiteX6" fmla="*/ 6022972 w 6022972"/>
              <a:gd name="connsiteY6" fmla="*/ 315484 h 2133784"/>
              <a:gd name="connsiteX7" fmla="*/ 5771482 w 6022972"/>
              <a:gd name="connsiteY7" fmla="*/ 1981319 h 2133784"/>
              <a:gd name="connsiteX8" fmla="*/ 5549610 w 6022972"/>
              <a:gd name="connsiteY8" fmla="*/ 1864051 h 2133784"/>
              <a:gd name="connsiteX9" fmla="*/ 5460980 w 6022972"/>
              <a:gd name="connsiteY9" fmla="*/ 2050079 h 2133784"/>
              <a:gd name="connsiteX10" fmla="*/ 3198718 w 6022972"/>
              <a:gd name="connsiteY10" fmla="*/ 1478307 h 2133784"/>
              <a:gd name="connsiteX11" fmla="*/ 1352987 w 6022972"/>
              <a:gd name="connsiteY11" fmla="*/ 1618170 h 2133784"/>
              <a:gd name="connsiteX12" fmla="*/ 542219 w 6022972"/>
              <a:gd name="connsiteY12" fmla="*/ 1846436 h 2133784"/>
              <a:gd name="connsiteX13" fmla="*/ 4693 w 6022972"/>
              <a:gd name="connsiteY13" fmla="*/ 2055906 h 2133784"/>
              <a:gd name="connsiteX0" fmla="*/ 4693 w 6022972"/>
              <a:gd name="connsiteY0" fmla="*/ 2055906 h 2133784"/>
              <a:gd name="connsiteX1" fmla="*/ 662809 w 6022972"/>
              <a:gd name="connsiteY1" fmla="*/ 1135986 h 2133784"/>
              <a:gd name="connsiteX2" fmla="*/ 1470003 w 6022972"/>
              <a:gd name="connsiteY2" fmla="*/ 540163 h 2133784"/>
              <a:gd name="connsiteX3" fmla="*/ 2369549 w 6022972"/>
              <a:gd name="connsiteY3" fmla="*/ 75925 h 2133784"/>
              <a:gd name="connsiteX4" fmla="*/ 3026130 w 6022972"/>
              <a:gd name="connsiteY4" fmla="*/ 90118 h 2133784"/>
              <a:gd name="connsiteX5" fmla="*/ 4894713 w 6022972"/>
              <a:gd name="connsiteY5" fmla="*/ 0 h 2133784"/>
              <a:gd name="connsiteX6" fmla="*/ 6022972 w 6022972"/>
              <a:gd name="connsiteY6" fmla="*/ 315484 h 2133784"/>
              <a:gd name="connsiteX7" fmla="*/ 5771482 w 6022972"/>
              <a:gd name="connsiteY7" fmla="*/ 1981319 h 2133784"/>
              <a:gd name="connsiteX8" fmla="*/ 5549610 w 6022972"/>
              <a:gd name="connsiteY8" fmla="*/ 1864051 h 2133784"/>
              <a:gd name="connsiteX9" fmla="*/ 5460980 w 6022972"/>
              <a:gd name="connsiteY9" fmla="*/ 2050079 h 2133784"/>
              <a:gd name="connsiteX10" fmla="*/ 3198718 w 6022972"/>
              <a:gd name="connsiteY10" fmla="*/ 1478307 h 2133784"/>
              <a:gd name="connsiteX11" fmla="*/ 1352987 w 6022972"/>
              <a:gd name="connsiteY11" fmla="*/ 1618170 h 2133784"/>
              <a:gd name="connsiteX12" fmla="*/ 542219 w 6022972"/>
              <a:gd name="connsiteY12" fmla="*/ 1846436 h 2133784"/>
              <a:gd name="connsiteX13" fmla="*/ 4693 w 6022972"/>
              <a:gd name="connsiteY13" fmla="*/ 2055906 h 2133784"/>
              <a:gd name="connsiteX0" fmla="*/ 4693 w 6022972"/>
              <a:gd name="connsiteY0" fmla="*/ 2055906 h 2133784"/>
              <a:gd name="connsiteX1" fmla="*/ 662809 w 6022972"/>
              <a:gd name="connsiteY1" fmla="*/ 1135986 h 2133784"/>
              <a:gd name="connsiteX2" fmla="*/ 1470003 w 6022972"/>
              <a:gd name="connsiteY2" fmla="*/ 540163 h 2133784"/>
              <a:gd name="connsiteX3" fmla="*/ 2369549 w 6022972"/>
              <a:gd name="connsiteY3" fmla="*/ 75925 h 2133784"/>
              <a:gd name="connsiteX4" fmla="*/ 3026130 w 6022972"/>
              <a:gd name="connsiteY4" fmla="*/ 90118 h 2133784"/>
              <a:gd name="connsiteX5" fmla="*/ 4894713 w 6022972"/>
              <a:gd name="connsiteY5" fmla="*/ 0 h 2133784"/>
              <a:gd name="connsiteX6" fmla="*/ 6022972 w 6022972"/>
              <a:gd name="connsiteY6" fmla="*/ 315484 h 2133784"/>
              <a:gd name="connsiteX7" fmla="*/ 5771482 w 6022972"/>
              <a:gd name="connsiteY7" fmla="*/ 1981319 h 2133784"/>
              <a:gd name="connsiteX8" fmla="*/ 5549610 w 6022972"/>
              <a:gd name="connsiteY8" fmla="*/ 1864051 h 2133784"/>
              <a:gd name="connsiteX9" fmla="*/ 5460980 w 6022972"/>
              <a:gd name="connsiteY9" fmla="*/ 2050079 h 2133784"/>
              <a:gd name="connsiteX10" fmla="*/ 3198718 w 6022972"/>
              <a:gd name="connsiteY10" fmla="*/ 1478307 h 2133784"/>
              <a:gd name="connsiteX11" fmla="*/ 1352987 w 6022972"/>
              <a:gd name="connsiteY11" fmla="*/ 1618170 h 2133784"/>
              <a:gd name="connsiteX12" fmla="*/ 542219 w 6022972"/>
              <a:gd name="connsiteY12" fmla="*/ 1846436 h 2133784"/>
              <a:gd name="connsiteX13" fmla="*/ 4693 w 6022972"/>
              <a:gd name="connsiteY13" fmla="*/ 2055906 h 2133784"/>
              <a:gd name="connsiteX0" fmla="*/ 4693 w 6022972"/>
              <a:gd name="connsiteY0" fmla="*/ 2086832 h 2164710"/>
              <a:gd name="connsiteX1" fmla="*/ 662809 w 6022972"/>
              <a:gd name="connsiteY1" fmla="*/ 1166912 h 2164710"/>
              <a:gd name="connsiteX2" fmla="*/ 1470003 w 6022972"/>
              <a:gd name="connsiteY2" fmla="*/ 571089 h 2164710"/>
              <a:gd name="connsiteX3" fmla="*/ 2369549 w 6022972"/>
              <a:gd name="connsiteY3" fmla="*/ 106851 h 2164710"/>
              <a:gd name="connsiteX4" fmla="*/ 3026130 w 6022972"/>
              <a:gd name="connsiteY4" fmla="*/ 121044 h 2164710"/>
              <a:gd name="connsiteX5" fmla="*/ 4894713 w 6022972"/>
              <a:gd name="connsiteY5" fmla="*/ 30926 h 2164710"/>
              <a:gd name="connsiteX6" fmla="*/ 6022972 w 6022972"/>
              <a:gd name="connsiteY6" fmla="*/ 346410 h 2164710"/>
              <a:gd name="connsiteX7" fmla="*/ 5771482 w 6022972"/>
              <a:gd name="connsiteY7" fmla="*/ 2012245 h 2164710"/>
              <a:gd name="connsiteX8" fmla="*/ 5549610 w 6022972"/>
              <a:gd name="connsiteY8" fmla="*/ 1894977 h 2164710"/>
              <a:gd name="connsiteX9" fmla="*/ 5460980 w 6022972"/>
              <a:gd name="connsiteY9" fmla="*/ 2081005 h 2164710"/>
              <a:gd name="connsiteX10" fmla="*/ 3198718 w 6022972"/>
              <a:gd name="connsiteY10" fmla="*/ 1509233 h 2164710"/>
              <a:gd name="connsiteX11" fmla="*/ 1352987 w 6022972"/>
              <a:gd name="connsiteY11" fmla="*/ 1649096 h 2164710"/>
              <a:gd name="connsiteX12" fmla="*/ 542219 w 6022972"/>
              <a:gd name="connsiteY12" fmla="*/ 1877362 h 2164710"/>
              <a:gd name="connsiteX13" fmla="*/ 4693 w 6022972"/>
              <a:gd name="connsiteY13" fmla="*/ 2086832 h 2164710"/>
              <a:gd name="connsiteX0" fmla="*/ 4693 w 6022972"/>
              <a:gd name="connsiteY0" fmla="*/ 2055906 h 2133784"/>
              <a:gd name="connsiteX1" fmla="*/ 662809 w 6022972"/>
              <a:gd name="connsiteY1" fmla="*/ 1135986 h 2133784"/>
              <a:gd name="connsiteX2" fmla="*/ 1470003 w 6022972"/>
              <a:gd name="connsiteY2" fmla="*/ 540163 h 2133784"/>
              <a:gd name="connsiteX3" fmla="*/ 2369549 w 6022972"/>
              <a:gd name="connsiteY3" fmla="*/ 75925 h 2133784"/>
              <a:gd name="connsiteX4" fmla="*/ 3064484 w 6022972"/>
              <a:gd name="connsiteY4" fmla="*/ 136064 h 2133784"/>
              <a:gd name="connsiteX5" fmla="*/ 4894713 w 6022972"/>
              <a:gd name="connsiteY5" fmla="*/ 0 h 2133784"/>
              <a:gd name="connsiteX6" fmla="*/ 6022972 w 6022972"/>
              <a:gd name="connsiteY6" fmla="*/ 315484 h 2133784"/>
              <a:gd name="connsiteX7" fmla="*/ 5771482 w 6022972"/>
              <a:gd name="connsiteY7" fmla="*/ 1981319 h 2133784"/>
              <a:gd name="connsiteX8" fmla="*/ 5549610 w 6022972"/>
              <a:gd name="connsiteY8" fmla="*/ 1864051 h 2133784"/>
              <a:gd name="connsiteX9" fmla="*/ 5460980 w 6022972"/>
              <a:gd name="connsiteY9" fmla="*/ 2050079 h 2133784"/>
              <a:gd name="connsiteX10" fmla="*/ 3198718 w 6022972"/>
              <a:gd name="connsiteY10" fmla="*/ 1478307 h 2133784"/>
              <a:gd name="connsiteX11" fmla="*/ 1352987 w 6022972"/>
              <a:gd name="connsiteY11" fmla="*/ 1618170 h 2133784"/>
              <a:gd name="connsiteX12" fmla="*/ 542219 w 6022972"/>
              <a:gd name="connsiteY12" fmla="*/ 1846436 h 2133784"/>
              <a:gd name="connsiteX13" fmla="*/ 4693 w 6022972"/>
              <a:gd name="connsiteY13" fmla="*/ 2055906 h 2133784"/>
              <a:gd name="connsiteX0" fmla="*/ 4693 w 6022972"/>
              <a:gd name="connsiteY0" fmla="*/ 2055906 h 2133784"/>
              <a:gd name="connsiteX1" fmla="*/ 662809 w 6022972"/>
              <a:gd name="connsiteY1" fmla="*/ 1135986 h 2133784"/>
              <a:gd name="connsiteX2" fmla="*/ 1470003 w 6022972"/>
              <a:gd name="connsiteY2" fmla="*/ 540163 h 2133784"/>
              <a:gd name="connsiteX3" fmla="*/ 2369549 w 6022972"/>
              <a:gd name="connsiteY3" fmla="*/ 75925 h 2133784"/>
              <a:gd name="connsiteX4" fmla="*/ 3064484 w 6022972"/>
              <a:gd name="connsiteY4" fmla="*/ 136064 h 2133784"/>
              <a:gd name="connsiteX5" fmla="*/ 4894713 w 6022972"/>
              <a:gd name="connsiteY5" fmla="*/ 0 h 2133784"/>
              <a:gd name="connsiteX6" fmla="*/ 6022972 w 6022972"/>
              <a:gd name="connsiteY6" fmla="*/ 315484 h 2133784"/>
              <a:gd name="connsiteX7" fmla="*/ 5771482 w 6022972"/>
              <a:gd name="connsiteY7" fmla="*/ 1981319 h 2133784"/>
              <a:gd name="connsiteX8" fmla="*/ 5549610 w 6022972"/>
              <a:gd name="connsiteY8" fmla="*/ 1864051 h 2133784"/>
              <a:gd name="connsiteX9" fmla="*/ 5460980 w 6022972"/>
              <a:gd name="connsiteY9" fmla="*/ 2050079 h 2133784"/>
              <a:gd name="connsiteX10" fmla="*/ 3198718 w 6022972"/>
              <a:gd name="connsiteY10" fmla="*/ 1478307 h 2133784"/>
              <a:gd name="connsiteX11" fmla="*/ 1352987 w 6022972"/>
              <a:gd name="connsiteY11" fmla="*/ 1618170 h 2133784"/>
              <a:gd name="connsiteX12" fmla="*/ 542219 w 6022972"/>
              <a:gd name="connsiteY12" fmla="*/ 1846436 h 2133784"/>
              <a:gd name="connsiteX13" fmla="*/ 4693 w 6022972"/>
              <a:gd name="connsiteY13" fmla="*/ 2055906 h 2133784"/>
              <a:gd name="connsiteX0" fmla="*/ 4693 w 6022972"/>
              <a:gd name="connsiteY0" fmla="*/ 2068816 h 2146694"/>
              <a:gd name="connsiteX1" fmla="*/ 662809 w 6022972"/>
              <a:gd name="connsiteY1" fmla="*/ 1148896 h 2146694"/>
              <a:gd name="connsiteX2" fmla="*/ 1470003 w 6022972"/>
              <a:gd name="connsiteY2" fmla="*/ 553073 h 2146694"/>
              <a:gd name="connsiteX3" fmla="*/ 2369549 w 6022972"/>
              <a:gd name="connsiteY3" fmla="*/ 88835 h 2146694"/>
              <a:gd name="connsiteX4" fmla="*/ 3064484 w 6022972"/>
              <a:gd name="connsiteY4" fmla="*/ 148974 h 2146694"/>
              <a:gd name="connsiteX5" fmla="*/ 4209493 w 6022972"/>
              <a:gd name="connsiteY5" fmla="*/ 69444 h 2146694"/>
              <a:gd name="connsiteX6" fmla="*/ 4894713 w 6022972"/>
              <a:gd name="connsiteY6" fmla="*/ 12910 h 2146694"/>
              <a:gd name="connsiteX7" fmla="*/ 6022972 w 6022972"/>
              <a:gd name="connsiteY7" fmla="*/ 328394 h 2146694"/>
              <a:gd name="connsiteX8" fmla="*/ 5771482 w 6022972"/>
              <a:gd name="connsiteY8" fmla="*/ 1994229 h 2146694"/>
              <a:gd name="connsiteX9" fmla="*/ 5549610 w 6022972"/>
              <a:gd name="connsiteY9" fmla="*/ 1876961 h 2146694"/>
              <a:gd name="connsiteX10" fmla="*/ 5460980 w 6022972"/>
              <a:gd name="connsiteY10" fmla="*/ 2062989 h 2146694"/>
              <a:gd name="connsiteX11" fmla="*/ 3198718 w 6022972"/>
              <a:gd name="connsiteY11" fmla="*/ 1491217 h 2146694"/>
              <a:gd name="connsiteX12" fmla="*/ 1352987 w 6022972"/>
              <a:gd name="connsiteY12" fmla="*/ 1631080 h 2146694"/>
              <a:gd name="connsiteX13" fmla="*/ 542219 w 6022972"/>
              <a:gd name="connsiteY13" fmla="*/ 1859346 h 2146694"/>
              <a:gd name="connsiteX14" fmla="*/ 4693 w 6022972"/>
              <a:gd name="connsiteY14" fmla="*/ 2068816 h 2146694"/>
              <a:gd name="connsiteX0" fmla="*/ 4693 w 6022972"/>
              <a:gd name="connsiteY0" fmla="*/ 2068816 h 2146694"/>
              <a:gd name="connsiteX1" fmla="*/ 662809 w 6022972"/>
              <a:gd name="connsiteY1" fmla="*/ 1148896 h 2146694"/>
              <a:gd name="connsiteX2" fmla="*/ 1470003 w 6022972"/>
              <a:gd name="connsiteY2" fmla="*/ 553073 h 2146694"/>
              <a:gd name="connsiteX3" fmla="*/ 2369549 w 6022972"/>
              <a:gd name="connsiteY3" fmla="*/ 88835 h 2146694"/>
              <a:gd name="connsiteX4" fmla="*/ 3064484 w 6022972"/>
              <a:gd name="connsiteY4" fmla="*/ 148974 h 2146694"/>
              <a:gd name="connsiteX5" fmla="*/ 4209493 w 6022972"/>
              <a:gd name="connsiteY5" fmla="*/ 69444 h 2146694"/>
              <a:gd name="connsiteX6" fmla="*/ 4894713 w 6022972"/>
              <a:gd name="connsiteY6" fmla="*/ 12910 h 2146694"/>
              <a:gd name="connsiteX7" fmla="*/ 6022972 w 6022972"/>
              <a:gd name="connsiteY7" fmla="*/ 328394 h 2146694"/>
              <a:gd name="connsiteX8" fmla="*/ 5771482 w 6022972"/>
              <a:gd name="connsiteY8" fmla="*/ 1994229 h 2146694"/>
              <a:gd name="connsiteX9" fmla="*/ 5549610 w 6022972"/>
              <a:gd name="connsiteY9" fmla="*/ 1876961 h 2146694"/>
              <a:gd name="connsiteX10" fmla="*/ 5460980 w 6022972"/>
              <a:gd name="connsiteY10" fmla="*/ 2062989 h 2146694"/>
              <a:gd name="connsiteX11" fmla="*/ 3198718 w 6022972"/>
              <a:gd name="connsiteY11" fmla="*/ 1491217 h 2146694"/>
              <a:gd name="connsiteX12" fmla="*/ 1352987 w 6022972"/>
              <a:gd name="connsiteY12" fmla="*/ 1631080 h 2146694"/>
              <a:gd name="connsiteX13" fmla="*/ 542219 w 6022972"/>
              <a:gd name="connsiteY13" fmla="*/ 1859346 h 2146694"/>
              <a:gd name="connsiteX14" fmla="*/ 4693 w 6022972"/>
              <a:gd name="connsiteY14" fmla="*/ 2068816 h 2146694"/>
              <a:gd name="connsiteX0" fmla="*/ 4693 w 6022972"/>
              <a:gd name="connsiteY0" fmla="*/ 2063287 h 2141165"/>
              <a:gd name="connsiteX1" fmla="*/ 662809 w 6022972"/>
              <a:gd name="connsiteY1" fmla="*/ 1143367 h 2141165"/>
              <a:gd name="connsiteX2" fmla="*/ 1470003 w 6022972"/>
              <a:gd name="connsiteY2" fmla="*/ 547544 h 2141165"/>
              <a:gd name="connsiteX3" fmla="*/ 2369549 w 6022972"/>
              <a:gd name="connsiteY3" fmla="*/ 83306 h 2141165"/>
              <a:gd name="connsiteX4" fmla="*/ 3064484 w 6022972"/>
              <a:gd name="connsiteY4" fmla="*/ 143445 h 2141165"/>
              <a:gd name="connsiteX5" fmla="*/ 4199258 w 6022972"/>
              <a:gd name="connsiteY5" fmla="*/ 146122 h 2141165"/>
              <a:gd name="connsiteX6" fmla="*/ 4894713 w 6022972"/>
              <a:gd name="connsiteY6" fmla="*/ 7381 h 2141165"/>
              <a:gd name="connsiteX7" fmla="*/ 6022972 w 6022972"/>
              <a:gd name="connsiteY7" fmla="*/ 322865 h 2141165"/>
              <a:gd name="connsiteX8" fmla="*/ 5771482 w 6022972"/>
              <a:gd name="connsiteY8" fmla="*/ 1988700 h 2141165"/>
              <a:gd name="connsiteX9" fmla="*/ 5549610 w 6022972"/>
              <a:gd name="connsiteY9" fmla="*/ 1871432 h 2141165"/>
              <a:gd name="connsiteX10" fmla="*/ 5460980 w 6022972"/>
              <a:gd name="connsiteY10" fmla="*/ 2057460 h 2141165"/>
              <a:gd name="connsiteX11" fmla="*/ 3198718 w 6022972"/>
              <a:gd name="connsiteY11" fmla="*/ 1485688 h 2141165"/>
              <a:gd name="connsiteX12" fmla="*/ 1352987 w 6022972"/>
              <a:gd name="connsiteY12" fmla="*/ 1625551 h 2141165"/>
              <a:gd name="connsiteX13" fmla="*/ 542219 w 6022972"/>
              <a:gd name="connsiteY13" fmla="*/ 1853817 h 2141165"/>
              <a:gd name="connsiteX14" fmla="*/ 4693 w 6022972"/>
              <a:gd name="connsiteY14" fmla="*/ 2063287 h 2141165"/>
              <a:gd name="connsiteX0" fmla="*/ 4693 w 6022972"/>
              <a:gd name="connsiteY0" fmla="*/ 2063287 h 2141165"/>
              <a:gd name="connsiteX1" fmla="*/ 662809 w 6022972"/>
              <a:gd name="connsiteY1" fmla="*/ 1143367 h 2141165"/>
              <a:gd name="connsiteX2" fmla="*/ 1470003 w 6022972"/>
              <a:gd name="connsiteY2" fmla="*/ 547544 h 2141165"/>
              <a:gd name="connsiteX3" fmla="*/ 2369549 w 6022972"/>
              <a:gd name="connsiteY3" fmla="*/ 83306 h 2141165"/>
              <a:gd name="connsiteX4" fmla="*/ 3064484 w 6022972"/>
              <a:gd name="connsiteY4" fmla="*/ 143445 h 2141165"/>
              <a:gd name="connsiteX5" fmla="*/ 4199258 w 6022972"/>
              <a:gd name="connsiteY5" fmla="*/ 146122 h 2141165"/>
              <a:gd name="connsiteX6" fmla="*/ 4894713 w 6022972"/>
              <a:gd name="connsiteY6" fmla="*/ 7381 h 2141165"/>
              <a:gd name="connsiteX7" fmla="*/ 6022972 w 6022972"/>
              <a:gd name="connsiteY7" fmla="*/ 322865 h 2141165"/>
              <a:gd name="connsiteX8" fmla="*/ 5771482 w 6022972"/>
              <a:gd name="connsiteY8" fmla="*/ 1988700 h 2141165"/>
              <a:gd name="connsiteX9" fmla="*/ 5549610 w 6022972"/>
              <a:gd name="connsiteY9" fmla="*/ 1871432 h 2141165"/>
              <a:gd name="connsiteX10" fmla="*/ 5460980 w 6022972"/>
              <a:gd name="connsiteY10" fmla="*/ 2057460 h 2141165"/>
              <a:gd name="connsiteX11" fmla="*/ 3198718 w 6022972"/>
              <a:gd name="connsiteY11" fmla="*/ 1485688 h 2141165"/>
              <a:gd name="connsiteX12" fmla="*/ 1352987 w 6022972"/>
              <a:gd name="connsiteY12" fmla="*/ 1625551 h 2141165"/>
              <a:gd name="connsiteX13" fmla="*/ 542219 w 6022972"/>
              <a:gd name="connsiteY13" fmla="*/ 1853817 h 2141165"/>
              <a:gd name="connsiteX14" fmla="*/ 4693 w 6022972"/>
              <a:gd name="connsiteY14" fmla="*/ 2063287 h 2141165"/>
              <a:gd name="connsiteX0" fmla="*/ 4693 w 6022972"/>
              <a:gd name="connsiteY0" fmla="*/ 2059063 h 2136941"/>
              <a:gd name="connsiteX1" fmla="*/ 662809 w 6022972"/>
              <a:gd name="connsiteY1" fmla="*/ 1139143 h 2136941"/>
              <a:gd name="connsiteX2" fmla="*/ 1470003 w 6022972"/>
              <a:gd name="connsiteY2" fmla="*/ 543320 h 2136941"/>
              <a:gd name="connsiteX3" fmla="*/ 2369549 w 6022972"/>
              <a:gd name="connsiteY3" fmla="*/ 79082 h 2136941"/>
              <a:gd name="connsiteX4" fmla="*/ 3064484 w 6022972"/>
              <a:gd name="connsiteY4" fmla="*/ 139221 h 2136941"/>
              <a:gd name="connsiteX5" fmla="*/ 4199258 w 6022972"/>
              <a:gd name="connsiteY5" fmla="*/ 141898 h 2136941"/>
              <a:gd name="connsiteX6" fmla="*/ 4894713 w 6022972"/>
              <a:gd name="connsiteY6" fmla="*/ 3157 h 2136941"/>
              <a:gd name="connsiteX7" fmla="*/ 6022972 w 6022972"/>
              <a:gd name="connsiteY7" fmla="*/ 318641 h 2136941"/>
              <a:gd name="connsiteX8" fmla="*/ 5771482 w 6022972"/>
              <a:gd name="connsiteY8" fmla="*/ 1984476 h 2136941"/>
              <a:gd name="connsiteX9" fmla="*/ 5549610 w 6022972"/>
              <a:gd name="connsiteY9" fmla="*/ 1867208 h 2136941"/>
              <a:gd name="connsiteX10" fmla="*/ 5460980 w 6022972"/>
              <a:gd name="connsiteY10" fmla="*/ 2053236 h 2136941"/>
              <a:gd name="connsiteX11" fmla="*/ 3198718 w 6022972"/>
              <a:gd name="connsiteY11" fmla="*/ 1481464 h 2136941"/>
              <a:gd name="connsiteX12" fmla="*/ 1352987 w 6022972"/>
              <a:gd name="connsiteY12" fmla="*/ 1621327 h 2136941"/>
              <a:gd name="connsiteX13" fmla="*/ 542219 w 6022972"/>
              <a:gd name="connsiteY13" fmla="*/ 1849593 h 2136941"/>
              <a:gd name="connsiteX14" fmla="*/ 4693 w 6022972"/>
              <a:gd name="connsiteY14" fmla="*/ 2059063 h 2136941"/>
              <a:gd name="connsiteX0" fmla="*/ 4693 w 6022972"/>
              <a:gd name="connsiteY0" fmla="*/ 2059382 h 2137260"/>
              <a:gd name="connsiteX1" fmla="*/ 662809 w 6022972"/>
              <a:gd name="connsiteY1" fmla="*/ 1139462 h 2137260"/>
              <a:gd name="connsiteX2" fmla="*/ 1470003 w 6022972"/>
              <a:gd name="connsiteY2" fmla="*/ 543639 h 2137260"/>
              <a:gd name="connsiteX3" fmla="*/ 2369549 w 6022972"/>
              <a:gd name="connsiteY3" fmla="*/ 79401 h 2137260"/>
              <a:gd name="connsiteX4" fmla="*/ 3064484 w 6022972"/>
              <a:gd name="connsiteY4" fmla="*/ 139540 h 2137260"/>
              <a:gd name="connsiteX5" fmla="*/ 4207186 w 6022972"/>
              <a:gd name="connsiteY5" fmla="*/ 101884 h 2137260"/>
              <a:gd name="connsiteX6" fmla="*/ 4894713 w 6022972"/>
              <a:gd name="connsiteY6" fmla="*/ 3476 h 2137260"/>
              <a:gd name="connsiteX7" fmla="*/ 6022972 w 6022972"/>
              <a:gd name="connsiteY7" fmla="*/ 318960 h 2137260"/>
              <a:gd name="connsiteX8" fmla="*/ 5771482 w 6022972"/>
              <a:gd name="connsiteY8" fmla="*/ 1984795 h 2137260"/>
              <a:gd name="connsiteX9" fmla="*/ 5549610 w 6022972"/>
              <a:gd name="connsiteY9" fmla="*/ 1867527 h 2137260"/>
              <a:gd name="connsiteX10" fmla="*/ 5460980 w 6022972"/>
              <a:gd name="connsiteY10" fmla="*/ 2053555 h 2137260"/>
              <a:gd name="connsiteX11" fmla="*/ 3198718 w 6022972"/>
              <a:gd name="connsiteY11" fmla="*/ 1481783 h 2137260"/>
              <a:gd name="connsiteX12" fmla="*/ 1352987 w 6022972"/>
              <a:gd name="connsiteY12" fmla="*/ 1621646 h 2137260"/>
              <a:gd name="connsiteX13" fmla="*/ 542219 w 6022972"/>
              <a:gd name="connsiteY13" fmla="*/ 1849912 h 2137260"/>
              <a:gd name="connsiteX14" fmla="*/ 4693 w 6022972"/>
              <a:gd name="connsiteY14" fmla="*/ 2059382 h 2137260"/>
              <a:gd name="connsiteX0" fmla="*/ 4693 w 6022972"/>
              <a:gd name="connsiteY0" fmla="*/ 2055907 h 2133785"/>
              <a:gd name="connsiteX1" fmla="*/ 662809 w 6022972"/>
              <a:gd name="connsiteY1" fmla="*/ 1135987 h 2133785"/>
              <a:gd name="connsiteX2" fmla="*/ 1470003 w 6022972"/>
              <a:gd name="connsiteY2" fmla="*/ 540164 h 2133785"/>
              <a:gd name="connsiteX3" fmla="*/ 2369549 w 6022972"/>
              <a:gd name="connsiteY3" fmla="*/ 75926 h 2133785"/>
              <a:gd name="connsiteX4" fmla="*/ 3064484 w 6022972"/>
              <a:gd name="connsiteY4" fmla="*/ 136065 h 2133785"/>
              <a:gd name="connsiteX5" fmla="*/ 4207186 w 6022972"/>
              <a:gd name="connsiteY5" fmla="*/ 98409 h 2133785"/>
              <a:gd name="connsiteX6" fmla="*/ 4894713 w 6022972"/>
              <a:gd name="connsiteY6" fmla="*/ 1 h 2133785"/>
              <a:gd name="connsiteX7" fmla="*/ 6022972 w 6022972"/>
              <a:gd name="connsiteY7" fmla="*/ 315485 h 2133785"/>
              <a:gd name="connsiteX8" fmla="*/ 5771482 w 6022972"/>
              <a:gd name="connsiteY8" fmla="*/ 1981320 h 2133785"/>
              <a:gd name="connsiteX9" fmla="*/ 5549610 w 6022972"/>
              <a:gd name="connsiteY9" fmla="*/ 1864052 h 2133785"/>
              <a:gd name="connsiteX10" fmla="*/ 5460980 w 6022972"/>
              <a:gd name="connsiteY10" fmla="*/ 2050080 h 2133785"/>
              <a:gd name="connsiteX11" fmla="*/ 3198718 w 6022972"/>
              <a:gd name="connsiteY11" fmla="*/ 1478308 h 2133785"/>
              <a:gd name="connsiteX12" fmla="*/ 1352987 w 6022972"/>
              <a:gd name="connsiteY12" fmla="*/ 1618171 h 2133785"/>
              <a:gd name="connsiteX13" fmla="*/ 542219 w 6022972"/>
              <a:gd name="connsiteY13" fmla="*/ 1846437 h 2133785"/>
              <a:gd name="connsiteX14" fmla="*/ 4693 w 6022972"/>
              <a:gd name="connsiteY14" fmla="*/ 2055907 h 2133785"/>
              <a:gd name="connsiteX0" fmla="*/ 4693 w 6022972"/>
              <a:gd name="connsiteY0" fmla="*/ 2055119 h 2132997"/>
              <a:gd name="connsiteX1" fmla="*/ 662809 w 6022972"/>
              <a:gd name="connsiteY1" fmla="*/ 1135199 h 2132997"/>
              <a:gd name="connsiteX2" fmla="*/ 1470003 w 6022972"/>
              <a:gd name="connsiteY2" fmla="*/ 539376 h 2132997"/>
              <a:gd name="connsiteX3" fmla="*/ 2369549 w 6022972"/>
              <a:gd name="connsiteY3" fmla="*/ 75138 h 2132997"/>
              <a:gd name="connsiteX4" fmla="*/ 3064484 w 6022972"/>
              <a:gd name="connsiteY4" fmla="*/ 135277 h 2132997"/>
              <a:gd name="connsiteX5" fmla="*/ 4207186 w 6022972"/>
              <a:gd name="connsiteY5" fmla="*/ 97621 h 2132997"/>
              <a:gd name="connsiteX6" fmla="*/ 4997192 w 6022972"/>
              <a:gd name="connsiteY6" fmla="*/ 20247 h 2132997"/>
              <a:gd name="connsiteX7" fmla="*/ 6022972 w 6022972"/>
              <a:gd name="connsiteY7" fmla="*/ 314697 h 2132997"/>
              <a:gd name="connsiteX8" fmla="*/ 5771482 w 6022972"/>
              <a:gd name="connsiteY8" fmla="*/ 1980532 h 2132997"/>
              <a:gd name="connsiteX9" fmla="*/ 5549610 w 6022972"/>
              <a:gd name="connsiteY9" fmla="*/ 1863264 h 2132997"/>
              <a:gd name="connsiteX10" fmla="*/ 5460980 w 6022972"/>
              <a:gd name="connsiteY10" fmla="*/ 2049292 h 2132997"/>
              <a:gd name="connsiteX11" fmla="*/ 3198718 w 6022972"/>
              <a:gd name="connsiteY11" fmla="*/ 1477520 h 2132997"/>
              <a:gd name="connsiteX12" fmla="*/ 1352987 w 6022972"/>
              <a:gd name="connsiteY12" fmla="*/ 1617383 h 2132997"/>
              <a:gd name="connsiteX13" fmla="*/ 542219 w 6022972"/>
              <a:gd name="connsiteY13" fmla="*/ 1845649 h 2132997"/>
              <a:gd name="connsiteX14" fmla="*/ 4693 w 6022972"/>
              <a:gd name="connsiteY14" fmla="*/ 2055119 h 2132997"/>
              <a:gd name="connsiteX0" fmla="*/ 4693 w 6022972"/>
              <a:gd name="connsiteY0" fmla="*/ 2055119 h 2132997"/>
              <a:gd name="connsiteX1" fmla="*/ 662809 w 6022972"/>
              <a:gd name="connsiteY1" fmla="*/ 1135199 h 2132997"/>
              <a:gd name="connsiteX2" fmla="*/ 1470003 w 6022972"/>
              <a:gd name="connsiteY2" fmla="*/ 539376 h 2132997"/>
              <a:gd name="connsiteX3" fmla="*/ 2369549 w 6022972"/>
              <a:gd name="connsiteY3" fmla="*/ 75138 h 2132997"/>
              <a:gd name="connsiteX4" fmla="*/ 3064484 w 6022972"/>
              <a:gd name="connsiteY4" fmla="*/ 135277 h 2132997"/>
              <a:gd name="connsiteX5" fmla="*/ 4207186 w 6022972"/>
              <a:gd name="connsiteY5" fmla="*/ 97621 h 2132997"/>
              <a:gd name="connsiteX6" fmla="*/ 4997192 w 6022972"/>
              <a:gd name="connsiteY6" fmla="*/ 20247 h 2132997"/>
              <a:gd name="connsiteX7" fmla="*/ 6022972 w 6022972"/>
              <a:gd name="connsiteY7" fmla="*/ 314697 h 2132997"/>
              <a:gd name="connsiteX8" fmla="*/ 5771482 w 6022972"/>
              <a:gd name="connsiteY8" fmla="*/ 1980532 h 2132997"/>
              <a:gd name="connsiteX9" fmla="*/ 5549610 w 6022972"/>
              <a:gd name="connsiteY9" fmla="*/ 1863264 h 2132997"/>
              <a:gd name="connsiteX10" fmla="*/ 5460980 w 6022972"/>
              <a:gd name="connsiteY10" fmla="*/ 2049292 h 2132997"/>
              <a:gd name="connsiteX11" fmla="*/ 3198718 w 6022972"/>
              <a:gd name="connsiteY11" fmla="*/ 1477520 h 2132997"/>
              <a:gd name="connsiteX12" fmla="*/ 1352987 w 6022972"/>
              <a:gd name="connsiteY12" fmla="*/ 1617383 h 2132997"/>
              <a:gd name="connsiteX13" fmla="*/ 542219 w 6022972"/>
              <a:gd name="connsiteY13" fmla="*/ 1845649 h 2132997"/>
              <a:gd name="connsiteX14" fmla="*/ 4693 w 6022972"/>
              <a:gd name="connsiteY14" fmla="*/ 2055119 h 2132997"/>
              <a:gd name="connsiteX0" fmla="*/ 4693 w 6022972"/>
              <a:gd name="connsiteY0" fmla="*/ 2055119 h 2132997"/>
              <a:gd name="connsiteX1" fmla="*/ 662809 w 6022972"/>
              <a:gd name="connsiteY1" fmla="*/ 1135199 h 2132997"/>
              <a:gd name="connsiteX2" fmla="*/ 1470003 w 6022972"/>
              <a:gd name="connsiteY2" fmla="*/ 539376 h 2132997"/>
              <a:gd name="connsiteX3" fmla="*/ 2369549 w 6022972"/>
              <a:gd name="connsiteY3" fmla="*/ 75138 h 2132997"/>
              <a:gd name="connsiteX4" fmla="*/ 3064484 w 6022972"/>
              <a:gd name="connsiteY4" fmla="*/ 135277 h 2132997"/>
              <a:gd name="connsiteX5" fmla="*/ 4207186 w 6022972"/>
              <a:gd name="connsiteY5" fmla="*/ 97621 h 2132997"/>
              <a:gd name="connsiteX6" fmla="*/ 4997192 w 6022972"/>
              <a:gd name="connsiteY6" fmla="*/ 20247 h 2132997"/>
              <a:gd name="connsiteX7" fmla="*/ 5531459 w 6022972"/>
              <a:gd name="connsiteY7" fmla="*/ 170524 h 2132997"/>
              <a:gd name="connsiteX8" fmla="*/ 6022972 w 6022972"/>
              <a:gd name="connsiteY8" fmla="*/ 314697 h 2132997"/>
              <a:gd name="connsiteX9" fmla="*/ 5771482 w 6022972"/>
              <a:gd name="connsiteY9" fmla="*/ 1980532 h 2132997"/>
              <a:gd name="connsiteX10" fmla="*/ 5549610 w 6022972"/>
              <a:gd name="connsiteY10" fmla="*/ 1863264 h 2132997"/>
              <a:gd name="connsiteX11" fmla="*/ 5460980 w 6022972"/>
              <a:gd name="connsiteY11" fmla="*/ 2049292 h 2132997"/>
              <a:gd name="connsiteX12" fmla="*/ 3198718 w 6022972"/>
              <a:gd name="connsiteY12" fmla="*/ 1477520 h 2132997"/>
              <a:gd name="connsiteX13" fmla="*/ 1352987 w 6022972"/>
              <a:gd name="connsiteY13" fmla="*/ 1617383 h 2132997"/>
              <a:gd name="connsiteX14" fmla="*/ 542219 w 6022972"/>
              <a:gd name="connsiteY14" fmla="*/ 1845649 h 2132997"/>
              <a:gd name="connsiteX15" fmla="*/ 4693 w 6022972"/>
              <a:gd name="connsiteY15" fmla="*/ 2055119 h 2132997"/>
              <a:gd name="connsiteX0" fmla="*/ 4693 w 6022972"/>
              <a:gd name="connsiteY0" fmla="*/ 2055119 h 2132997"/>
              <a:gd name="connsiteX1" fmla="*/ 662809 w 6022972"/>
              <a:gd name="connsiteY1" fmla="*/ 1135199 h 2132997"/>
              <a:gd name="connsiteX2" fmla="*/ 1470003 w 6022972"/>
              <a:gd name="connsiteY2" fmla="*/ 539376 h 2132997"/>
              <a:gd name="connsiteX3" fmla="*/ 2369549 w 6022972"/>
              <a:gd name="connsiteY3" fmla="*/ 75138 h 2132997"/>
              <a:gd name="connsiteX4" fmla="*/ 3064484 w 6022972"/>
              <a:gd name="connsiteY4" fmla="*/ 135277 h 2132997"/>
              <a:gd name="connsiteX5" fmla="*/ 4207186 w 6022972"/>
              <a:gd name="connsiteY5" fmla="*/ 97621 h 2132997"/>
              <a:gd name="connsiteX6" fmla="*/ 4997192 w 6022972"/>
              <a:gd name="connsiteY6" fmla="*/ 20247 h 2132997"/>
              <a:gd name="connsiteX7" fmla="*/ 5531459 w 6022972"/>
              <a:gd name="connsiteY7" fmla="*/ 170524 h 2132997"/>
              <a:gd name="connsiteX8" fmla="*/ 6022972 w 6022972"/>
              <a:gd name="connsiteY8" fmla="*/ 314697 h 2132997"/>
              <a:gd name="connsiteX9" fmla="*/ 5771482 w 6022972"/>
              <a:gd name="connsiteY9" fmla="*/ 1980532 h 2132997"/>
              <a:gd name="connsiteX10" fmla="*/ 5549610 w 6022972"/>
              <a:gd name="connsiteY10" fmla="*/ 1863264 h 2132997"/>
              <a:gd name="connsiteX11" fmla="*/ 5460980 w 6022972"/>
              <a:gd name="connsiteY11" fmla="*/ 2049292 h 2132997"/>
              <a:gd name="connsiteX12" fmla="*/ 3198718 w 6022972"/>
              <a:gd name="connsiteY12" fmla="*/ 1477520 h 2132997"/>
              <a:gd name="connsiteX13" fmla="*/ 1352987 w 6022972"/>
              <a:gd name="connsiteY13" fmla="*/ 1617383 h 2132997"/>
              <a:gd name="connsiteX14" fmla="*/ 542219 w 6022972"/>
              <a:gd name="connsiteY14" fmla="*/ 1845649 h 2132997"/>
              <a:gd name="connsiteX15" fmla="*/ 4693 w 6022972"/>
              <a:gd name="connsiteY15" fmla="*/ 2055119 h 2132997"/>
              <a:gd name="connsiteX0" fmla="*/ 4693 w 6018693"/>
              <a:gd name="connsiteY0" fmla="*/ 2055119 h 2132997"/>
              <a:gd name="connsiteX1" fmla="*/ 662809 w 6018693"/>
              <a:gd name="connsiteY1" fmla="*/ 1135199 h 2132997"/>
              <a:gd name="connsiteX2" fmla="*/ 1470003 w 6018693"/>
              <a:gd name="connsiteY2" fmla="*/ 539376 h 2132997"/>
              <a:gd name="connsiteX3" fmla="*/ 2369549 w 6018693"/>
              <a:gd name="connsiteY3" fmla="*/ 75138 h 2132997"/>
              <a:gd name="connsiteX4" fmla="*/ 3064484 w 6018693"/>
              <a:gd name="connsiteY4" fmla="*/ 135277 h 2132997"/>
              <a:gd name="connsiteX5" fmla="*/ 4207186 w 6018693"/>
              <a:gd name="connsiteY5" fmla="*/ 97621 h 2132997"/>
              <a:gd name="connsiteX6" fmla="*/ 4997192 w 6018693"/>
              <a:gd name="connsiteY6" fmla="*/ 20247 h 2132997"/>
              <a:gd name="connsiteX7" fmla="*/ 5531459 w 6018693"/>
              <a:gd name="connsiteY7" fmla="*/ 170524 h 2132997"/>
              <a:gd name="connsiteX8" fmla="*/ 6018693 w 6018693"/>
              <a:gd name="connsiteY8" fmla="*/ 426876 h 2132997"/>
              <a:gd name="connsiteX9" fmla="*/ 5771482 w 6018693"/>
              <a:gd name="connsiteY9" fmla="*/ 1980532 h 2132997"/>
              <a:gd name="connsiteX10" fmla="*/ 5549610 w 6018693"/>
              <a:gd name="connsiteY10" fmla="*/ 1863264 h 2132997"/>
              <a:gd name="connsiteX11" fmla="*/ 5460980 w 6018693"/>
              <a:gd name="connsiteY11" fmla="*/ 2049292 h 2132997"/>
              <a:gd name="connsiteX12" fmla="*/ 3198718 w 6018693"/>
              <a:gd name="connsiteY12" fmla="*/ 1477520 h 2132997"/>
              <a:gd name="connsiteX13" fmla="*/ 1352987 w 6018693"/>
              <a:gd name="connsiteY13" fmla="*/ 1617383 h 2132997"/>
              <a:gd name="connsiteX14" fmla="*/ 542219 w 6018693"/>
              <a:gd name="connsiteY14" fmla="*/ 1845649 h 2132997"/>
              <a:gd name="connsiteX15" fmla="*/ 4693 w 6018693"/>
              <a:gd name="connsiteY15" fmla="*/ 2055119 h 2132997"/>
              <a:gd name="connsiteX0" fmla="*/ 4693 w 6018693"/>
              <a:gd name="connsiteY0" fmla="*/ 2055119 h 2132997"/>
              <a:gd name="connsiteX1" fmla="*/ 662809 w 6018693"/>
              <a:gd name="connsiteY1" fmla="*/ 1135199 h 2132997"/>
              <a:gd name="connsiteX2" fmla="*/ 1470003 w 6018693"/>
              <a:gd name="connsiteY2" fmla="*/ 539376 h 2132997"/>
              <a:gd name="connsiteX3" fmla="*/ 2369549 w 6018693"/>
              <a:gd name="connsiteY3" fmla="*/ 75138 h 2132997"/>
              <a:gd name="connsiteX4" fmla="*/ 3064484 w 6018693"/>
              <a:gd name="connsiteY4" fmla="*/ 135277 h 2132997"/>
              <a:gd name="connsiteX5" fmla="*/ 4207186 w 6018693"/>
              <a:gd name="connsiteY5" fmla="*/ 97621 h 2132997"/>
              <a:gd name="connsiteX6" fmla="*/ 4997192 w 6018693"/>
              <a:gd name="connsiteY6" fmla="*/ 20247 h 2132997"/>
              <a:gd name="connsiteX7" fmla="*/ 5531459 w 6018693"/>
              <a:gd name="connsiteY7" fmla="*/ 170524 h 2132997"/>
              <a:gd name="connsiteX8" fmla="*/ 6018693 w 6018693"/>
              <a:gd name="connsiteY8" fmla="*/ 426876 h 2132997"/>
              <a:gd name="connsiteX9" fmla="*/ 5771482 w 6018693"/>
              <a:gd name="connsiteY9" fmla="*/ 1980532 h 2132997"/>
              <a:gd name="connsiteX10" fmla="*/ 5549610 w 6018693"/>
              <a:gd name="connsiteY10" fmla="*/ 1863264 h 2132997"/>
              <a:gd name="connsiteX11" fmla="*/ 5460980 w 6018693"/>
              <a:gd name="connsiteY11" fmla="*/ 2049292 h 2132997"/>
              <a:gd name="connsiteX12" fmla="*/ 3198718 w 6018693"/>
              <a:gd name="connsiteY12" fmla="*/ 1477520 h 2132997"/>
              <a:gd name="connsiteX13" fmla="*/ 1352987 w 6018693"/>
              <a:gd name="connsiteY13" fmla="*/ 1617383 h 2132997"/>
              <a:gd name="connsiteX14" fmla="*/ 542219 w 6018693"/>
              <a:gd name="connsiteY14" fmla="*/ 1845649 h 2132997"/>
              <a:gd name="connsiteX15" fmla="*/ 4693 w 6018693"/>
              <a:gd name="connsiteY15" fmla="*/ 2055119 h 2132997"/>
              <a:gd name="connsiteX0" fmla="*/ 4693 w 6018693"/>
              <a:gd name="connsiteY0" fmla="*/ 2055119 h 2132997"/>
              <a:gd name="connsiteX1" fmla="*/ 662809 w 6018693"/>
              <a:gd name="connsiteY1" fmla="*/ 1135199 h 2132997"/>
              <a:gd name="connsiteX2" fmla="*/ 1470003 w 6018693"/>
              <a:gd name="connsiteY2" fmla="*/ 539376 h 2132997"/>
              <a:gd name="connsiteX3" fmla="*/ 2369549 w 6018693"/>
              <a:gd name="connsiteY3" fmla="*/ 75138 h 2132997"/>
              <a:gd name="connsiteX4" fmla="*/ 3064484 w 6018693"/>
              <a:gd name="connsiteY4" fmla="*/ 135277 h 2132997"/>
              <a:gd name="connsiteX5" fmla="*/ 4207186 w 6018693"/>
              <a:gd name="connsiteY5" fmla="*/ 97621 h 2132997"/>
              <a:gd name="connsiteX6" fmla="*/ 4997192 w 6018693"/>
              <a:gd name="connsiteY6" fmla="*/ 20247 h 2132997"/>
              <a:gd name="connsiteX7" fmla="*/ 5531459 w 6018693"/>
              <a:gd name="connsiteY7" fmla="*/ 170524 h 2132997"/>
              <a:gd name="connsiteX8" fmla="*/ 6018693 w 6018693"/>
              <a:gd name="connsiteY8" fmla="*/ 426876 h 2132997"/>
              <a:gd name="connsiteX9" fmla="*/ 5771482 w 6018693"/>
              <a:gd name="connsiteY9" fmla="*/ 1980532 h 2132997"/>
              <a:gd name="connsiteX10" fmla="*/ 5549610 w 6018693"/>
              <a:gd name="connsiteY10" fmla="*/ 1863264 h 2132997"/>
              <a:gd name="connsiteX11" fmla="*/ 5460980 w 6018693"/>
              <a:gd name="connsiteY11" fmla="*/ 2049292 h 2132997"/>
              <a:gd name="connsiteX12" fmla="*/ 3198718 w 6018693"/>
              <a:gd name="connsiteY12" fmla="*/ 1477520 h 2132997"/>
              <a:gd name="connsiteX13" fmla="*/ 1352987 w 6018693"/>
              <a:gd name="connsiteY13" fmla="*/ 1617383 h 2132997"/>
              <a:gd name="connsiteX14" fmla="*/ 542219 w 6018693"/>
              <a:gd name="connsiteY14" fmla="*/ 1845649 h 2132997"/>
              <a:gd name="connsiteX15" fmla="*/ 4693 w 6018693"/>
              <a:gd name="connsiteY15" fmla="*/ 2055119 h 2132997"/>
              <a:gd name="connsiteX0" fmla="*/ 4693 w 6020508"/>
              <a:gd name="connsiteY0" fmla="*/ 2055119 h 2132997"/>
              <a:gd name="connsiteX1" fmla="*/ 662809 w 6020508"/>
              <a:gd name="connsiteY1" fmla="*/ 1135199 h 2132997"/>
              <a:gd name="connsiteX2" fmla="*/ 1470003 w 6020508"/>
              <a:gd name="connsiteY2" fmla="*/ 539376 h 2132997"/>
              <a:gd name="connsiteX3" fmla="*/ 2369549 w 6020508"/>
              <a:gd name="connsiteY3" fmla="*/ 75138 h 2132997"/>
              <a:gd name="connsiteX4" fmla="*/ 3064484 w 6020508"/>
              <a:gd name="connsiteY4" fmla="*/ 135277 h 2132997"/>
              <a:gd name="connsiteX5" fmla="*/ 4207186 w 6020508"/>
              <a:gd name="connsiteY5" fmla="*/ 97621 h 2132997"/>
              <a:gd name="connsiteX6" fmla="*/ 4997192 w 6020508"/>
              <a:gd name="connsiteY6" fmla="*/ 20247 h 2132997"/>
              <a:gd name="connsiteX7" fmla="*/ 5531459 w 6020508"/>
              <a:gd name="connsiteY7" fmla="*/ 170524 h 2132997"/>
              <a:gd name="connsiteX8" fmla="*/ 6020507 w 6020508"/>
              <a:gd name="connsiteY8" fmla="*/ 402577 h 2132997"/>
              <a:gd name="connsiteX9" fmla="*/ 5771482 w 6020508"/>
              <a:gd name="connsiteY9" fmla="*/ 1980532 h 2132997"/>
              <a:gd name="connsiteX10" fmla="*/ 5549610 w 6020508"/>
              <a:gd name="connsiteY10" fmla="*/ 1863264 h 2132997"/>
              <a:gd name="connsiteX11" fmla="*/ 5460980 w 6020508"/>
              <a:gd name="connsiteY11" fmla="*/ 2049292 h 2132997"/>
              <a:gd name="connsiteX12" fmla="*/ 3198718 w 6020508"/>
              <a:gd name="connsiteY12" fmla="*/ 1477520 h 2132997"/>
              <a:gd name="connsiteX13" fmla="*/ 1352987 w 6020508"/>
              <a:gd name="connsiteY13" fmla="*/ 1617383 h 2132997"/>
              <a:gd name="connsiteX14" fmla="*/ 542219 w 6020508"/>
              <a:gd name="connsiteY14" fmla="*/ 1845649 h 2132997"/>
              <a:gd name="connsiteX15" fmla="*/ 4693 w 6020508"/>
              <a:gd name="connsiteY15" fmla="*/ 2055119 h 2132997"/>
              <a:gd name="connsiteX0" fmla="*/ 4693 w 6020507"/>
              <a:gd name="connsiteY0" fmla="*/ 2051937 h 2129815"/>
              <a:gd name="connsiteX1" fmla="*/ 662809 w 6020507"/>
              <a:gd name="connsiteY1" fmla="*/ 1132017 h 2129815"/>
              <a:gd name="connsiteX2" fmla="*/ 1470003 w 6020507"/>
              <a:gd name="connsiteY2" fmla="*/ 536194 h 2129815"/>
              <a:gd name="connsiteX3" fmla="*/ 2369549 w 6020507"/>
              <a:gd name="connsiteY3" fmla="*/ 71956 h 2129815"/>
              <a:gd name="connsiteX4" fmla="*/ 3064484 w 6020507"/>
              <a:gd name="connsiteY4" fmla="*/ 132095 h 2129815"/>
              <a:gd name="connsiteX5" fmla="*/ 4207186 w 6020507"/>
              <a:gd name="connsiteY5" fmla="*/ 94439 h 2129815"/>
              <a:gd name="connsiteX6" fmla="*/ 4997192 w 6020507"/>
              <a:gd name="connsiteY6" fmla="*/ 17065 h 2129815"/>
              <a:gd name="connsiteX7" fmla="*/ 5531459 w 6020507"/>
              <a:gd name="connsiteY7" fmla="*/ 167342 h 2129815"/>
              <a:gd name="connsiteX8" fmla="*/ 6020507 w 6020507"/>
              <a:gd name="connsiteY8" fmla="*/ 399395 h 2129815"/>
              <a:gd name="connsiteX9" fmla="*/ 5771482 w 6020507"/>
              <a:gd name="connsiteY9" fmla="*/ 1977350 h 2129815"/>
              <a:gd name="connsiteX10" fmla="*/ 5549610 w 6020507"/>
              <a:gd name="connsiteY10" fmla="*/ 1860082 h 2129815"/>
              <a:gd name="connsiteX11" fmla="*/ 5460980 w 6020507"/>
              <a:gd name="connsiteY11" fmla="*/ 2046110 h 2129815"/>
              <a:gd name="connsiteX12" fmla="*/ 3198718 w 6020507"/>
              <a:gd name="connsiteY12" fmla="*/ 1474338 h 2129815"/>
              <a:gd name="connsiteX13" fmla="*/ 1352987 w 6020507"/>
              <a:gd name="connsiteY13" fmla="*/ 1614201 h 2129815"/>
              <a:gd name="connsiteX14" fmla="*/ 542219 w 6020507"/>
              <a:gd name="connsiteY14" fmla="*/ 1842467 h 2129815"/>
              <a:gd name="connsiteX15" fmla="*/ 4693 w 6020507"/>
              <a:gd name="connsiteY15" fmla="*/ 2051937 h 2129815"/>
              <a:gd name="connsiteX0" fmla="*/ 4693 w 6020507"/>
              <a:gd name="connsiteY0" fmla="*/ 2051937 h 2129815"/>
              <a:gd name="connsiteX1" fmla="*/ 662809 w 6020507"/>
              <a:gd name="connsiteY1" fmla="*/ 1132017 h 2129815"/>
              <a:gd name="connsiteX2" fmla="*/ 1470003 w 6020507"/>
              <a:gd name="connsiteY2" fmla="*/ 536194 h 2129815"/>
              <a:gd name="connsiteX3" fmla="*/ 2369549 w 6020507"/>
              <a:gd name="connsiteY3" fmla="*/ 71956 h 2129815"/>
              <a:gd name="connsiteX4" fmla="*/ 3064484 w 6020507"/>
              <a:gd name="connsiteY4" fmla="*/ 132095 h 2129815"/>
              <a:gd name="connsiteX5" fmla="*/ 4207186 w 6020507"/>
              <a:gd name="connsiteY5" fmla="*/ 94439 h 2129815"/>
              <a:gd name="connsiteX6" fmla="*/ 4997192 w 6020507"/>
              <a:gd name="connsiteY6" fmla="*/ 17065 h 2129815"/>
              <a:gd name="connsiteX7" fmla="*/ 5531459 w 6020507"/>
              <a:gd name="connsiteY7" fmla="*/ 167342 h 2129815"/>
              <a:gd name="connsiteX8" fmla="*/ 6020507 w 6020507"/>
              <a:gd name="connsiteY8" fmla="*/ 399395 h 2129815"/>
              <a:gd name="connsiteX9" fmla="*/ 5771482 w 6020507"/>
              <a:gd name="connsiteY9" fmla="*/ 1977350 h 2129815"/>
              <a:gd name="connsiteX10" fmla="*/ 5549610 w 6020507"/>
              <a:gd name="connsiteY10" fmla="*/ 1860082 h 2129815"/>
              <a:gd name="connsiteX11" fmla="*/ 5460980 w 6020507"/>
              <a:gd name="connsiteY11" fmla="*/ 2046110 h 2129815"/>
              <a:gd name="connsiteX12" fmla="*/ 3198718 w 6020507"/>
              <a:gd name="connsiteY12" fmla="*/ 1474338 h 2129815"/>
              <a:gd name="connsiteX13" fmla="*/ 1352987 w 6020507"/>
              <a:gd name="connsiteY13" fmla="*/ 1614201 h 2129815"/>
              <a:gd name="connsiteX14" fmla="*/ 542219 w 6020507"/>
              <a:gd name="connsiteY14" fmla="*/ 1842467 h 2129815"/>
              <a:gd name="connsiteX15" fmla="*/ 4693 w 6020507"/>
              <a:gd name="connsiteY15" fmla="*/ 2051937 h 2129815"/>
              <a:gd name="connsiteX0" fmla="*/ 4693 w 6020507"/>
              <a:gd name="connsiteY0" fmla="*/ 2051937 h 2129815"/>
              <a:gd name="connsiteX1" fmla="*/ 662809 w 6020507"/>
              <a:gd name="connsiteY1" fmla="*/ 1132017 h 2129815"/>
              <a:gd name="connsiteX2" fmla="*/ 1470003 w 6020507"/>
              <a:gd name="connsiteY2" fmla="*/ 536194 h 2129815"/>
              <a:gd name="connsiteX3" fmla="*/ 2369549 w 6020507"/>
              <a:gd name="connsiteY3" fmla="*/ 71956 h 2129815"/>
              <a:gd name="connsiteX4" fmla="*/ 3064484 w 6020507"/>
              <a:gd name="connsiteY4" fmla="*/ 132095 h 2129815"/>
              <a:gd name="connsiteX5" fmla="*/ 4207186 w 6020507"/>
              <a:gd name="connsiteY5" fmla="*/ 94439 h 2129815"/>
              <a:gd name="connsiteX6" fmla="*/ 4997192 w 6020507"/>
              <a:gd name="connsiteY6" fmla="*/ 17065 h 2129815"/>
              <a:gd name="connsiteX7" fmla="*/ 5531459 w 6020507"/>
              <a:gd name="connsiteY7" fmla="*/ 167342 h 2129815"/>
              <a:gd name="connsiteX8" fmla="*/ 6020507 w 6020507"/>
              <a:gd name="connsiteY8" fmla="*/ 399395 h 2129815"/>
              <a:gd name="connsiteX9" fmla="*/ 5725715 w 6020507"/>
              <a:gd name="connsiteY9" fmla="*/ 2074603 h 2129815"/>
              <a:gd name="connsiteX10" fmla="*/ 5549610 w 6020507"/>
              <a:gd name="connsiteY10" fmla="*/ 1860082 h 2129815"/>
              <a:gd name="connsiteX11" fmla="*/ 5460980 w 6020507"/>
              <a:gd name="connsiteY11" fmla="*/ 2046110 h 2129815"/>
              <a:gd name="connsiteX12" fmla="*/ 3198718 w 6020507"/>
              <a:gd name="connsiteY12" fmla="*/ 1474338 h 2129815"/>
              <a:gd name="connsiteX13" fmla="*/ 1352987 w 6020507"/>
              <a:gd name="connsiteY13" fmla="*/ 1614201 h 2129815"/>
              <a:gd name="connsiteX14" fmla="*/ 542219 w 6020507"/>
              <a:gd name="connsiteY14" fmla="*/ 1842467 h 2129815"/>
              <a:gd name="connsiteX15" fmla="*/ 4693 w 6020507"/>
              <a:gd name="connsiteY15" fmla="*/ 2051937 h 2129815"/>
              <a:gd name="connsiteX0" fmla="*/ 4693 w 6020507"/>
              <a:gd name="connsiteY0" fmla="*/ 2051937 h 2129815"/>
              <a:gd name="connsiteX1" fmla="*/ 662809 w 6020507"/>
              <a:gd name="connsiteY1" fmla="*/ 1132017 h 2129815"/>
              <a:gd name="connsiteX2" fmla="*/ 1470003 w 6020507"/>
              <a:gd name="connsiteY2" fmla="*/ 536194 h 2129815"/>
              <a:gd name="connsiteX3" fmla="*/ 2369549 w 6020507"/>
              <a:gd name="connsiteY3" fmla="*/ 71956 h 2129815"/>
              <a:gd name="connsiteX4" fmla="*/ 3064484 w 6020507"/>
              <a:gd name="connsiteY4" fmla="*/ 132095 h 2129815"/>
              <a:gd name="connsiteX5" fmla="*/ 4207186 w 6020507"/>
              <a:gd name="connsiteY5" fmla="*/ 94439 h 2129815"/>
              <a:gd name="connsiteX6" fmla="*/ 4997192 w 6020507"/>
              <a:gd name="connsiteY6" fmla="*/ 17065 h 2129815"/>
              <a:gd name="connsiteX7" fmla="*/ 5531459 w 6020507"/>
              <a:gd name="connsiteY7" fmla="*/ 167342 h 2129815"/>
              <a:gd name="connsiteX8" fmla="*/ 6020507 w 6020507"/>
              <a:gd name="connsiteY8" fmla="*/ 399395 h 2129815"/>
              <a:gd name="connsiteX9" fmla="*/ 5725715 w 6020507"/>
              <a:gd name="connsiteY9" fmla="*/ 2074603 h 2129815"/>
              <a:gd name="connsiteX10" fmla="*/ 5549610 w 6020507"/>
              <a:gd name="connsiteY10" fmla="*/ 1860082 h 2129815"/>
              <a:gd name="connsiteX11" fmla="*/ 5460980 w 6020507"/>
              <a:gd name="connsiteY11" fmla="*/ 2046110 h 2129815"/>
              <a:gd name="connsiteX12" fmla="*/ 3198718 w 6020507"/>
              <a:gd name="connsiteY12" fmla="*/ 1474338 h 2129815"/>
              <a:gd name="connsiteX13" fmla="*/ 1352987 w 6020507"/>
              <a:gd name="connsiteY13" fmla="*/ 1614201 h 2129815"/>
              <a:gd name="connsiteX14" fmla="*/ 542219 w 6020507"/>
              <a:gd name="connsiteY14" fmla="*/ 1842467 h 2129815"/>
              <a:gd name="connsiteX15" fmla="*/ 4693 w 6020507"/>
              <a:gd name="connsiteY15" fmla="*/ 2051937 h 2129815"/>
              <a:gd name="connsiteX0" fmla="*/ 4693 w 6020507"/>
              <a:gd name="connsiteY0" fmla="*/ 2051937 h 2129815"/>
              <a:gd name="connsiteX1" fmla="*/ 662809 w 6020507"/>
              <a:gd name="connsiteY1" fmla="*/ 1132017 h 2129815"/>
              <a:gd name="connsiteX2" fmla="*/ 1470003 w 6020507"/>
              <a:gd name="connsiteY2" fmla="*/ 536194 h 2129815"/>
              <a:gd name="connsiteX3" fmla="*/ 2369549 w 6020507"/>
              <a:gd name="connsiteY3" fmla="*/ 71956 h 2129815"/>
              <a:gd name="connsiteX4" fmla="*/ 3064484 w 6020507"/>
              <a:gd name="connsiteY4" fmla="*/ 132095 h 2129815"/>
              <a:gd name="connsiteX5" fmla="*/ 4207186 w 6020507"/>
              <a:gd name="connsiteY5" fmla="*/ 94439 h 2129815"/>
              <a:gd name="connsiteX6" fmla="*/ 4997192 w 6020507"/>
              <a:gd name="connsiteY6" fmla="*/ 17065 h 2129815"/>
              <a:gd name="connsiteX7" fmla="*/ 5531459 w 6020507"/>
              <a:gd name="connsiteY7" fmla="*/ 167342 h 2129815"/>
              <a:gd name="connsiteX8" fmla="*/ 6020507 w 6020507"/>
              <a:gd name="connsiteY8" fmla="*/ 399395 h 2129815"/>
              <a:gd name="connsiteX9" fmla="*/ 5725715 w 6020507"/>
              <a:gd name="connsiteY9" fmla="*/ 2074603 h 2129815"/>
              <a:gd name="connsiteX10" fmla="*/ 5549610 w 6020507"/>
              <a:gd name="connsiteY10" fmla="*/ 1860082 h 2129815"/>
              <a:gd name="connsiteX11" fmla="*/ 5460980 w 6020507"/>
              <a:gd name="connsiteY11" fmla="*/ 2046110 h 2129815"/>
              <a:gd name="connsiteX12" fmla="*/ 3198718 w 6020507"/>
              <a:gd name="connsiteY12" fmla="*/ 1474338 h 2129815"/>
              <a:gd name="connsiteX13" fmla="*/ 1352987 w 6020507"/>
              <a:gd name="connsiteY13" fmla="*/ 1614201 h 2129815"/>
              <a:gd name="connsiteX14" fmla="*/ 542219 w 6020507"/>
              <a:gd name="connsiteY14" fmla="*/ 1842467 h 2129815"/>
              <a:gd name="connsiteX15" fmla="*/ 4693 w 6020507"/>
              <a:gd name="connsiteY15" fmla="*/ 2051937 h 2129815"/>
              <a:gd name="connsiteX0" fmla="*/ 4693 w 6020507"/>
              <a:gd name="connsiteY0" fmla="*/ 2051937 h 2129815"/>
              <a:gd name="connsiteX1" fmla="*/ 662809 w 6020507"/>
              <a:gd name="connsiteY1" fmla="*/ 1132017 h 2129815"/>
              <a:gd name="connsiteX2" fmla="*/ 1470003 w 6020507"/>
              <a:gd name="connsiteY2" fmla="*/ 536194 h 2129815"/>
              <a:gd name="connsiteX3" fmla="*/ 2369549 w 6020507"/>
              <a:gd name="connsiteY3" fmla="*/ 71956 h 2129815"/>
              <a:gd name="connsiteX4" fmla="*/ 3064484 w 6020507"/>
              <a:gd name="connsiteY4" fmla="*/ 132095 h 2129815"/>
              <a:gd name="connsiteX5" fmla="*/ 4207186 w 6020507"/>
              <a:gd name="connsiteY5" fmla="*/ 94439 h 2129815"/>
              <a:gd name="connsiteX6" fmla="*/ 4997192 w 6020507"/>
              <a:gd name="connsiteY6" fmla="*/ 17065 h 2129815"/>
              <a:gd name="connsiteX7" fmla="*/ 5531459 w 6020507"/>
              <a:gd name="connsiteY7" fmla="*/ 167342 h 2129815"/>
              <a:gd name="connsiteX8" fmla="*/ 6020507 w 6020507"/>
              <a:gd name="connsiteY8" fmla="*/ 399395 h 2129815"/>
              <a:gd name="connsiteX9" fmla="*/ 5725715 w 6020507"/>
              <a:gd name="connsiteY9" fmla="*/ 2074603 h 2129815"/>
              <a:gd name="connsiteX10" fmla="*/ 5576922 w 6020507"/>
              <a:gd name="connsiteY10" fmla="*/ 2097834 h 2129815"/>
              <a:gd name="connsiteX11" fmla="*/ 5460980 w 6020507"/>
              <a:gd name="connsiteY11" fmla="*/ 2046110 h 2129815"/>
              <a:gd name="connsiteX12" fmla="*/ 3198718 w 6020507"/>
              <a:gd name="connsiteY12" fmla="*/ 1474338 h 2129815"/>
              <a:gd name="connsiteX13" fmla="*/ 1352987 w 6020507"/>
              <a:gd name="connsiteY13" fmla="*/ 1614201 h 2129815"/>
              <a:gd name="connsiteX14" fmla="*/ 542219 w 6020507"/>
              <a:gd name="connsiteY14" fmla="*/ 1842467 h 2129815"/>
              <a:gd name="connsiteX15" fmla="*/ 4693 w 6020507"/>
              <a:gd name="connsiteY15" fmla="*/ 2051937 h 2129815"/>
              <a:gd name="connsiteX0" fmla="*/ 4693 w 6020507"/>
              <a:gd name="connsiteY0" fmla="*/ 2051937 h 2242776"/>
              <a:gd name="connsiteX1" fmla="*/ 662809 w 6020507"/>
              <a:gd name="connsiteY1" fmla="*/ 1132017 h 2242776"/>
              <a:gd name="connsiteX2" fmla="*/ 1470003 w 6020507"/>
              <a:gd name="connsiteY2" fmla="*/ 536194 h 2242776"/>
              <a:gd name="connsiteX3" fmla="*/ 2369549 w 6020507"/>
              <a:gd name="connsiteY3" fmla="*/ 71956 h 2242776"/>
              <a:gd name="connsiteX4" fmla="*/ 3064484 w 6020507"/>
              <a:gd name="connsiteY4" fmla="*/ 132095 h 2242776"/>
              <a:gd name="connsiteX5" fmla="*/ 4207186 w 6020507"/>
              <a:gd name="connsiteY5" fmla="*/ 94439 h 2242776"/>
              <a:gd name="connsiteX6" fmla="*/ 4997192 w 6020507"/>
              <a:gd name="connsiteY6" fmla="*/ 17065 h 2242776"/>
              <a:gd name="connsiteX7" fmla="*/ 5531459 w 6020507"/>
              <a:gd name="connsiteY7" fmla="*/ 167342 h 2242776"/>
              <a:gd name="connsiteX8" fmla="*/ 6020507 w 6020507"/>
              <a:gd name="connsiteY8" fmla="*/ 399395 h 2242776"/>
              <a:gd name="connsiteX9" fmla="*/ 5725715 w 6020507"/>
              <a:gd name="connsiteY9" fmla="*/ 2074603 h 2242776"/>
              <a:gd name="connsiteX10" fmla="*/ 5576922 w 6020507"/>
              <a:gd name="connsiteY10" fmla="*/ 2097834 h 2242776"/>
              <a:gd name="connsiteX11" fmla="*/ 5312750 w 6020507"/>
              <a:gd name="connsiteY11" fmla="*/ 2242776 h 2242776"/>
              <a:gd name="connsiteX12" fmla="*/ 3198718 w 6020507"/>
              <a:gd name="connsiteY12" fmla="*/ 1474338 h 2242776"/>
              <a:gd name="connsiteX13" fmla="*/ 1352987 w 6020507"/>
              <a:gd name="connsiteY13" fmla="*/ 1614201 h 2242776"/>
              <a:gd name="connsiteX14" fmla="*/ 542219 w 6020507"/>
              <a:gd name="connsiteY14" fmla="*/ 1842467 h 2242776"/>
              <a:gd name="connsiteX15" fmla="*/ 4693 w 6020507"/>
              <a:gd name="connsiteY15" fmla="*/ 2051937 h 2242776"/>
              <a:gd name="connsiteX0" fmla="*/ 4693 w 6020507"/>
              <a:gd name="connsiteY0" fmla="*/ 2051937 h 2242776"/>
              <a:gd name="connsiteX1" fmla="*/ 662809 w 6020507"/>
              <a:gd name="connsiteY1" fmla="*/ 1132017 h 2242776"/>
              <a:gd name="connsiteX2" fmla="*/ 1470003 w 6020507"/>
              <a:gd name="connsiteY2" fmla="*/ 536194 h 2242776"/>
              <a:gd name="connsiteX3" fmla="*/ 2369549 w 6020507"/>
              <a:gd name="connsiteY3" fmla="*/ 71956 h 2242776"/>
              <a:gd name="connsiteX4" fmla="*/ 3064484 w 6020507"/>
              <a:gd name="connsiteY4" fmla="*/ 132095 h 2242776"/>
              <a:gd name="connsiteX5" fmla="*/ 4207186 w 6020507"/>
              <a:gd name="connsiteY5" fmla="*/ 94439 h 2242776"/>
              <a:gd name="connsiteX6" fmla="*/ 4997192 w 6020507"/>
              <a:gd name="connsiteY6" fmla="*/ 17065 h 2242776"/>
              <a:gd name="connsiteX7" fmla="*/ 5531459 w 6020507"/>
              <a:gd name="connsiteY7" fmla="*/ 167342 h 2242776"/>
              <a:gd name="connsiteX8" fmla="*/ 6020507 w 6020507"/>
              <a:gd name="connsiteY8" fmla="*/ 399395 h 2242776"/>
              <a:gd name="connsiteX9" fmla="*/ 5725715 w 6020507"/>
              <a:gd name="connsiteY9" fmla="*/ 2074603 h 2242776"/>
              <a:gd name="connsiteX10" fmla="*/ 5576922 w 6020507"/>
              <a:gd name="connsiteY10" fmla="*/ 2097834 h 2242776"/>
              <a:gd name="connsiteX11" fmla="*/ 5312750 w 6020507"/>
              <a:gd name="connsiteY11" fmla="*/ 2242776 h 2242776"/>
              <a:gd name="connsiteX12" fmla="*/ 3314271 w 6020507"/>
              <a:gd name="connsiteY12" fmla="*/ 1594605 h 2242776"/>
              <a:gd name="connsiteX13" fmla="*/ 1352987 w 6020507"/>
              <a:gd name="connsiteY13" fmla="*/ 1614201 h 2242776"/>
              <a:gd name="connsiteX14" fmla="*/ 542219 w 6020507"/>
              <a:gd name="connsiteY14" fmla="*/ 1842467 h 2242776"/>
              <a:gd name="connsiteX15" fmla="*/ 4693 w 6020507"/>
              <a:gd name="connsiteY15" fmla="*/ 2051937 h 2242776"/>
              <a:gd name="connsiteX0" fmla="*/ 4693 w 6020507"/>
              <a:gd name="connsiteY0" fmla="*/ 2051937 h 2242776"/>
              <a:gd name="connsiteX1" fmla="*/ 662809 w 6020507"/>
              <a:gd name="connsiteY1" fmla="*/ 1132017 h 2242776"/>
              <a:gd name="connsiteX2" fmla="*/ 1470003 w 6020507"/>
              <a:gd name="connsiteY2" fmla="*/ 536194 h 2242776"/>
              <a:gd name="connsiteX3" fmla="*/ 2369549 w 6020507"/>
              <a:gd name="connsiteY3" fmla="*/ 71956 h 2242776"/>
              <a:gd name="connsiteX4" fmla="*/ 3064484 w 6020507"/>
              <a:gd name="connsiteY4" fmla="*/ 132095 h 2242776"/>
              <a:gd name="connsiteX5" fmla="*/ 4207186 w 6020507"/>
              <a:gd name="connsiteY5" fmla="*/ 94439 h 2242776"/>
              <a:gd name="connsiteX6" fmla="*/ 4997192 w 6020507"/>
              <a:gd name="connsiteY6" fmla="*/ 17065 h 2242776"/>
              <a:gd name="connsiteX7" fmla="*/ 5531459 w 6020507"/>
              <a:gd name="connsiteY7" fmla="*/ 167342 h 2242776"/>
              <a:gd name="connsiteX8" fmla="*/ 6020507 w 6020507"/>
              <a:gd name="connsiteY8" fmla="*/ 399395 h 2242776"/>
              <a:gd name="connsiteX9" fmla="*/ 5725715 w 6020507"/>
              <a:gd name="connsiteY9" fmla="*/ 2074603 h 2242776"/>
              <a:gd name="connsiteX10" fmla="*/ 5576922 w 6020507"/>
              <a:gd name="connsiteY10" fmla="*/ 2097834 h 2242776"/>
              <a:gd name="connsiteX11" fmla="*/ 5312750 w 6020507"/>
              <a:gd name="connsiteY11" fmla="*/ 2242776 h 2242776"/>
              <a:gd name="connsiteX12" fmla="*/ 3314271 w 6020507"/>
              <a:gd name="connsiteY12" fmla="*/ 1594605 h 2242776"/>
              <a:gd name="connsiteX13" fmla="*/ 1352987 w 6020507"/>
              <a:gd name="connsiteY13" fmla="*/ 1614201 h 2242776"/>
              <a:gd name="connsiteX14" fmla="*/ 542219 w 6020507"/>
              <a:gd name="connsiteY14" fmla="*/ 1842467 h 2242776"/>
              <a:gd name="connsiteX15" fmla="*/ 4693 w 6020507"/>
              <a:gd name="connsiteY15" fmla="*/ 2051937 h 2242776"/>
              <a:gd name="connsiteX0" fmla="*/ 4693 w 6020507"/>
              <a:gd name="connsiteY0" fmla="*/ 2051937 h 2242776"/>
              <a:gd name="connsiteX1" fmla="*/ 662809 w 6020507"/>
              <a:gd name="connsiteY1" fmla="*/ 1132017 h 2242776"/>
              <a:gd name="connsiteX2" fmla="*/ 1470003 w 6020507"/>
              <a:gd name="connsiteY2" fmla="*/ 536194 h 2242776"/>
              <a:gd name="connsiteX3" fmla="*/ 2369549 w 6020507"/>
              <a:gd name="connsiteY3" fmla="*/ 71956 h 2242776"/>
              <a:gd name="connsiteX4" fmla="*/ 3064484 w 6020507"/>
              <a:gd name="connsiteY4" fmla="*/ 132095 h 2242776"/>
              <a:gd name="connsiteX5" fmla="*/ 4207186 w 6020507"/>
              <a:gd name="connsiteY5" fmla="*/ 94439 h 2242776"/>
              <a:gd name="connsiteX6" fmla="*/ 4997192 w 6020507"/>
              <a:gd name="connsiteY6" fmla="*/ 17065 h 2242776"/>
              <a:gd name="connsiteX7" fmla="*/ 5531459 w 6020507"/>
              <a:gd name="connsiteY7" fmla="*/ 167342 h 2242776"/>
              <a:gd name="connsiteX8" fmla="*/ 6020507 w 6020507"/>
              <a:gd name="connsiteY8" fmla="*/ 399395 h 2242776"/>
              <a:gd name="connsiteX9" fmla="*/ 5725715 w 6020507"/>
              <a:gd name="connsiteY9" fmla="*/ 2074603 h 2242776"/>
              <a:gd name="connsiteX10" fmla="*/ 5576922 w 6020507"/>
              <a:gd name="connsiteY10" fmla="*/ 2097834 h 2242776"/>
              <a:gd name="connsiteX11" fmla="*/ 5312750 w 6020507"/>
              <a:gd name="connsiteY11" fmla="*/ 2242776 h 2242776"/>
              <a:gd name="connsiteX12" fmla="*/ 3314271 w 6020507"/>
              <a:gd name="connsiteY12" fmla="*/ 1594605 h 2242776"/>
              <a:gd name="connsiteX13" fmla="*/ 1352987 w 6020507"/>
              <a:gd name="connsiteY13" fmla="*/ 1614201 h 2242776"/>
              <a:gd name="connsiteX14" fmla="*/ 542219 w 6020507"/>
              <a:gd name="connsiteY14" fmla="*/ 1842467 h 2242776"/>
              <a:gd name="connsiteX15" fmla="*/ 4693 w 6020507"/>
              <a:gd name="connsiteY15" fmla="*/ 2051937 h 2242776"/>
              <a:gd name="connsiteX0" fmla="*/ 4693 w 6020507"/>
              <a:gd name="connsiteY0" fmla="*/ 2051937 h 2242776"/>
              <a:gd name="connsiteX1" fmla="*/ 662809 w 6020507"/>
              <a:gd name="connsiteY1" fmla="*/ 1132017 h 2242776"/>
              <a:gd name="connsiteX2" fmla="*/ 1470003 w 6020507"/>
              <a:gd name="connsiteY2" fmla="*/ 536194 h 2242776"/>
              <a:gd name="connsiteX3" fmla="*/ 2369549 w 6020507"/>
              <a:gd name="connsiteY3" fmla="*/ 71956 h 2242776"/>
              <a:gd name="connsiteX4" fmla="*/ 3064484 w 6020507"/>
              <a:gd name="connsiteY4" fmla="*/ 132095 h 2242776"/>
              <a:gd name="connsiteX5" fmla="*/ 4207186 w 6020507"/>
              <a:gd name="connsiteY5" fmla="*/ 94439 h 2242776"/>
              <a:gd name="connsiteX6" fmla="*/ 4997192 w 6020507"/>
              <a:gd name="connsiteY6" fmla="*/ 17065 h 2242776"/>
              <a:gd name="connsiteX7" fmla="*/ 5531459 w 6020507"/>
              <a:gd name="connsiteY7" fmla="*/ 167342 h 2242776"/>
              <a:gd name="connsiteX8" fmla="*/ 6020507 w 6020507"/>
              <a:gd name="connsiteY8" fmla="*/ 399395 h 2242776"/>
              <a:gd name="connsiteX9" fmla="*/ 5725715 w 6020507"/>
              <a:gd name="connsiteY9" fmla="*/ 2074603 h 2242776"/>
              <a:gd name="connsiteX10" fmla="*/ 5576922 w 6020507"/>
              <a:gd name="connsiteY10" fmla="*/ 2097834 h 2242776"/>
              <a:gd name="connsiteX11" fmla="*/ 5312750 w 6020507"/>
              <a:gd name="connsiteY11" fmla="*/ 2242776 h 2242776"/>
              <a:gd name="connsiteX12" fmla="*/ 3314271 w 6020507"/>
              <a:gd name="connsiteY12" fmla="*/ 1594605 h 2242776"/>
              <a:gd name="connsiteX13" fmla="*/ 1352987 w 6020507"/>
              <a:gd name="connsiteY13" fmla="*/ 1614201 h 2242776"/>
              <a:gd name="connsiteX14" fmla="*/ 542219 w 6020507"/>
              <a:gd name="connsiteY14" fmla="*/ 1842467 h 2242776"/>
              <a:gd name="connsiteX15" fmla="*/ 4693 w 6020507"/>
              <a:gd name="connsiteY15" fmla="*/ 2051937 h 2242776"/>
              <a:gd name="connsiteX0" fmla="*/ 4693 w 6020507"/>
              <a:gd name="connsiteY0" fmla="*/ 2051937 h 2242776"/>
              <a:gd name="connsiteX1" fmla="*/ 662809 w 6020507"/>
              <a:gd name="connsiteY1" fmla="*/ 1132017 h 2242776"/>
              <a:gd name="connsiteX2" fmla="*/ 1470003 w 6020507"/>
              <a:gd name="connsiteY2" fmla="*/ 536194 h 2242776"/>
              <a:gd name="connsiteX3" fmla="*/ 2369549 w 6020507"/>
              <a:gd name="connsiteY3" fmla="*/ 71956 h 2242776"/>
              <a:gd name="connsiteX4" fmla="*/ 3064484 w 6020507"/>
              <a:gd name="connsiteY4" fmla="*/ 132095 h 2242776"/>
              <a:gd name="connsiteX5" fmla="*/ 4207186 w 6020507"/>
              <a:gd name="connsiteY5" fmla="*/ 94439 h 2242776"/>
              <a:gd name="connsiteX6" fmla="*/ 4997192 w 6020507"/>
              <a:gd name="connsiteY6" fmla="*/ 17065 h 2242776"/>
              <a:gd name="connsiteX7" fmla="*/ 5531459 w 6020507"/>
              <a:gd name="connsiteY7" fmla="*/ 167342 h 2242776"/>
              <a:gd name="connsiteX8" fmla="*/ 6020507 w 6020507"/>
              <a:gd name="connsiteY8" fmla="*/ 399395 h 2242776"/>
              <a:gd name="connsiteX9" fmla="*/ 5725715 w 6020507"/>
              <a:gd name="connsiteY9" fmla="*/ 2074603 h 2242776"/>
              <a:gd name="connsiteX10" fmla="*/ 5576922 w 6020507"/>
              <a:gd name="connsiteY10" fmla="*/ 2097834 h 2242776"/>
              <a:gd name="connsiteX11" fmla="*/ 5312750 w 6020507"/>
              <a:gd name="connsiteY11" fmla="*/ 2242776 h 2242776"/>
              <a:gd name="connsiteX12" fmla="*/ 3314271 w 6020507"/>
              <a:gd name="connsiteY12" fmla="*/ 1594605 h 2242776"/>
              <a:gd name="connsiteX13" fmla="*/ 1352987 w 6020507"/>
              <a:gd name="connsiteY13" fmla="*/ 1614201 h 2242776"/>
              <a:gd name="connsiteX14" fmla="*/ 542219 w 6020507"/>
              <a:gd name="connsiteY14" fmla="*/ 1842467 h 2242776"/>
              <a:gd name="connsiteX15" fmla="*/ 4693 w 6020507"/>
              <a:gd name="connsiteY15" fmla="*/ 2051937 h 2242776"/>
              <a:gd name="connsiteX0" fmla="*/ 4693 w 6020507"/>
              <a:gd name="connsiteY0" fmla="*/ 2051937 h 2242776"/>
              <a:gd name="connsiteX1" fmla="*/ 662809 w 6020507"/>
              <a:gd name="connsiteY1" fmla="*/ 1132017 h 2242776"/>
              <a:gd name="connsiteX2" fmla="*/ 1470003 w 6020507"/>
              <a:gd name="connsiteY2" fmla="*/ 536194 h 2242776"/>
              <a:gd name="connsiteX3" fmla="*/ 2369549 w 6020507"/>
              <a:gd name="connsiteY3" fmla="*/ 71956 h 2242776"/>
              <a:gd name="connsiteX4" fmla="*/ 3064484 w 6020507"/>
              <a:gd name="connsiteY4" fmla="*/ 132095 h 2242776"/>
              <a:gd name="connsiteX5" fmla="*/ 4207186 w 6020507"/>
              <a:gd name="connsiteY5" fmla="*/ 94439 h 2242776"/>
              <a:gd name="connsiteX6" fmla="*/ 4997192 w 6020507"/>
              <a:gd name="connsiteY6" fmla="*/ 17065 h 2242776"/>
              <a:gd name="connsiteX7" fmla="*/ 5531459 w 6020507"/>
              <a:gd name="connsiteY7" fmla="*/ 167342 h 2242776"/>
              <a:gd name="connsiteX8" fmla="*/ 6020507 w 6020507"/>
              <a:gd name="connsiteY8" fmla="*/ 399395 h 2242776"/>
              <a:gd name="connsiteX9" fmla="*/ 5725715 w 6020507"/>
              <a:gd name="connsiteY9" fmla="*/ 2074603 h 2242776"/>
              <a:gd name="connsiteX10" fmla="*/ 5576922 w 6020507"/>
              <a:gd name="connsiteY10" fmla="*/ 2097834 h 2242776"/>
              <a:gd name="connsiteX11" fmla="*/ 5312750 w 6020507"/>
              <a:gd name="connsiteY11" fmla="*/ 2242776 h 2242776"/>
              <a:gd name="connsiteX12" fmla="*/ 3314271 w 6020507"/>
              <a:gd name="connsiteY12" fmla="*/ 1594605 h 2242776"/>
              <a:gd name="connsiteX13" fmla="*/ 1352987 w 6020507"/>
              <a:gd name="connsiteY13" fmla="*/ 1614201 h 2242776"/>
              <a:gd name="connsiteX14" fmla="*/ 542219 w 6020507"/>
              <a:gd name="connsiteY14" fmla="*/ 1842467 h 2242776"/>
              <a:gd name="connsiteX15" fmla="*/ 4693 w 6020507"/>
              <a:gd name="connsiteY15" fmla="*/ 2051937 h 2242776"/>
              <a:gd name="connsiteX0" fmla="*/ 4693 w 6020507"/>
              <a:gd name="connsiteY0" fmla="*/ 2051937 h 2242776"/>
              <a:gd name="connsiteX1" fmla="*/ 662809 w 6020507"/>
              <a:gd name="connsiteY1" fmla="*/ 1132017 h 2242776"/>
              <a:gd name="connsiteX2" fmla="*/ 1470003 w 6020507"/>
              <a:gd name="connsiteY2" fmla="*/ 536194 h 2242776"/>
              <a:gd name="connsiteX3" fmla="*/ 2369549 w 6020507"/>
              <a:gd name="connsiteY3" fmla="*/ 71956 h 2242776"/>
              <a:gd name="connsiteX4" fmla="*/ 3064484 w 6020507"/>
              <a:gd name="connsiteY4" fmla="*/ 132095 h 2242776"/>
              <a:gd name="connsiteX5" fmla="*/ 4207186 w 6020507"/>
              <a:gd name="connsiteY5" fmla="*/ 94439 h 2242776"/>
              <a:gd name="connsiteX6" fmla="*/ 4997192 w 6020507"/>
              <a:gd name="connsiteY6" fmla="*/ 17065 h 2242776"/>
              <a:gd name="connsiteX7" fmla="*/ 5531459 w 6020507"/>
              <a:gd name="connsiteY7" fmla="*/ 167342 h 2242776"/>
              <a:gd name="connsiteX8" fmla="*/ 6020507 w 6020507"/>
              <a:gd name="connsiteY8" fmla="*/ 399395 h 2242776"/>
              <a:gd name="connsiteX9" fmla="*/ 5725715 w 6020507"/>
              <a:gd name="connsiteY9" fmla="*/ 2074603 h 2242776"/>
              <a:gd name="connsiteX10" fmla="*/ 5576922 w 6020507"/>
              <a:gd name="connsiteY10" fmla="*/ 2097834 h 2242776"/>
              <a:gd name="connsiteX11" fmla="*/ 5312750 w 6020507"/>
              <a:gd name="connsiteY11" fmla="*/ 2242776 h 2242776"/>
              <a:gd name="connsiteX12" fmla="*/ 3314271 w 6020507"/>
              <a:gd name="connsiteY12" fmla="*/ 1594605 h 2242776"/>
              <a:gd name="connsiteX13" fmla="*/ 1352987 w 6020507"/>
              <a:gd name="connsiteY13" fmla="*/ 1614201 h 2242776"/>
              <a:gd name="connsiteX14" fmla="*/ 542219 w 6020507"/>
              <a:gd name="connsiteY14" fmla="*/ 1842467 h 2242776"/>
              <a:gd name="connsiteX15" fmla="*/ 4693 w 6020507"/>
              <a:gd name="connsiteY15" fmla="*/ 2051937 h 2242776"/>
              <a:gd name="connsiteX0" fmla="*/ 4717 w 6020020"/>
              <a:gd name="connsiteY0" fmla="*/ 2154805 h 2242776"/>
              <a:gd name="connsiteX1" fmla="*/ 662322 w 6020020"/>
              <a:gd name="connsiteY1" fmla="*/ 1132017 h 2242776"/>
              <a:gd name="connsiteX2" fmla="*/ 1469516 w 6020020"/>
              <a:gd name="connsiteY2" fmla="*/ 536194 h 2242776"/>
              <a:gd name="connsiteX3" fmla="*/ 2369062 w 6020020"/>
              <a:gd name="connsiteY3" fmla="*/ 71956 h 2242776"/>
              <a:gd name="connsiteX4" fmla="*/ 3063997 w 6020020"/>
              <a:gd name="connsiteY4" fmla="*/ 132095 h 2242776"/>
              <a:gd name="connsiteX5" fmla="*/ 4206699 w 6020020"/>
              <a:gd name="connsiteY5" fmla="*/ 94439 h 2242776"/>
              <a:gd name="connsiteX6" fmla="*/ 4996705 w 6020020"/>
              <a:gd name="connsiteY6" fmla="*/ 17065 h 2242776"/>
              <a:gd name="connsiteX7" fmla="*/ 5530972 w 6020020"/>
              <a:gd name="connsiteY7" fmla="*/ 167342 h 2242776"/>
              <a:gd name="connsiteX8" fmla="*/ 6020020 w 6020020"/>
              <a:gd name="connsiteY8" fmla="*/ 399395 h 2242776"/>
              <a:gd name="connsiteX9" fmla="*/ 5725228 w 6020020"/>
              <a:gd name="connsiteY9" fmla="*/ 2074603 h 2242776"/>
              <a:gd name="connsiteX10" fmla="*/ 5576435 w 6020020"/>
              <a:gd name="connsiteY10" fmla="*/ 2097834 h 2242776"/>
              <a:gd name="connsiteX11" fmla="*/ 5312263 w 6020020"/>
              <a:gd name="connsiteY11" fmla="*/ 2242776 h 2242776"/>
              <a:gd name="connsiteX12" fmla="*/ 3313784 w 6020020"/>
              <a:gd name="connsiteY12" fmla="*/ 1594605 h 2242776"/>
              <a:gd name="connsiteX13" fmla="*/ 1352500 w 6020020"/>
              <a:gd name="connsiteY13" fmla="*/ 1614201 h 2242776"/>
              <a:gd name="connsiteX14" fmla="*/ 541732 w 6020020"/>
              <a:gd name="connsiteY14" fmla="*/ 1842467 h 2242776"/>
              <a:gd name="connsiteX15" fmla="*/ 4717 w 6020020"/>
              <a:gd name="connsiteY15" fmla="*/ 2154805 h 2242776"/>
              <a:gd name="connsiteX0" fmla="*/ 4716 w 6020019"/>
              <a:gd name="connsiteY0" fmla="*/ 2154805 h 2242776"/>
              <a:gd name="connsiteX1" fmla="*/ 662321 w 6020019"/>
              <a:gd name="connsiteY1" fmla="*/ 1132017 h 2242776"/>
              <a:gd name="connsiteX2" fmla="*/ 1469515 w 6020019"/>
              <a:gd name="connsiteY2" fmla="*/ 536194 h 2242776"/>
              <a:gd name="connsiteX3" fmla="*/ 2369061 w 6020019"/>
              <a:gd name="connsiteY3" fmla="*/ 71956 h 2242776"/>
              <a:gd name="connsiteX4" fmla="*/ 3063996 w 6020019"/>
              <a:gd name="connsiteY4" fmla="*/ 132095 h 2242776"/>
              <a:gd name="connsiteX5" fmla="*/ 4206698 w 6020019"/>
              <a:gd name="connsiteY5" fmla="*/ 94439 h 2242776"/>
              <a:gd name="connsiteX6" fmla="*/ 4996704 w 6020019"/>
              <a:gd name="connsiteY6" fmla="*/ 17065 h 2242776"/>
              <a:gd name="connsiteX7" fmla="*/ 5530971 w 6020019"/>
              <a:gd name="connsiteY7" fmla="*/ 167342 h 2242776"/>
              <a:gd name="connsiteX8" fmla="*/ 6020019 w 6020019"/>
              <a:gd name="connsiteY8" fmla="*/ 399395 h 2242776"/>
              <a:gd name="connsiteX9" fmla="*/ 5725227 w 6020019"/>
              <a:gd name="connsiteY9" fmla="*/ 2074603 h 2242776"/>
              <a:gd name="connsiteX10" fmla="*/ 5576434 w 6020019"/>
              <a:gd name="connsiteY10" fmla="*/ 2097834 h 2242776"/>
              <a:gd name="connsiteX11" fmla="*/ 5312262 w 6020019"/>
              <a:gd name="connsiteY11" fmla="*/ 2242776 h 2242776"/>
              <a:gd name="connsiteX12" fmla="*/ 3313783 w 6020019"/>
              <a:gd name="connsiteY12" fmla="*/ 1594605 h 2242776"/>
              <a:gd name="connsiteX13" fmla="*/ 1352499 w 6020019"/>
              <a:gd name="connsiteY13" fmla="*/ 1614201 h 2242776"/>
              <a:gd name="connsiteX14" fmla="*/ 541731 w 6020019"/>
              <a:gd name="connsiteY14" fmla="*/ 1842467 h 2242776"/>
              <a:gd name="connsiteX15" fmla="*/ 4716 w 6020019"/>
              <a:gd name="connsiteY15" fmla="*/ 2154805 h 2242776"/>
              <a:gd name="connsiteX0" fmla="*/ 4716 w 6020019"/>
              <a:gd name="connsiteY0" fmla="*/ 2154805 h 2271708"/>
              <a:gd name="connsiteX1" fmla="*/ 662321 w 6020019"/>
              <a:gd name="connsiteY1" fmla="*/ 1132017 h 2271708"/>
              <a:gd name="connsiteX2" fmla="*/ 1469515 w 6020019"/>
              <a:gd name="connsiteY2" fmla="*/ 536194 h 2271708"/>
              <a:gd name="connsiteX3" fmla="*/ 2369061 w 6020019"/>
              <a:gd name="connsiteY3" fmla="*/ 71956 h 2271708"/>
              <a:gd name="connsiteX4" fmla="*/ 3063996 w 6020019"/>
              <a:gd name="connsiteY4" fmla="*/ 132095 h 2271708"/>
              <a:gd name="connsiteX5" fmla="*/ 4206698 w 6020019"/>
              <a:gd name="connsiteY5" fmla="*/ 94439 h 2271708"/>
              <a:gd name="connsiteX6" fmla="*/ 4996704 w 6020019"/>
              <a:gd name="connsiteY6" fmla="*/ 17065 h 2271708"/>
              <a:gd name="connsiteX7" fmla="*/ 5530971 w 6020019"/>
              <a:gd name="connsiteY7" fmla="*/ 167342 h 2271708"/>
              <a:gd name="connsiteX8" fmla="*/ 6020019 w 6020019"/>
              <a:gd name="connsiteY8" fmla="*/ 399395 h 2271708"/>
              <a:gd name="connsiteX9" fmla="*/ 5725227 w 6020019"/>
              <a:gd name="connsiteY9" fmla="*/ 2074603 h 2271708"/>
              <a:gd name="connsiteX10" fmla="*/ 5576434 w 6020019"/>
              <a:gd name="connsiteY10" fmla="*/ 2097834 h 2271708"/>
              <a:gd name="connsiteX11" fmla="*/ 5327308 w 6020019"/>
              <a:gd name="connsiteY11" fmla="*/ 2271710 h 2271708"/>
              <a:gd name="connsiteX12" fmla="*/ 3313783 w 6020019"/>
              <a:gd name="connsiteY12" fmla="*/ 1594605 h 2271708"/>
              <a:gd name="connsiteX13" fmla="*/ 1352499 w 6020019"/>
              <a:gd name="connsiteY13" fmla="*/ 1614201 h 2271708"/>
              <a:gd name="connsiteX14" fmla="*/ 541731 w 6020019"/>
              <a:gd name="connsiteY14" fmla="*/ 1842467 h 2271708"/>
              <a:gd name="connsiteX15" fmla="*/ 4716 w 6020019"/>
              <a:gd name="connsiteY15" fmla="*/ 2154805 h 2271708"/>
              <a:gd name="connsiteX0" fmla="*/ 4716 w 6020019"/>
              <a:gd name="connsiteY0" fmla="*/ 2154805 h 2271708"/>
              <a:gd name="connsiteX1" fmla="*/ 662321 w 6020019"/>
              <a:gd name="connsiteY1" fmla="*/ 1132017 h 2271708"/>
              <a:gd name="connsiteX2" fmla="*/ 1469515 w 6020019"/>
              <a:gd name="connsiteY2" fmla="*/ 536194 h 2271708"/>
              <a:gd name="connsiteX3" fmla="*/ 2369061 w 6020019"/>
              <a:gd name="connsiteY3" fmla="*/ 71956 h 2271708"/>
              <a:gd name="connsiteX4" fmla="*/ 3063996 w 6020019"/>
              <a:gd name="connsiteY4" fmla="*/ 132095 h 2271708"/>
              <a:gd name="connsiteX5" fmla="*/ 4206698 w 6020019"/>
              <a:gd name="connsiteY5" fmla="*/ 94439 h 2271708"/>
              <a:gd name="connsiteX6" fmla="*/ 4996704 w 6020019"/>
              <a:gd name="connsiteY6" fmla="*/ 17065 h 2271708"/>
              <a:gd name="connsiteX7" fmla="*/ 5530971 w 6020019"/>
              <a:gd name="connsiteY7" fmla="*/ 167342 h 2271708"/>
              <a:gd name="connsiteX8" fmla="*/ 6020019 w 6020019"/>
              <a:gd name="connsiteY8" fmla="*/ 399395 h 2271708"/>
              <a:gd name="connsiteX9" fmla="*/ 5725227 w 6020019"/>
              <a:gd name="connsiteY9" fmla="*/ 2074603 h 2271708"/>
              <a:gd name="connsiteX10" fmla="*/ 5576434 w 6020019"/>
              <a:gd name="connsiteY10" fmla="*/ 2097834 h 2271708"/>
              <a:gd name="connsiteX11" fmla="*/ 5327308 w 6020019"/>
              <a:gd name="connsiteY11" fmla="*/ 2271710 h 2271708"/>
              <a:gd name="connsiteX12" fmla="*/ 3313783 w 6020019"/>
              <a:gd name="connsiteY12" fmla="*/ 1594605 h 2271708"/>
              <a:gd name="connsiteX13" fmla="*/ 1352499 w 6020019"/>
              <a:gd name="connsiteY13" fmla="*/ 1614201 h 2271708"/>
              <a:gd name="connsiteX14" fmla="*/ 541731 w 6020019"/>
              <a:gd name="connsiteY14" fmla="*/ 1842467 h 2271708"/>
              <a:gd name="connsiteX15" fmla="*/ 4716 w 6020019"/>
              <a:gd name="connsiteY15" fmla="*/ 2154805 h 2271708"/>
              <a:gd name="connsiteX0" fmla="*/ 4716 w 6020019"/>
              <a:gd name="connsiteY0" fmla="*/ 2154805 h 2271708"/>
              <a:gd name="connsiteX1" fmla="*/ 662321 w 6020019"/>
              <a:gd name="connsiteY1" fmla="*/ 1132017 h 2271708"/>
              <a:gd name="connsiteX2" fmla="*/ 1469515 w 6020019"/>
              <a:gd name="connsiteY2" fmla="*/ 536194 h 2271708"/>
              <a:gd name="connsiteX3" fmla="*/ 2369061 w 6020019"/>
              <a:gd name="connsiteY3" fmla="*/ 71956 h 2271708"/>
              <a:gd name="connsiteX4" fmla="*/ 3063996 w 6020019"/>
              <a:gd name="connsiteY4" fmla="*/ 132095 h 2271708"/>
              <a:gd name="connsiteX5" fmla="*/ 4206698 w 6020019"/>
              <a:gd name="connsiteY5" fmla="*/ 94439 h 2271708"/>
              <a:gd name="connsiteX6" fmla="*/ 4996704 w 6020019"/>
              <a:gd name="connsiteY6" fmla="*/ 17065 h 2271708"/>
              <a:gd name="connsiteX7" fmla="*/ 5530971 w 6020019"/>
              <a:gd name="connsiteY7" fmla="*/ 167342 h 2271708"/>
              <a:gd name="connsiteX8" fmla="*/ 6020019 w 6020019"/>
              <a:gd name="connsiteY8" fmla="*/ 399395 h 2271708"/>
              <a:gd name="connsiteX9" fmla="*/ 5725227 w 6020019"/>
              <a:gd name="connsiteY9" fmla="*/ 2074603 h 2271708"/>
              <a:gd name="connsiteX10" fmla="*/ 5576434 w 6020019"/>
              <a:gd name="connsiteY10" fmla="*/ 2097834 h 2271708"/>
              <a:gd name="connsiteX11" fmla="*/ 5327308 w 6020019"/>
              <a:gd name="connsiteY11" fmla="*/ 2271710 h 2271708"/>
              <a:gd name="connsiteX12" fmla="*/ 3313783 w 6020019"/>
              <a:gd name="connsiteY12" fmla="*/ 1594605 h 2271708"/>
              <a:gd name="connsiteX13" fmla="*/ 1352499 w 6020019"/>
              <a:gd name="connsiteY13" fmla="*/ 1614201 h 2271708"/>
              <a:gd name="connsiteX14" fmla="*/ 541731 w 6020019"/>
              <a:gd name="connsiteY14" fmla="*/ 1842467 h 2271708"/>
              <a:gd name="connsiteX15" fmla="*/ 4716 w 6020019"/>
              <a:gd name="connsiteY15" fmla="*/ 2154805 h 2271708"/>
              <a:gd name="connsiteX0" fmla="*/ 4716 w 6020019"/>
              <a:gd name="connsiteY0" fmla="*/ 2154805 h 2271708"/>
              <a:gd name="connsiteX1" fmla="*/ 662321 w 6020019"/>
              <a:gd name="connsiteY1" fmla="*/ 1132017 h 2271708"/>
              <a:gd name="connsiteX2" fmla="*/ 1469515 w 6020019"/>
              <a:gd name="connsiteY2" fmla="*/ 536194 h 2271708"/>
              <a:gd name="connsiteX3" fmla="*/ 2369061 w 6020019"/>
              <a:gd name="connsiteY3" fmla="*/ 71956 h 2271708"/>
              <a:gd name="connsiteX4" fmla="*/ 3063996 w 6020019"/>
              <a:gd name="connsiteY4" fmla="*/ 132095 h 2271708"/>
              <a:gd name="connsiteX5" fmla="*/ 4206698 w 6020019"/>
              <a:gd name="connsiteY5" fmla="*/ 94439 h 2271708"/>
              <a:gd name="connsiteX6" fmla="*/ 4996704 w 6020019"/>
              <a:gd name="connsiteY6" fmla="*/ 17065 h 2271708"/>
              <a:gd name="connsiteX7" fmla="*/ 5530971 w 6020019"/>
              <a:gd name="connsiteY7" fmla="*/ 167342 h 2271708"/>
              <a:gd name="connsiteX8" fmla="*/ 6020019 w 6020019"/>
              <a:gd name="connsiteY8" fmla="*/ 399395 h 2271708"/>
              <a:gd name="connsiteX9" fmla="*/ 5725227 w 6020019"/>
              <a:gd name="connsiteY9" fmla="*/ 2074603 h 2271708"/>
              <a:gd name="connsiteX10" fmla="*/ 5576434 w 6020019"/>
              <a:gd name="connsiteY10" fmla="*/ 2097834 h 2271708"/>
              <a:gd name="connsiteX11" fmla="*/ 5327308 w 6020019"/>
              <a:gd name="connsiteY11" fmla="*/ 2271710 h 2271708"/>
              <a:gd name="connsiteX12" fmla="*/ 3313783 w 6020019"/>
              <a:gd name="connsiteY12" fmla="*/ 1594605 h 2271708"/>
              <a:gd name="connsiteX13" fmla="*/ 1352499 w 6020019"/>
              <a:gd name="connsiteY13" fmla="*/ 1614201 h 2271708"/>
              <a:gd name="connsiteX14" fmla="*/ 541731 w 6020019"/>
              <a:gd name="connsiteY14" fmla="*/ 1842467 h 2271708"/>
              <a:gd name="connsiteX15" fmla="*/ 4716 w 6020019"/>
              <a:gd name="connsiteY15" fmla="*/ 2154805 h 2271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20019" h="2271708">
                <a:moveTo>
                  <a:pt x="4716" y="2154805"/>
                </a:moveTo>
                <a:cubicBezTo>
                  <a:pt x="246756" y="1560557"/>
                  <a:pt x="451489" y="1628190"/>
                  <a:pt x="662321" y="1132017"/>
                </a:cubicBezTo>
                <a:cubicBezTo>
                  <a:pt x="918263" y="880186"/>
                  <a:pt x="1266355" y="581079"/>
                  <a:pt x="1469515" y="536194"/>
                </a:cubicBezTo>
                <a:cubicBezTo>
                  <a:pt x="1751852" y="367791"/>
                  <a:pt x="2109707" y="146964"/>
                  <a:pt x="2369061" y="71956"/>
                </a:cubicBezTo>
                <a:cubicBezTo>
                  <a:pt x="2634392" y="147369"/>
                  <a:pt x="2801787" y="-167731"/>
                  <a:pt x="3063996" y="132095"/>
                </a:cubicBezTo>
                <a:cubicBezTo>
                  <a:pt x="3437246" y="16071"/>
                  <a:pt x="3818840" y="41252"/>
                  <a:pt x="4206698" y="94439"/>
                </a:cubicBezTo>
                <a:cubicBezTo>
                  <a:pt x="4395748" y="330413"/>
                  <a:pt x="4773826" y="172809"/>
                  <a:pt x="4996704" y="17065"/>
                </a:cubicBezTo>
                <a:cubicBezTo>
                  <a:pt x="5217416" y="29215"/>
                  <a:pt x="5360008" y="118267"/>
                  <a:pt x="5530971" y="167342"/>
                </a:cubicBezTo>
                <a:cubicBezTo>
                  <a:pt x="5839828" y="509307"/>
                  <a:pt x="5924010" y="277194"/>
                  <a:pt x="6020019" y="399395"/>
                </a:cubicBezTo>
                <a:cubicBezTo>
                  <a:pt x="5721536" y="2086604"/>
                  <a:pt x="6007251" y="444480"/>
                  <a:pt x="5725227" y="2074603"/>
                </a:cubicBezTo>
                <a:cubicBezTo>
                  <a:pt x="5663303" y="2047300"/>
                  <a:pt x="5671210" y="2086479"/>
                  <a:pt x="5576434" y="2097834"/>
                </a:cubicBezTo>
                <a:cubicBezTo>
                  <a:pt x="5502021" y="2057164"/>
                  <a:pt x="5431621" y="2082925"/>
                  <a:pt x="5327308" y="2271710"/>
                </a:cubicBezTo>
                <a:cubicBezTo>
                  <a:pt x="4669060" y="1852645"/>
                  <a:pt x="4200225" y="1877091"/>
                  <a:pt x="3313783" y="1594605"/>
                </a:cubicBezTo>
                <a:cubicBezTo>
                  <a:pt x="2631959" y="1537301"/>
                  <a:pt x="1823369" y="1681002"/>
                  <a:pt x="1352499" y="1614201"/>
                </a:cubicBezTo>
                <a:cubicBezTo>
                  <a:pt x="901349" y="1853916"/>
                  <a:pt x="769288" y="1784192"/>
                  <a:pt x="541731" y="1842467"/>
                </a:cubicBezTo>
                <a:cubicBezTo>
                  <a:pt x="18086" y="2107610"/>
                  <a:pt x="-17253" y="2319490"/>
                  <a:pt x="4716" y="2154805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DFA088B5-4544-CBA8-88AE-ABDF7CDB19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sidual Risks Persist Despite GDMT </a:t>
            </a:r>
          </a:p>
        </p:txBody>
      </p:sp>
      <p:sp>
        <p:nvSpPr>
          <p:cNvPr id="10" name="EMPEROR Title Block">
            <a:extLst>
              <a:ext uri="{FF2B5EF4-FFF2-40B4-BE49-F238E27FC236}">
                <a16:creationId xmlns:a16="http://schemas.microsoft.com/office/drawing/2014/main" id="{D2955245-E100-CC42-07AA-88EF0175A667}"/>
              </a:ext>
            </a:extLst>
          </p:cNvPr>
          <p:cNvSpPr txBox="1"/>
          <p:nvPr/>
        </p:nvSpPr>
        <p:spPr>
          <a:xfrm>
            <a:off x="7108255" y="5426535"/>
            <a:ext cx="461042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549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SGLT2i Therapy: EMPEROR-Reduced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549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 2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549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54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Jardiance™ vs. Placebo)</a:t>
            </a:r>
          </a:p>
        </p:txBody>
      </p:sp>
      <p:sp>
        <p:nvSpPr>
          <p:cNvPr id="14" name="PARADIGM Title Block">
            <a:extLst>
              <a:ext uri="{FF2B5EF4-FFF2-40B4-BE49-F238E27FC236}">
                <a16:creationId xmlns:a16="http://schemas.microsoft.com/office/drawing/2014/main" id="{2D082809-E9F3-E9F1-CFFF-A5D73CB3E0ED}"/>
              </a:ext>
            </a:extLst>
          </p:cNvPr>
          <p:cNvSpPr txBox="1"/>
          <p:nvPr/>
        </p:nvSpPr>
        <p:spPr>
          <a:xfrm>
            <a:off x="1073215" y="5438969"/>
            <a:ext cx="5669279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549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ARNI Therapy: PARADIGM-HF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549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549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54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Entresto™ vs. Enalapril)</a:t>
            </a:r>
          </a:p>
        </p:txBody>
      </p:sp>
      <p:sp>
        <p:nvSpPr>
          <p:cNvPr id="11" name="Graph Title">
            <a:extLst>
              <a:ext uri="{FF2B5EF4-FFF2-40B4-BE49-F238E27FC236}">
                <a16:creationId xmlns:a16="http://schemas.microsoft.com/office/drawing/2014/main" id="{E4038D3C-8A9E-1B73-60C1-2EAA22995B76}"/>
              </a:ext>
            </a:extLst>
          </p:cNvPr>
          <p:cNvSpPr txBox="1"/>
          <p:nvPr/>
        </p:nvSpPr>
        <p:spPr>
          <a:xfrm>
            <a:off x="3473253" y="1386859"/>
            <a:ext cx="622392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7325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me to first occurrence of CV Death or HF Hospitalization</a:t>
            </a:r>
          </a:p>
        </p:txBody>
      </p:sp>
      <p:sp>
        <p:nvSpPr>
          <p:cNvPr id="84" name="Time X-axis title (large)">
            <a:extLst>
              <a:ext uri="{FF2B5EF4-FFF2-40B4-BE49-F238E27FC236}">
                <a16:creationId xmlns:a16="http://schemas.microsoft.com/office/drawing/2014/main" id="{1E9666D1-1593-37D2-4CCF-7071F63CD373}"/>
              </a:ext>
            </a:extLst>
          </p:cNvPr>
          <p:cNvSpPr txBox="1"/>
          <p:nvPr/>
        </p:nvSpPr>
        <p:spPr>
          <a:xfrm>
            <a:off x="1073216" y="5130638"/>
            <a:ext cx="56692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7325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me since randomization (months)</a:t>
            </a:r>
          </a:p>
        </p:txBody>
      </p:sp>
      <p:sp>
        <p:nvSpPr>
          <p:cNvPr id="86" name="Time X-axis title">
            <a:extLst>
              <a:ext uri="{FF2B5EF4-FFF2-40B4-BE49-F238E27FC236}">
                <a16:creationId xmlns:a16="http://schemas.microsoft.com/office/drawing/2014/main" id="{DBC1EF9B-820A-8992-A0C9-40B057E42570}"/>
              </a:ext>
            </a:extLst>
          </p:cNvPr>
          <p:cNvSpPr txBox="1"/>
          <p:nvPr/>
        </p:nvSpPr>
        <p:spPr>
          <a:xfrm>
            <a:off x="7467178" y="5104805"/>
            <a:ext cx="40137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7325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me since randomization (months)</a:t>
            </a:r>
          </a:p>
        </p:txBody>
      </p:sp>
      <p:sp>
        <p:nvSpPr>
          <p:cNvPr id="88" name="KM Y axis title">
            <a:extLst>
              <a:ext uri="{FF2B5EF4-FFF2-40B4-BE49-F238E27FC236}">
                <a16:creationId xmlns:a16="http://schemas.microsoft.com/office/drawing/2014/main" id="{E1295DB2-F4F5-FA48-CE30-134B5C3981C7}"/>
              </a:ext>
            </a:extLst>
          </p:cNvPr>
          <p:cNvSpPr txBox="1"/>
          <p:nvPr/>
        </p:nvSpPr>
        <p:spPr>
          <a:xfrm rot="16200000">
            <a:off x="-1045542" y="2996506"/>
            <a:ext cx="321087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7325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M Estimate of Events (%)</a:t>
            </a:r>
          </a:p>
        </p:txBody>
      </p:sp>
      <p:pic>
        <p:nvPicPr>
          <p:cNvPr id="2" name="Graphs (combined)">
            <a:extLst>
              <a:ext uri="{FF2B5EF4-FFF2-40B4-BE49-F238E27FC236}">
                <a16:creationId xmlns:a16="http://schemas.microsoft.com/office/drawing/2014/main" id="{C62C53CB-FDA7-DF67-BA7D-232DE14F9D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894" y="1350667"/>
            <a:ext cx="11571211" cy="3822523"/>
          </a:xfrm>
          <a:prstGeom prst="rect">
            <a:avLst/>
          </a:prstGeom>
        </p:spPr>
      </p:pic>
      <p:sp>
        <p:nvSpPr>
          <p:cNvPr id="3" name="Mortallity AOC - PARADIGM">
            <a:extLst>
              <a:ext uri="{FF2B5EF4-FFF2-40B4-BE49-F238E27FC236}">
                <a16:creationId xmlns:a16="http://schemas.microsoft.com/office/drawing/2014/main" id="{BEB5427F-596C-ADC7-EEA0-52BAB47AB3FB}"/>
              </a:ext>
            </a:extLst>
          </p:cNvPr>
          <p:cNvSpPr/>
          <p:nvPr/>
        </p:nvSpPr>
        <p:spPr>
          <a:xfrm>
            <a:off x="1153254" y="2401634"/>
            <a:ext cx="5593149" cy="2308219"/>
          </a:xfrm>
          <a:custGeom>
            <a:avLst/>
            <a:gdLst>
              <a:gd name="connsiteX0" fmla="*/ 0 w 6361043"/>
              <a:gd name="connsiteY0" fmla="*/ 2538738 h 2538738"/>
              <a:gd name="connsiteX1" fmla="*/ 6116843 w 6361043"/>
              <a:gd name="connsiteY1" fmla="*/ 0 h 2538738"/>
              <a:gd name="connsiteX2" fmla="*/ 6361043 w 6361043"/>
              <a:gd name="connsiteY2" fmla="*/ 2538738 h 2538738"/>
              <a:gd name="connsiteX3" fmla="*/ 0 w 6361043"/>
              <a:gd name="connsiteY3" fmla="*/ 2538738 h 2538738"/>
              <a:gd name="connsiteX0" fmla="*/ 0 w 6361043"/>
              <a:gd name="connsiteY0" fmla="*/ 2538738 h 2538738"/>
              <a:gd name="connsiteX1" fmla="*/ 1550505 w 6361043"/>
              <a:gd name="connsiteY1" fmla="*/ 1709529 h 2538738"/>
              <a:gd name="connsiteX2" fmla="*/ 6116843 w 6361043"/>
              <a:gd name="connsiteY2" fmla="*/ 0 h 2538738"/>
              <a:gd name="connsiteX3" fmla="*/ 6361043 w 6361043"/>
              <a:gd name="connsiteY3" fmla="*/ 2538738 h 2538738"/>
              <a:gd name="connsiteX4" fmla="*/ 0 w 6361043"/>
              <a:gd name="connsiteY4" fmla="*/ 2538738 h 2538738"/>
              <a:gd name="connsiteX0" fmla="*/ 0 w 6361043"/>
              <a:gd name="connsiteY0" fmla="*/ 2538738 h 2538738"/>
              <a:gd name="connsiteX1" fmla="*/ 1550505 w 6361043"/>
              <a:gd name="connsiteY1" fmla="*/ 1709529 h 2538738"/>
              <a:gd name="connsiteX2" fmla="*/ 2907907 w 6361043"/>
              <a:gd name="connsiteY2" fmla="*/ 1113181 h 2538738"/>
              <a:gd name="connsiteX3" fmla="*/ 6116843 w 6361043"/>
              <a:gd name="connsiteY3" fmla="*/ 0 h 2538738"/>
              <a:gd name="connsiteX4" fmla="*/ 6361043 w 6361043"/>
              <a:gd name="connsiteY4" fmla="*/ 2538738 h 2538738"/>
              <a:gd name="connsiteX5" fmla="*/ 0 w 6361043"/>
              <a:gd name="connsiteY5" fmla="*/ 2538738 h 2538738"/>
              <a:gd name="connsiteX0" fmla="*/ 0 w 6361043"/>
              <a:gd name="connsiteY0" fmla="*/ 2470584 h 2470584"/>
              <a:gd name="connsiteX1" fmla="*/ 1550505 w 6361043"/>
              <a:gd name="connsiteY1" fmla="*/ 1641375 h 2470584"/>
              <a:gd name="connsiteX2" fmla="*/ 2907907 w 6361043"/>
              <a:gd name="connsiteY2" fmla="*/ 1045027 h 2470584"/>
              <a:gd name="connsiteX3" fmla="*/ 6099804 w 6361043"/>
              <a:gd name="connsiteY3" fmla="*/ 0 h 2470584"/>
              <a:gd name="connsiteX4" fmla="*/ 6361043 w 6361043"/>
              <a:gd name="connsiteY4" fmla="*/ 2470584 h 2470584"/>
              <a:gd name="connsiteX5" fmla="*/ 0 w 6361043"/>
              <a:gd name="connsiteY5" fmla="*/ 2470584 h 2470584"/>
              <a:gd name="connsiteX0" fmla="*/ 0 w 6099804"/>
              <a:gd name="connsiteY0" fmla="*/ 2470584 h 2470584"/>
              <a:gd name="connsiteX1" fmla="*/ 1550505 w 6099804"/>
              <a:gd name="connsiteY1" fmla="*/ 1641375 h 2470584"/>
              <a:gd name="connsiteX2" fmla="*/ 2907907 w 6099804"/>
              <a:gd name="connsiteY2" fmla="*/ 1045027 h 2470584"/>
              <a:gd name="connsiteX3" fmla="*/ 6099804 w 6099804"/>
              <a:gd name="connsiteY3" fmla="*/ 0 h 2470584"/>
              <a:gd name="connsiteX4" fmla="*/ 6003234 w 6099804"/>
              <a:gd name="connsiteY4" fmla="*/ 2447866 h 2470584"/>
              <a:gd name="connsiteX5" fmla="*/ 0 w 6099804"/>
              <a:gd name="connsiteY5" fmla="*/ 2470584 h 2470584"/>
              <a:gd name="connsiteX0" fmla="*/ 0 w 6003234"/>
              <a:gd name="connsiteY0" fmla="*/ 2413789 h 2413789"/>
              <a:gd name="connsiteX1" fmla="*/ 1550505 w 6003234"/>
              <a:gd name="connsiteY1" fmla="*/ 1584580 h 2413789"/>
              <a:gd name="connsiteX2" fmla="*/ 2907907 w 6003234"/>
              <a:gd name="connsiteY2" fmla="*/ 988232 h 2413789"/>
              <a:gd name="connsiteX3" fmla="*/ 5969176 w 6003234"/>
              <a:gd name="connsiteY3" fmla="*/ 0 h 2413789"/>
              <a:gd name="connsiteX4" fmla="*/ 6003234 w 6003234"/>
              <a:gd name="connsiteY4" fmla="*/ 2391071 h 2413789"/>
              <a:gd name="connsiteX5" fmla="*/ 0 w 6003234"/>
              <a:gd name="connsiteY5" fmla="*/ 2413789 h 2413789"/>
              <a:gd name="connsiteX0" fmla="*/ 0 w 6003234"/>
              <a:gd name="connsiteY0" fmla="*/ 2413789 h 2413789"/>
              <a:gd name="connsiteX1" fmla="*/ 1550505 w 6003234"/>
              <a:gd name="connsiteY1" fmla="*/ 1584580 h 2413789"/>
              <a:gd name="connsiteX2" fmla="*/ 2907907 w 6003234"/>
              <a:gd name="connsiteY2" fmla="*/ 988232 h 2413789"/>
              <a:gd name="connsiteX3" fmla="*/ 5986215 w 6003234"/>
              <a:gd name="connsiteY3" fmla="*/ 0 h 2413789"/>
              <a:gd name="connsiteX4" fmla="*/ 6003234 w 6003234"/>
              <a:gd name="connsiteY4" fmla="*/ 2391071 h 2413789"/>
              <a:gd name="connsiteX5" fmla="*/ 0 w 6003234"/>
              <a:gd name="connsiteY5" fmla="*/ 2413789 h 2413789"/>
              <a:gd name="connsiteX0" fmla="*/ 0 w 6003234"/>
              <a:gd name="connsiteY0" fmla="*/ 2413789 h 2413789"/>
              <a:gd name="connsiteX1" fmla="*/ 1550505 w 6003234"/>
              <a:gd name="connsiteY1" fmla="*/ 1584580 h 2413789"/>
              <a:gd name="connsiteX2" fmla="*/ 2907907 w 6003234"/>
              <a:gd name="connsiteY2" fmla="*/ 988232 h 2413789"/>
              <a:gd name="connsiteX3" fmla="*/ 5986215 w 6003234"/>
              <a:gd name="connsiteY3" fmla="*/ 0 h 2413789"/>
              <a:gd name="connsiteX4" fmla="*/ 6003234 w 6003234"/>
              <a:gd name="connsiteY4" fmla="*/ 2391071 h 2413789"/>
              <a:gd name="connsiteX5" fmla="*/ 0 w 6003234"/>
              <a:gd name="connsiteY5" fmla="*/ 2413789 h 2413789"/>
              <a:gd name="connsiteX0" fmla="*/ 0 w 6188838"/>
              <a:gd name="connsiteY0" fmla="*/ 2413789 h 2413789"/>
              <a:gd name="connsiteX1" fmla="*/ 1736109 w 6188838"/>
              <a:gd name="connsiteY1" fmla="*/ 1584580 h 2413789"/>
              <a:gd name="connsiteX2" fmla="*/ 3093511 w 6188838"/>
              <a:gd name="connsiteY2" fmla="*/ 988232 h 2413789"/>
              <a:gd name="connsiteX3" fmla="*/ 6171819 w 6188838"/>
              <a:gd name="connsiteY3" fmla="*/ 0 h 2413789"/>
              <a:gd name="connsiteX4" fmla="*/ 6188838 w 6188838"/>
              <a:gd name="connsiteY4" fmla="*/ 2391071 h 2413789"/>
              <a:gd name="connsiteX5" fmla="*/ 0 w 6188838"/>
              <a:gd name="connsiteY5" fmla="*/ 2413789 h 2413789"/>
              <a:gd name="connsiteX0" fmla="*/ 0 w 6188838"/>
              <a:gd name="connsiteY0" fmla="*/ 2413789 h 2413789"/>
              <a:gd name="connsiteX1" fmla="*/ 1736109 w 6188838"/>
              <a:gd name="connsiteY1" fmla="*/ 1584580 h 2413789"/>
              <a:gd name="connsiteX2" fmla="*/ 3093511 w 6188838"/>
              <a:gd name="connsiteY2" fmla="*/ 988232 h 2413789"/>
              <a:gd name="connsiteX3" fmla="*/ 6171819 w 6188838"/>
              <a:gd name="connsiteY3" fmla="*/ 0 h 2413789"/>
              <a:gd name="connsiteX4" fmla="*/ 6188838 w 6188838"/>
              <a:gd name="connsiteY4" fmla="*/ 2391071 h 2413789"/>
              <a:gd name="connsiteX5" fmla="*/ 0 w 6188838"/>
              <a:gd name="connsiteY5" fmla="*/ 2413789 h 2413789"/>
              <a:gd name="connsiteX0" fmla="*/ 332997 w 6521835"/>
              <a:gd name="connsiteY0" fmla="*/ 2413789 h 2413789"/>
              <a:gd name="connsiteX1" fmla="*/ 955524 w 6521835"/>
              <a:gd name="connsiteY1" fmla="*/ 2021893 h 2413789"/>
              <a:gd name="connsiteX2" fmla="*/ 2069106 w 6521835"/>
              <a:gd name="connsiteY2" fmla="*/ 1584580 h 2413789"/>
              <a:gd name="connsiteX3" fmla="*/ 3426508 w 6521835"/>
              <a:gd name="connsiteY3" fmla="*/ 988232 h 2413789"/>
              <a:gd name="connsiteX4" fmla="*/ 6504816 w 6521835"/>
              <a:gd name="connsiteY4" fmla="*/ 0 h 2413789"/>
              <a:gd name="connsiteX5" fmla="*/ 6521835 w 6521835"/>
              <a:gd name="connsiteY5" fmla="*/ 2391071 h 2413789"/>
              <a:gd name="connsiteX6" fmla="*/ 332997 w 6521835"/>
              <a:gd name="connsiteY6" fmla="*/ 2413789 h 2413789"/>
              <a:gd name="connsiteX0" fmla="*/ 0 w 6188838"/>
              <a:gd name="connsiteY0" fmla="*/ 2413789 h 2413789"/>
              <a:gd name="connsiteX1" fmla="*/ 622527 w 6188838"/>
              <a:gd name="connsiteY1" fmla="*/ 2021893 h 2413789"/>
              <a:gd name="connsiteX2" fmla="*/ 1736109 w 6188838"/>
              <a:gd name="connsiteY2" fmla="*/ 1584580 h 2413789"/>
              <a:gd name="connsiteX3" fmla="*/ 3093511 w 6188838"/>
              <a:gd name="connsiteY3" fmla="*/ 988232 h 2413789"/>
              <a:gd name="connsiteX4" fmla="*/ 6171819 w 6188838"/>
              <a:gd name="connsiteY4" fmla="*/ 0 h 2413789"/>
              <a:gd name="connsiteX5" fmla="*/ 6188838 w 6188838"/>
              <a:gd name="connsiteY5" fmla="*/ 2391071 h 2413789"/>
              <a:gd name="connsiteX6" fmla="*/ 0 w 6188838"/>
              <a:gd name="connsiteY6" fmla="*/ 2413789 h 2413789"/>
              <a:gd name="connsiteX0" fmla="*/ 0 w 6188838"/>
              <a:gd name="connsiteY0" fmla="*/ 2413789 h 2413789"/>
              <a:gd name="connsiteX1" fmla="*/ 622527 w 6188838"/>
              <a:gd name="connsiteY1" fmla="*/ 2021893 h 2413789"/>
              <a:gd name="connsiteX2" fmla="*/ 1736109 w 6188838"/>
              <a:gd name="connsiteY2" fmla="*/ 1584580 h 2413789"/>
              <a:gd name="connsiteX3" fmla="*/ 3093511 w 6188838"/>
              <a:gd name="connsiteY3" fmla="*/ 988232 h 2413789"/>
              <a:gd name="connsiteX4" fmla="*/ 6171819 w 6188838"/>
              <a:gd name="connsiteY4" fmla="*/ 0 h 2413789"/>
              <a:gd name="connsiteX5" fmla="*/ 6188838 w 6188838"/>
              <a:gd name="connsiteY5" fmla="*/ 2391071 h 2413789"/>
              <a:gd name="connsiteX6" fmla="*/ 0 w 6188838"/>
              <a:gd name="connsiteY6" fmla="*/ 2413789 h 2413789"/>
              <a:gd name="connsiteX0" fmla="*/ 0 w 6188838"/>
              <a:gd name="connsiteY0" fmla="*/ 2413789 h 2413789"/>
              <a:gd name="connsiteX1" fmla="*/ 622527 w 6188838"/>
              <a:gd name="connsiteY1" fmla="*/ 2021893 h 2413789"/>
              <a:gd name="connsiteX2" fmla="*/ 1736109 w 6188838"/>
              <a:gd name="connsiteY2" fmla="*/ 1584580 h 2413789"/>
              <a:gd name="connsiteX3" fmla="*/ 3093511 w 6188838"/>
              <a:gd name="connsiteY3" fmla="*/ 988232 h 2413789"/>
              <a:gd name="connsiteX4" fmla="*/ 6171819 w 6188838"/>
              <a:gd name="connsiteY4" fmla="*/ 0 h 2413789"/>
              <a:gd name="connsiteX5" fmla="*/ 6188838 w 6188838"/>
              <a:gd name="connsiteY5" fmla="*/ 2391071 h 2413789"/>
              <a:gd name="connsiteX6" fmla="*/ 0 w 6188838"/>
              <a:gd name="connsiteY6" fmla="*/ 2413789 h 2413789"/>
              <a:gd name="connsiteX0" fmla="*/ 0 w 6188838"/>
              <a:gd name="connsiteY0" fmla="*/ 2413789 h 2413789"/>
              <a:gd name="connsiteX1" fmla="*/ 680142 w 6188838"/>
              <a:gd name="connsiteY1" fmla="*/ 2021893 h 2413789"/>
              <a:gd name="connsiteX2" fmla="*/ 1736109 w 6188838"/>
              <a:gd name="connsiteY2" fmla="*/ 1584580 h 2413789"/>
              <a:gd name="connsiteX3" fmla="*/ 3093511 w 6188838"/>
              <a:gd name="connsiteY3" fmla="*/ 988232 h 2413789"/>
              <a:gd name="connsiteX4" fmla="*/ 6171819 w 6188838"/>
              <a:gd name="connsiteY4" fmla="*/ 0 h 2413789"/>
              <a:gd name="connsiteX5" fmla="*/ 6188838 w 6188838"/>
              <a:gd name="connsiteY5" fmla="*/ 2391071 h 2413789"/>
              <a:gd name="connsiteX6" fmla="*/ 0 w 6188838"/>
              <a:gd name="connsiteY6" fmla="*/ 2413789 h 2413789"/>
              <a:gd name="connsiteX0" fmla="*/ 0 w 6188838"/>
              <a:gd name="connsiteY0" fmla="*/ 2413789 h 2413789"/>
              <a:gd name="connsiteX1" fmla="*/ 680142 w 6188838"/>
              <a:gd name="connsiteY1" fmla="*/ 2021893 h 2413789"/>
              <a:gd name="connsiteX2" fmla="*/ 1048375 w 6188838"/>
              <a:gd name="connsiteY2" fmla="*/ 1766546 h 2413789"/>
              <a:gd name="connsiteX3" fmla="*/ 1736109 w 6188838"/>
              <a:gd name="connsiteY3" fmla="*/ 1584580 h 2413789"/>
              <a:gd name="connsiteX4" fmla="*/ 3093511 w 6188838"/>
              <a:gd name="connsiteY4" fmla="*/ 988232 h 2413789"/>
              <a:gd name="connsiteX5" fmla="*/ 6171819 w 6188838"/>
              <a:gd name="connsiteY5" fmla="*/ 0 h 2413789"/>
              <a:gd name="connsiteX6" fmla="*/ 6188838 w 6188838"/>
              <a:gd name="connsiteY6" fmla="*/ 2391071 h 2413789"/>
              <a:gd name="connsiteX7" fmla="*/ 0 w 6188838"/>
              <a:gd name="connsiteY7" fmla="*/ 2413789 h 2413789"/>
              <a:gd name="connsiteX0" fmla="*/ 0 w 6188838"/>
              <a:gd name="connsiteY0" fmla="*/ 2413789 h 2413789"/>
              <a:gd name="connsiteX1" fmla="*/ 680142 w 6188838"/>
              <a:gd name="connsiteY1" fmla="*/ 2021893 h 2413789"/>
              <a:gd name="connsiteX2" fmla="*/ 1048375 w 6188838"/>
              <a:gd name="connsiteY2" fmla="*/ 1766546 h 2413789"/>
              <a:gd name="connsiteX3" fmla="*/ 1736109 w 6188838"/>
              <a:gd name="connsiteY3" fmla="*/ 1584580 h 2413789"/>
              <a:gd name="connsiteX4" fmla="*/ 3093511 w 6188838"/>
              <a:gd name="connsiteY4" fmla="*/ 988232 h 2413789"/>
              <a:gd name="connsiteX5" fmla="*/ 6171819 w 6188838"/>
              <a:gd name="connsiteY5" fmla="*/ 0 h 2413789"/>
              <a:gd name="connsiteX6" fmla="*/ 6188838 w 6188838"/>
              <a:gd name="connsiteY6" fmla="*/ 2391071 h 2413789"/>
              <a:gd name="connsiteX7" fmla="*/ 0 w 6188838"/>
              <a:gd name="connsiteY7" fmla="*/ 2413789 h 2413789"/>
              <a:gd name="connsiteX0" fmla="*/ 0 w 6188838"/>
              <a:gd name="connsiteY0" fmla="*/ 2413789 h 2413789"/>
              <a:gd name="connsiteX1" fmla="*/ 680142 w 6188838"/>
              <a:gd name="connsiteY1" fmla="*/ 2021893 h 2413789"/>
              <a:gd name="connsiteX2" fmla="*/ 1048375 w 6188838"/>
              <a:gd name="connsiteY2" fmla="*/ 1766546 h 2413789"/>
              <a:gd name="connsiteX3" fmla="*/ 1698534 w 6188838"/>
              <a:gd name="connsiteY3" fmla="*/ 1501101 h 2413789"/>
              <a:gd name="connsiteX4" fmla="*/ 3093511 w 6188838"/>
              <a:gd name="connsiteY4" fmla="*/ 988232 h 2413789"/>
              <a:gd name="connsiteX5" fmla="*/ 6171819 w 6188838"/>
              <a:gd name="connsiteY5" fmla="*/ 0 h 2413789"/>
              <a:gd name="connsiteX6" fmla="*/ 6188838 w 6188838"/>
              <a:gd name="connsiteY6" fmla="*/ 2391071 h 2413789"/>
              <a:gd name="connsiteX7" fmla="*/ 0 w 6188838"/>
              <a:gd name="connsiteY7" fmla="*/ 2413789 h 2413789"/>
              <a:gd name="connsiteX0" fmla="*/ 0 w 6188838"/>
              <a:gd name="connsiteY0" fmla="*/ 2413789 h 2413789"/>
              <a:gd name="connsiteX1" fmla="*/ 680142 w 6188838"/>
              <a:gd name="connsiteY1" fmla="*/ 2021893 h 2413789"/>
              <a:gd name="connsiteX2" fmla="*/ 1048375 w 6188838"/>
              <a:gd name="connsiteY2" fmla="*/ 1766546 h 2413789"/>
              <a:gd name="connsiteX3" fmla="*/ 1698534 w 6188838"/>
              <a:gd name="connsiteY3" fmla="*/ 1501101 h 2413789"/>
              <a:gd name="connsiteX4" fmla="*/ 2305876 w 6188838"/>
              <a:gd name="connsiteY4" fmla="*/ 1214111 h 2413789"/>
              <a:gd name="connsiteX5" fmla="*/ 3093511 w 6188838"/>
              <a:gd name="connsiteY5" fmla="*/ 988232 h 2413789"/>
              <a:gd name="connsiteX6" fmla="*/ 6171819 w 6188838"/>
              <a:gd name="connsiteY6" fmla="*/ 0 h 2413789"/>
              <a:gd name="connsiteX7" fmla="*/ 6188838 w 6188838"/>
              <a:gd name="connsiteY7" fmla="*/ 2391071 h 2413789"/>
              <a:gd name="connsiteX8" fmla="*/ 0 w 6188838"/>
              <a:gd name="connsiteY8" fmla="*/ 2413789 h 2413789"/>
              <a:gd name="connsiteX0" fmla="*/ 0 w 6188838"/>
              <a:gd name="connsiteY0" fmla="*/ 2413789 h 2413789"/>
              <a:gd name="connsiteX1" fmla="*/ 680142 w 6188838"/>
              <a:gd name="connsiteY1" fmla="*/ 2021893 h 2413789"/>
              <a:gd name="connsiteX2" fmla="*/ 1048375 w 6188838"/>
              <a:gd name="connsiteY2" fmla="*/ 1766546 h 2413789"/>
              <a:gd name="connsiteX3" fmla="*/ 1698534 w 6188838"/>
              <a:gd name="connsiteY3" fmla="*/ 1501101 h 2413789"/>
              <a:gd name="connsiteX4" fmla="*/ 2305876 w 6188838"/>
              <a:gd name="connsiteY4" fmla="*/ 1214111 h 2413789"/>
              <a:gd name="connsiteX5" fmla="*/ 2784328 w 6188838"/>
              <a:gd name="connsiteY5" fmla="*/ 1034877 h 2413789"/>
              <a:gd name="connsiteX6" fmla="*/ 3093511 w 6188838"/>
              <a:gd name="connsiteY6" fmla="*/ 988232 h 2413789"/>
              <a:gd name="connsiteX7" fmla="*/ 6171819 w 6188838"/>
              <a:gd name="connsiteY7" fmla="*/ 0 h 2413789"/>
              <a:gd name="connsiteX8" fmla="*/ 6188838 w 6188838"/>
              <a:gd name="connsiteY8" fmla="*/ 2391071 h 2413789"/>
              <a:gd name="connsiteX9" fmla="*/ 0 w 6188838"/>
              <a:gd name="connsiteY9" fmla="*/ 2413789 h 2413789"/>
              <a:gd name="connsiteX0" fmla="*/ 0 w 6188838"/>
              <a:gd name="connsiteY0" fmla="*/ 2413789 h 2413789"/>
              <a:gd name="connsiteX1" fmla="*/ 680142 w 6188838"/>
              <a:gd name="connsiteY1" fmla="*/ 2021893 h 2413789"/>
              <a:gd name="connsiteX2" fmla="*/ 1048375 w 6188838"/>
              <a:gd name="connsiteY2" fmla="*/ 1766546 h 2413789"/>
              <a:gd name="connsiteX3" fmla="*/ 1698534 w 6188838"/>
              <a:gd name="connsiteY3" fmla="*/ 1501101 h 2413789"/>
              <a:gd name="connsiteX4" fmla="*/ 2305876 w 6188838"/>
              <a:gd name="connsiteY4" fmla="*/ 1214111 h 2413789"/>
              <a:gd name="connsiteX5" fmla="*/ 2784328 w 6188838"/>
              <a:gd name="connsiteY5" fmla="*/ 1034877 h 2413789"/>
              <a:gd name="connsiteX6" fmla="*/ 3078482 w 6188838"/>
              <a:gd name="connsiteY6" fmla="*/ 899843 h 2413789"/>
              <a:gd name="connsiteX7" fmla="*/ 6171819 w 6188838"/>
              <a:gd name="connsiteY7" fmla="*/ 0 h 2413789"/>
              <a:gd name="connsiteX8" fmla="*/ 6188838 w 6188838"/>
              <a:gd name="connsiteY8" fmla="*/ 2391071 h 2413789"/>
              <a:gd name="connsiteX9" fmla="*/ 0 w 6188838"/>
              <a:gd name="connsiteY9" fmla="*/ 2413789 h 2413789"/>
              <a:gd name="connsiteX0" fmla="*/ 0 w 6188838"/>
              <a:gd name="connsiteY0" fmla="*/ 2413789 h 2413789"/>
              <a:gd name="connsiteX1" fmla="*/ 680142 w 6188838"/>
              <a:gd name="connsiteY1" fmla="*/ 2021893 h 2413789"/>
              <a:gd name="connsiteX2" fmla="*/ 1048375 w 6188838"/>
              <a:gd name="connsiteY2" fmla="*/ 1766546 h 2413789"/>
              <a:gd name="connsiteX3" fmla="*/ 1698534 w 6188838"/>
              <a:gd name="connsiteY3" fmla="*/ 1501101 h 2413789"/>
              <a:gd name="connsiteX4" fmla="*/ 2305876 w 6188838"/>
              <a:gd name="connsiteY4" fmla="*/ 1214111 h 2413789"/>
              <a:gd name="connsiteX5" fmla="*/ 2784328 w 6188838"/>
              <a:gd name="connsiteY5" fmla="*/ 1034877 h 2413789"/>
              <a:gd name="connsiteX6" fmla="*/ 3078482 w 6188838"/>
              <a:gd name="connsiteY6" fmla="*/ 899843 h 2413789"/>
              <a:gd name="connsiteX7" fmla="*/ 6171819 w 6188838"/>
              <a:gd name="connsiteY7" fmla="*/ 0 h 2413789"/>
              <a:gd name="connsiteX8" fmla="*/ 6188838 w 6188838"/>
              <a:gd name="connsiteY8" fmla="*/ 2391071 h 2413789"/>
              <a:gd name="connsiteX9" fmla="*/ 0 w 6188838"/>
              <a:gd name="connsiteY9" fmla="*/ 2413789 h 2413789"/>
              <a:gd name="connsiteX0" fmla="*/ 0 w 6188838"/>
              <a:gd name="connsiteY0" fmla="*/ 2464026 h 2464026"/>
              <a:gd name="connsiteX1" fmla="*/ 680142 w 6188838"/>
              <a:gd name="connsiteY1" fmla="*/ 2072130 h 2464026"/>
              <a:gd name="connsiteX2" fmla="*/ 1048375 w 6188838"/>
              <a:gd name="connsiteY2" fmla="*/ 1816783 h 2464026"/>
              <a:gd name="connsiteX3" fmla="*/ 1698534 w 6188838"/>
              <a:gd name="connsiteY3" fmla="*/ 1551338 h 2464026"/>
              <a:gd name="connsiteX4" fmla="*/ 2305876 w 6188838"/>
              <a:gd name="connsiteY4" fmla="*/ 1264348 h 2464026"/>
              <a:gd name="connsiteX5" fmla="*/ 2784328 w 6188838"/>
              <a:gd name="connsiteY5" fmla="*/ 1085114 h 2464026"/>
              <a:gd name="connsiteX6" fmla="*/ 3078482 w 6188838"/>
              <a:gd name="connsiteY6" fmla="*/ 950080 h 2464026"/>
              <a:gd name="connsiteX7" fmla="*/ 3505764 w 6188838"/>
              <a:gd name="connsiteY7" fmla="*/ 812580 h 2464026"/>
              <a:gd name="connsiteX8" fmla="*/ 6171819 w 6188838"/>
              <a:gd name="connsiteY8" fmla="*/ 50237 h 2464026"/>
              <a:gd name="connsiteX9" fmla="*/ 6188838 w 6188838"/>
              <a:gd name="connsiteY9" fmla="*/ 2441308 h 2464026"/>
              <a:gd name="connsiteX10" fmla="*/ 0 w 6188838"/>
              <a:gd name="connsiteY10" fmla="*/ 2464026 h 2464026"/>
              <a:gd name="connsiteX0" fmla="*/ 0 w 6188838"/>
              <a:gd name="connsiteY0" fmla="*/ 2464026 h 2464026"/>
              <a:gd name="connsiteX1" fmla="*/ 680142 w 6188838"/>
              <a:gd name="connsiteY1" fmla="*/ 2072130 h 2464026"/>
              <a:gd name="connsiteX2" fmla="*/ 1048375 w 6188838"/>
              <a:gd name="connsiteY2" fmla="*/ 1816783 h 2464026"/>
              <a:gd name="connsiteX3" fmla="*/ 1698534 w 6188838"/>
              <a:gd name="connsiteY3" fmla="*/ 1551338 h 2464026"/>
              <a:gd name="connsiteX4" fmla="*/ 2305876 w 6188838"/>
              <a:gd name="connsiteY4" fmla="*/ 1264348 h 2464026"/>
              <a:gd name="connsiteX5" fmla="*/ 2784328 w 6188838"/>
              <a:gd name="connsiteY5" fmla="*/ 1085114 h 2464026"/>
              <a:gd name="connsiteX6" fmla="*/ 3078482 w 6188838"/>
              <a:gd name="connsiteY6" fmla="*/ 950080 h 2464026"/>
              <a:gd name="connsiteX7" fmla="*/ 3505764 w 6188838"/>
              <a:gd name="connsiteY7" fmla="*/ 812580 h 2464026"/>
              <a:gd name="connsiteX8" fmla="*/ 6171819 w 6188838"/>
              <a:gd name="connsiteY8" fmla="*/ 50237 h 2464026"/>
              <a:gd name="connsiteX9" fmla="*/ 6188838 w 6188838"/>
              <a:gd name="connsiteY9" fmla="*/ 2441308 h 2464026"/>
              <a:gd name="connsiteX10" fmla="*/ 0 w 6188838"/>
              <a:gd name="connsiteY10" fmla="*/ 2464026 h 2464026"/>
              <a:gd name="connsiteX0" fmla="*/ 0 w 6188838"/>
              <a:gd name="connsiteY0" fmla="*/ 2463065 h 2463065"/>
              <a:gd name="connsiteX1" fmla="*/ 680142 w 6188838"/>
              <a:gd name="connsiteY1" fmla="*/ 2071169 h 2463065"/>
              <a:gd name="connsiteX2" fmla="*/ 1048375 w 6188838"/>
              <a:gd name="connsiteY2" fmla="*/ 1815822 h 2463065"/>
              <a:gd name="connsiteX3" fmla="*/ 1698534 w 6188838"/>
              <a:gd name="connsiteY3" fmla="*/ 1550377 h 2463065"/>
              <a:gd name="connsiteX4" fmla="*/ 2305876 w 6188838"/>
              <a:gd name="connsiteY4" fmla="*/ 1263387 h 2463065"/>
              <a:gd name="connsiteX5" fmla="*/ 2784328 w 6188838"/>
              <a:gd name="connsiteY5" fmla="*/ 1084153 h 2463065"/>
              <a:gd name="connsiteX6" fmla="*/ 3078482 w 6188838"/>
              <a:gd name="connsiteY6" fmla="*/ 949119 h 2463065"/>
              <a:gd name="connsiteX7" fmla="*/ 3505764 w 6188838"/>
              <a:gd name="connsiteY7" fmla="*/ 811619 h 2463065"/>
              <a:gd name="connsiteX8" fmla="*/ 6171819 w 6188838"/>
              <a:gd name="connsiteY8" fmla="*/ 49276 h 2463065"/>
              <a:gd name="connsiteX9" fmla="*/ 6188838 w 6188838"/>
              <a:gd name="connsiteY9" fmla="*/ 2440347 h 2463065"/>
              <a:gd name="connsiteX10" fmla="*/ 0 w 6188838"/>
              <a:gd name="connsiteY10" fmla="*/ 2463065 h 2463065"/>
              <a:gd name="connsiteX0" fmla="*/ 0 w 6188838"/>
              <a:gd name="connsiteY0" fmla="*/ 2501326 h 2501326"/>
              <a:gd name="connsiteX1" fmla="*/ 680142 w 6188838"/>
              <a:gd name="connsiteY1" fmla="*/ 2109430 h 2501326"/>
              <a:gd name="connsiteX2" fmla="*/ 1048375 w 6188838"/>
              <a:gd name="connsiteY2" fmla="*/ 1854083 h 2501326"/>
              <a:gd name="connsiteX3" fmla="*/ 1698534 w 6188838"/>
              <a:gd name="connsiteY3" fmla="*/ 1588638 h 2501326"/>
              <a:gd name="connsiteX4" fmla="*/ 2305876 w 6188838"/>
              <a:gd name="connsiteY4" fmla="*/ 1301648 h 2501326"/>
              <a:gd name="connsiteX5" fmla="*/ 2784328 w 6188838"/>
              <a:gd name="connsiteY5" fmla="*/ 1122414 h 2501326"/>
              <a:gd name="connsiteX6" fmla="*/ 3078482 w 6188838"/>
              <a:gd name="connsiteY6" fmla="*/ 987380 h 2501326"/>
              <a:gd name="connsiteX7" fmla="*/ 3505764 w 6188838"/>
              <a:gd name="connsiteY7" fmla="*/ 849880 h 2501326"/>
              <a:gd name="connsiteX8" fmla="*/ 4432608 w 6188838"/>
              <a:gd name="connsiteY8" fmla="*/ 584711 h 2501326"/>
              <a:gd name="connsiteX9" fmla="*/ 6171819 w 6188838"/>
              <a:gd name="connsiteY9" fmla="*/ 87537 h 2501326"/>
              <a:gd name="connsiteX10" fmla="*/ 6188838 w 6188838"/>
              <a:gd name="connsiteY10" fmla="*/ 2478608 h 2501326"/>
              <a:gd name="connsiteX11" fmla="*/ 0 w 6188838"/>
              <a:gd name="connsiteY11" fmla="*/ 2501326 h 2501326"/>
              <a:gd name="connsiteX0" fmla="*/ 0 w 6188838"/>
              <a:gd name="connsiteY0" fmla="*/ 2501326 h 2501326"/>
              <a:gd name="connsiteX1" fmla="*/ 680142 w 6188838"/>
              <a:gd name="connsiteY1" fmla="*/ 2109430 h 2501326"/>
              <a:gd name="connsiteX2" fmla="*/ 1048375 w 6188838"/>
              <a:gd name="connsiteY2" fmla="*/ 1854083 h 2501326"/>
              <a:gd name="connsiteX3" fmla="*/ 1698534 w 6188838"/>
              <a:gd name="connsiteY3" fmla="*/ 1588638 h 2501326"/>
              <a:gd name="connsiteX4" fmla="*/ 2305876 w 6188838"/>
              <a:gd name="connsiteY4" fmla="*/ 1301648 h 2501326"/>
              <a:gd name="connsiteX5" fmla="*/ 2784328 w 6188838"/>
              <a:gd name="connsiteY5" fmla="*/ 1122414 h 2501326"/>
              <a:gd name="connsiteX6" fmla="*/ 3078482 w 6188838"/>
              <a:gd name="connsiteY6" fmla="*/ 987380 h 2501326"/>
              <a:gd name="connsiteX7" fmla="*/ 3505764 w 6188838"/>
              <a:gd name="connsiteY7" fmla="*/ 849880 h 2501326"/>
              <a:gd name="connsiteX8" fmla="*/ 4432608 w 6188838"/>
              <a:gd name="connsiteY8" fmla="*/ 584711 h 2501326"/>
              <a:gd name="connsiteX9" fmla="*/ 6171819 w 6188838"/>
              <a:gd name="connsiteY9" fmla="*/ 87537 h 2501326"/>
              <a:gd name="connsiteX10" fmla="*/ 6188838 w 6188838"/>
              <a:gd name="connsiteY10" fmla="*/ 2478608 h 2501326"/>
              <a:gd name="connsiteX11" fmla="*/ 0 w 6188838"/>
              <a:gd name="connsiteY11" fmla="*/ 2501326 h 2501326"/>
              <a:gd name="connsiteX0" fmla="*/ 0 w 6188838"/>
              <a:gd name="connsiteY0" fmla="*/ 2501326 h 2501326"/>
              <a:gd name="connsiteX1" fmla="*/ 680142 w 6188838"/>
              <a:gd name="connsiteY1" fmla="*/ 2109430 h 2501326"/>
              <a:gd name="connsiteX2" fmla="*/ 1048375 w 6188838"/>
              <a:gd name="connsiteY2" fmla="*/ 1854083 h 2501326"/>
              <a:gd name="connsiteX3" fmla="*/ 1698534 w 6188838"/>
              <a:gd name="connsiteY3" fmla="*/ 1588638 h 2501326"/>
              <a:gd name="connsiteX4" fmla="*/ 2305876 w 6188838"/>
              <a:gd name="connsiteY4" fmla="*/ 1301648 h 2501326"/>
              <a:gd name="connsiteX5" fmla="*/ 2784328 w 6188838"/>
              <a:gd name="connsiteY5" fmla="*/ 1122414 h 2501326"/>
              <a:gd name="connsiteX6" fmla="*/ 3078482 w 6188838"/>
              <a:gd name="connsiteY6" fmla="*/ 987380 h 2501326"/>
              <a:gd name="connsiteX7" fmla="*/ 3505764 w 6188838"/>
              <a:gd name="connsiteY7" fmla="*/ 849880 h 2501326"/>
              <a:gd name="connsiteX8" fmla="*/ 3661073 w 6188838"/>
              <a:gd name="connsiteY8" fmla="*/ 756580 h 2501326"/>
              <a:gd name="connsiteX9" fmla="*/ 4432608 w 6188838"/>
              <a:gd name="connsiteY9" fmla="*/ 584711 h 2501326"/>
              <a:gd name="connsiteX10" fmla="*/ 6171819 w 6188838"/>
              <a:gd name="connsiteY10" fmla="*/ 87537 h 2501326"/>
              <a:gd name="connsiteX11" fmla="*/ 6188838 w 6188838"/>
              <a:gd name="connsiteY11" fmla="*/ 2478608 h 2501326"/>
              <a:gd name="connsiteX12" fmla="*/ 0 w 6188838"/>
              <a:gd name="connsiteY12" fmla="*/ 2501326 h 2501326"/>
              <a:gd name="connsiteX0" fmla="*/ 0 w 6188838"/>
              <a:gd name="connsiteY0" fmla="*/ 2501326 h 2501326"/>
              <a:gd name="connsiteX1" fmla="*/ 680142 w 6188838"/>
              <a:gd name="connsiteY1" fmla="*/ 2109430 h 2501326"/>
              <a:gd name="connsiteX2" fmla="*/ 1048375 w 6188838"/>
              <a:gd name="connsiteY2" fmla="*/ 1854083 h 2501326"/>
              <a:gd name="connsiteX3" fmla="*/ 1698534 w 6188838"/>
              <a:gd name="connsiteY3" fmla="*/ 1588638 h 2501326"/>
              <a:gd name="connsiteX4" fmla="*/ 2305876 w 6188838"/>
              <a:gd name="connsiteY4" fmla="*/ 1301648 h 2501326"/>
              <a:gd name="connsiteX5" fmla="*/ 2784328 w 6188838"/>
              <a:gd name="connsiteY5" fmla="*/ 1122414 h 2501326"/>
              <a:gd name="connsiteX6" fmla="*/ 3078482 w 6188838"/>
              <a:gd name="connsiteY6" fmla="*/ 987380 h 2501326"/>
              <a:gd name="connsiteX7" fmla="*/ 3505764 w 6188838"/>
              <a:gd name="connsiteY7" fmla="*/ 849880 h 2501326"/>
              <a:gd name="connsiteX8" fmla="*/ 3661073 w 6188838"/>
              <a:gd name="connsiteY8" fmla="*/ 756580 h 2501326"/>
              <a:gd name="connsiteX9" fmla="*/ 4432608 w 6188838"/>
              <a:gd name="connsiteY9" fmla="*/ 584711 h 2501326"/>
              <a:gd name="connsiteX10" fmla="*/ 6171819 w 6188838"/>
              <a:gd name="connsiteY10" fmla="*/ 87537 h 2501326"/>
              <a:gd name="connsiteX11" fmla="*/ 6188838 w 6188838"/>
              <a:gd name="connsiteY11" fmla="*/ 2478608 h 2501326"/>
              <a:gd name="connsiteX12" fmla="*/ 0 w 6188838"/>
              <a:gd name="connsiteY12" fmla="*/ 2501326 h 2501326"/>
              <a:gd name="connsiteX0" fmla="*/ 0 w 6188838"/>
              <a:gd name="connsiteY0" fmla="*/ 2501326 h 2501326"/>
              <a:gd name="connsiteX1" fmla="*/ 680142 w 6188838"/>
              <a:gd name="connsiteY1" fmla="*/ 2109430 h 2501326"/>
              <a:gd name="connsiteX2" fmla="*/ 1048375 w 6188838"/>
              <a:gd name="connsiteY2" fmla="*/ 1854083 h 2501326"/>
              <a:gd name="connsiteX3" fmla="*/ 1698534 w 6188838"/>
              <a:gd name="connsiteY3" fmla="*/ 1588638 h 2501326"/>
              <a:gd name="connsiteX4" fmla="*/ 2305876 w 6188838"/>
              <a:gd name="connsiteY4" fmla="*/ 1301648 h 2501326"/>
              <a:gd name="connsiteX5" fmla="*/ 2784328 w 6188838"/>
              <a:gd name="connsiteY5" fmla="*/ 1122414 h 2501326"/>
              <a:gd name="connsiteX6" fmla="*/ 3078482 w 6188838"/>
              <a:gd name="connsiteY6" fmla="*/ 987380 h 2501326"/>
              <a:gd name="connsiteX7" fmla="*/ 3505764 w 6188838"/>
              <a:gd name="connsiteY7" fmla="*/ 849880 h 2501326"/>
              <a:gd name="connsiteX8" fmla="*/ 3661073 w 6188838"/>
              <a:gd name="connsiteY8" fmla="*/ 756580 h 2501326"/>
              <a:gd name="connsiteX9" fmla="*/ 4334913 w 6188838"/>
              <a:gd name="connsiteY9" fmla="*/ 584711 h 2501326"/>
              <a:gd name="connsiteX10" fmla="*/ 6171819 w 6188838"/>
              <a:gd name="connsiteY10" fmla="*/ 87537 h 2501326"/>
              <a:gd name="connsiteX11" fmla="*/ 6188838 w 6188838"/>
              <a:gd name="connsiteY11" fmla="*/ 2478608 h 2501326"/>
              <a:gd name="connsiteX12" fmla="*/ 0 w 6188838"/>
              <a:gd name="connsiteY12" fmla="*/ 2501326 h 2501326"/>
              <a:gd name="connsiteX0" fmla="*/ 0 w 6188838"/>
              <a:gd name="connsiteY0" fmla="*/ 2501326 h 2501326"/>
              <a:gd name="connsiteX1" fmla="*/ 680142 w 6188838"/>
              <a:gd name="connsiteY1" fmla="*/ 2109430 h 2501326"/>
              <a:gd name="connsiteX2" fmla="*/ 1048375 w 6188838"/>
              <a:gd name="connsiteY2" fmla="*/ 1854083 h 2501326"/>
              <a:gd name="connsiteX3" fmla="*/ 1698534 w 6188838"/>
              <a:gd name="connsiteY3" fmla="*/ 1588638 h 2501326"/>
              <a:gd name="connsiteX4" fmla="*/ 2305876 w 6188838"/>
              <a:gd name="connsiteY4" fmla="*/ 1301648 h 2501326"/>
              <a:gd name="connsiteX5" fmla="*/ 2784328 w 6188838"/>
              <a:gd name="connsiteY5" fmla="*/ 1122414 h 2501326"/>
              <a:gd name="connsiteX6" fmla="*/ 3078482 w 6188838"/>
              <a:gd name="connsiteY6" fmla="*/ 987380 h 2501326"/>
              <a:gd name="connsiteX7" fmla="*/ 3505764 w 6188838"/>
              <a:gd name="connsiteY7" fmla="*/ 849880 h 2501326"/>
              <a:gd name="connsiteX8" fmla="*/ 3661073 w 6188838"/>
              <a:gd name="connsiteY8" fmla="*/ 756580 h 2501326"/>
              <a:gd name="connsiteX9" fmla="*/ 4334913 w 6188838"/>
              <a:gd name="connsiteY9" fmla="*/ 584711 h 2501326"/>
              <a:gd name="connsiteX10" fmla="*/ 6171819 w 6188838"/>
              <a:gd name="connsiteY10" fmla="*/ 87537 h 2501326"/>
              <a:gd name="connsiteX11" fmla="*/ 6188838 w 6188838"/>
              <a:gd name="connsiteY11" fmla="*/ 2478608 h 2501326"/>
              <a:gd name="connsiteX12" fmla="*/ 0 w 6188838"/>
              <a:gd name="connsiteY12" fmla="*/ 2501326 h 2501326"/>
              <a:gd name="connsiteX0" fmla="*/ 0 w 6188838"/>
              <a:gd name="connsiteY0" fmla="*/ 2487919 h 2487919"/>
              <a:gd name="connsiteX1" fmla="*/ 680142 w 6188838"/>
              <a:gd name="connsiteY1" fmla="*/ 2096023 h 2487919"/>
              <a:gd name="connsiteX2" fmla="*/ 1048375 w 6188838"/>
              <a:gd name="connsiteY2" fmla="*/ 1840676 h 2487919"/>
              <a:gd name="connsiteX3" fmla="*/ 1698534 w 6188838"/>
              <a:gd name="connsiteY3" fmla="*/ 1575231 h 2487919"/>
              <a:gd name="connsiteX4" fmla="*/ 2305876 w 6188838"/>
              <a:gd name="connsiteY4" fmla="*/ 1288241 h 2487919"/>
              <a:gd name="connsiteX5" fmla="*/ 2784328 w 6188838"/>
              <a:gd name="connsiteY5" fmla="*/ 1109007 h 2487919"/>
              <a:gd name="connsiteX6" fmla="*/ 3078482 w 6188838"/>
              <a:gd name="connsiteY6" fmla="*/ 973973 h 2487919"/>
              <a:gd name="connsiteX7" fmla="*/ 3505764 w 6188838"/>
              <a:gd name="connsiteY7" fmla="*/ 836473 h 2487919"/>
              <a:gd name="connsiteX8" fmla="*/ 3661073 w 6188838"/>
              <a:gd name="connsiteY8" fmla="*/ 743173 h 2487919"/>
              <a:gd name="connsiteX9" fmla="*/ 4334913 w 6188838"/>
              <a:gd name="connsiteY9" fmla="*/ 571304 h 2487919"/>
              <a:gd name="connsiteX10" fmla="*/ 6171819 w 6188838"/>
              <a:gd name="connsiteY10" fmla="*/ 74130 h 2487919"/>
              <a:gd name="connsiteX11" fmla="*/ 6188838 w 6188838"/>
              <a:gd name="connsiteY11" fmla="*/ 2465201 h 2487919"/>
              <a:gd name="connsiteX12" fmla="*/ 0 w 6188838"/>
              <a:gd name="connsiteY12" fmla="*/ 2487919 h 2487919"/>
              <a:gd name="connsiteX0" fmla="*/ 0 w 6188838"/>
              <a:gd name="connsiteY0" fmla="*/ 2495211 h 2495211"/>
              <a:gd name="connsiteX1" fmla="*/ 680142 w 6188838"/>
              <a:gd name="connsiteY1" fmla="*/ 2103315 h 2495211"/>
              <a:gd name="connsiteX2" fmla="*/ 1048375 w 6188838"/>
              <a:gd name="connsiteY2" fmla="*/ 1847968 h 2495211"/>
              <a:gd name="connsiteX3" fmla="*/ 1698534 w 6188838"/>
              <a:gd name="connsiteY3" fmla="*/ 1582523 h 2495211"/>
              <a:gd name="connsiteX4" fmla="*/ 2305876 w 6188838"/>
              <a:gd name="connsiteY4" fmla="*/ 1295533 h 2495211"/>
              <a:gd name="connsiteX5" fmla="*/ 2784328 w 6188838"/>
              <a:gd name="connsiteY5" fmla="*/ 1116299 h 2495211"/>
              <a:gd name="connsiteX6" fmla="*/ 3078482 w 6188838"/>
              <a:gd name="connsiteY6" fmla="*/ 981265 h 2495211"/>
              <a:gd name="connsiteX7" fmla="*/ 3505764 w 6188838"/>
              <a:gd name="connsiteY7" fmla="*/ 843765 h 2495211"/>
              <a:gd name="connsiteX8" fmla="*/ 3661073 w 6188838"/>
              <a:gd name="connsiteY8" fmla="*/ 750465 h 2495211"/>
              <a:gd name="connsiteX9" fmla="*/ 4334913 w 6188838"/>
              <a:gd name="connsiteY9" fmla="*/ 578596 h 2495211"/>
              <a:gd name="connsiteX10" fmla="*/ 6171819 w 6188838"/>
              <a:gd name="connsiteY10" fmla="*/ 81422 h 2495211"/>
              <a:gd name="connsiteX11" fmla="*/ 6188838 w 6188838"/>
              <a:gd name="connsiteY11" fmla="*/ 2472493 h 2495211"/>
              <a:gd name="connsiteX12" fmla="*/ 0 w 6188838"/>
              <a:gd name="connsiteY12" fmla="*/ 2495211 h 2495211"/>
              <a:gd name="connsiteX0" fmla="*/ 0 w 6188838"/>
              <a:gd name="connsiteY0" fmla="*/ 2413789 h 2413789"/>
              <a:gd name="connsiteX1" fmla="*/ 680142 w 6188838"/>
              <a:gd name="connsiteY1" fmla="*/ 2021893 h 2413789"/>
              <a:gd name="connsiteX2" fmla="*/ 1048375 w 6188838"/>
              <a:gd name="connsiteY2" fmla="*/ 1766546 h 2413789"/>
              <a:gd name="connsiteX3" fmla="*/ 1698534 w 6188838"/>
              <a:gd name="connsiteY3" fmla="*/ 1501101 h 2413789"/>
              <a:gd name="connsiteX4" fmla="*/ 2305876 w 6188838"/>
              <a:gd name="connsiteY4" fmla="*/ 1214111 h 2413789"/>
              <a:gd name="connsiteX5" fmla="*/ 2784328 w 6188838"/>
              <a:gd name="connsiteY5" fmla="*/ 1034877 h 2413789"/>
              <a:gd name="connsiteX6" fmla="*/ 3078482 w 6188838"/>
              <a:gd name="connsiteY6" fmla="*/ 899843 h 2413789"/>
              <a:gd name="connsiteX7" fmla="*/ 3505764 w 6188838"/>
              <a:gd name="connsiteY7" fmla="*/ 762343 h 2413789"/>
              <a:gd name="connsiteX8" fmla="*/ 3661073 w 6188838"/>
              <a:gd name="connsiteY8" fmla="*/ 669043 h 2413789"/>
              <a:gd name="connsiteX9" fmla="*/ 4334913 w 6188838"/>
              <a:gd name="connsiteY9" fmla="*/ 497174 h 2413789"/>
              <a:gd name="connsiteX10" fmla="*/ 6171819 w 6188838"/>
              <a:gd name="connsiteY10" fmla="*/ 0 h 2413789"/>
              <a:gd name="connsiteX11" fmla="*/ 6188838 w 6188838"/>
              <a:gd name="connsiteY11" fmla="*/ 2391071 h 2413789"/>
              <a:gd name="connsiteX12" fmla="*/ 0 w 6188838"/>
              <a:gd name="connsiteY12" fmla="*/ 2413789 h 2413789"/>
              <a:gd name="connsiteX0" fmla="*/ 0 w 6188838"/>
              <a:gd name="connsiteY0" fmla="*/ 2450618 h 2450618"/>
              <a:gd name="connsiteX1" fmla="*/ 680142 w 6188838"/>
              <a:gd name="connsiteY1" fmla="*/ 2058722 h 2450618"/>
              <a:gd name="connsiteX2" fmla="*/ 1048375 w 6188838"/>
              <a:gd name="connsiteY2" fmla="*/ 1803375 h 2450618"/>
              <a:gd name="connsiteX3" fmla="*/ 1698534 w 6188838"/>
              <a:gd name="connsiteY3" fmla="*/ 1537930 h 2450618"/>
              <a:gd name="connsiteX4" fmla="*/ 2305876 w 6188838"/>
              <a:gd name="connsiteY4" fmla="*/ 1250940 h 2450618"/>
              <a:gd name="connsiteX5" fmla="*/ 2784328 w 6188838"/>
              <a:gd name="connsiteY5" fmla="*/ 1071706 h 2450618"/>
              <a:gd name="connsiteX6" fmla="*/ 3078482 w 6188838"/>
              <a:gd name="connsiteY6" fmla="*/ 936672 h 2450618"/>
              <a:gd name="connsiteX7" fmla="*/ 3505764 w 6188838"/>
              <a:gd name="connsiteY7" fmla="*/ 799172 h 2450618"/>
              <a:gd name="connsiteX8" fmla="*/ 3661073 w 6188838"/>
              <a:gd name="connsiteY8" fmla="*/ 705872 h 2450618"/>
              <a:gd name="connsiteX9" fmla="*/ 4334913 w 6188838"/>
              <a:gd name="connsiteY9" fmla="*/ 534003 h 2450618"/>
              <a:gd name="connsiteX10" fmla="*/ 6174325 w 6188838"/>
              <a:gd name="connsiteY10" fmla="*/ 0 h 2450618"/>
              <a:gd name="connsiteX11" fmla="*/ 6188838 w 6188838"/>
              <a:gd name="connsiteY11" fmla="*/ 2427900 h 2450618"/>
              <a:gd name="connsiteX12" fmla="*/ 0 w 6188838"/>
              <a:gd name="connsiteY12" fmla="*/ 2450618 h 2450618"/>
              <a:gd name="connsiteX0" fmla="*/ 0 w 6188838"/>
              <a:gd name="connsiteY0" fmla="*/ 2477626 h 2477626"/>
              <a:gd name="connsiteX1" fmla="*/ 680142 w 6188838"/>
              <a:gd name="connsiteY1" fmla="*/ 2085730 h 2477626"/>
              <a:gd name="connsiteX2" fmla="*/ 1048375 w 6188838"/>
              <a:gd name="connsiteY2" fmla="*/ 1830383 h 2477626"/>
              <a:gd name="connsiteX3" fmla="*/ 1698534 w 6188838"/>
              <a:gd name="connsiteY3" fmla="*/ 1564938 h 2477626"/>
              <a:gd name="connsiteX4" fmla="*/ 2305876 w 6188838"/>
              <a:gd name="connsiteY4" fmla="*/ 1277948 h 2477626"/>
              <a:gd name="connsiteX5" fmla="*/ 2784328 w 6188838"/>
              <a:gd name="connsiteY5" fmla="*/ 1098714 h 2477626"/>
              <a:gd name="connsiteX6" fmla="*/ 3078482 w 6188838"/>
              <a:gd name="connsiteY6" fmla="*/ 963680 h 2477626"/>
              <a:gd name="connsiteX7" fmla="*/ 3505764 w 6188838"/>
              <a:gd name="connsiteY7" fmla="*/ 826180 h 2477626"/>
              <a:gd name="connsiteX8" fmla="*/ 3661073 w 6188838"/>
              <a:gd name="connsiteY8" fmla="*/ 732880 h 2477626"/>
              <a:gd name="connsiteX9" fmla="*/ 4334913 w 6188838"/>
              <a:gd name="connsiteY9" fmla="*/ 561011 h 2477626"/>
              <a:gd name="connsiteX10" fmla="*/ 6184345 w 6188838"/>
              <a:gd name="connsiteY10" fmla="*/ 0 h 2477626"/>
              <a:gd name="connsiteX11" fmla="*/ 6188838 w 6188838"/>
              <a:gd name="connsiteY11" fmla="*/ 2454908 h 2477626"/>
              <a:gd name="connsiteX12" fmla="*/ 0 w 6188838"/>
              <a:gd name="connsiteY12" fmla="*/ 2477626 h 2477626"/>
              <a:gd name="connsiteX0" fmla="*/ 0 w 6188838"/>
              <a:gd name="connsiteY0" fmla="*/ 2583883 h 2583883"/>
              <a:gd name="connsiteX1" fmla="*/ 680142 w 6188838"/>
              <a:gd name="connsiteY1" fmla="*/ 2191987 h 2583883"/>
              <a:gd name="connsiteX2" fmla="*/ 1048375 w 6188838"/>
              <a:gd name="connsiteY2" fmla="*/ 1936640 h 2583883"/>
              <a:gd name="connsiteX3" fmla="*/ 1698534 w 6188838"/>
              <a:gd name="connsiteY3" fmla="*/ 1671195 h 2583883"/>
              <a:gd name="connsiteX4" fmla="*/ 2305876 w 6188838"/>
              <a:gd name="connsiteY4" fmla="*/ 1384205 h 2583883"/>
              <a:gd name="connsiteX5" fmla="*/ 2784328 w 6188838"/>
              <a:gd name="connsiteY5" fmla="*/ 1204971 h 2583883"/>
              <a:gd name="connsiteX6" fmla="*/ 3078482 w 6188838"/>
              <a:gd name="connsiteY6" fmla="*/ 1069937 h 2583883"/>
              <a:gd name="connsiteX7" fmla="*/ 3505764 w 6188838"/>
              <a:gd name="connsiteY7" fmla="*/ 932437 h 2583883"/>
              <a:gd name="connsiteX8" fmla="*/ 3661073 w 6188838"/>
              <a:gd name="connsiteY8" fmla="*/ 839137 h 2583883"/>
              <a:gd name="connsiteX9" fmla="*/ 4334913 w 6188838"/>
              <a:gd name="connsiteY9" fmla="*/ 667268 h 2583883"/>
              <a:gd name="connsiteX10" fmla="*/ 4923584 w 6188838"/>
              <a:gd name="connsiteY10" fmla="*/ 465938 h 2583883"/>
              <a:gd name="connsiteX11" fmla="*/ 6184345 w 6188838"/>
              <a:gd name="connsiteY11" fmla="*/ 106257 h 2583883"/>
              <a:gd name="connsiteX12" fmla="*/ 6188838 w 6188838"/>
              <a:gd name="connsiteY12" fmla="*/ 2561165 h 2583883"/>
              <a:gd name="connsiteX13" fmla="*/ 0 w 6188838"/>
              <a:gd name="connsiteY13" fmla="*/ 2583883 h 2583883"/>
              <a:gd name="connsiteX0" fmla="*/ 0 w 6188838"/>
              <a:gd name="connsiteY0" fmla="*/ 2587260 h 2587260"/>
              <a:gd name="connsiteX1" fmla="*/ 680142 w 6188838"/>
              <a:gd name="connsiteY1" fmla="*/ 2195364 h 2587260"/>
              <a:gd name="connsiteX2" fmla="*/ 1048375 w 6188838"/>
              <a:gd name="connsiteY2" fmla="*/ 1940017 h 2587260"/>
              <a:gd name="connsiteX3" fmla="*/ 1698534 w 6188838"/>
              <a:gd name="connsiteY3" fmla="*/ 1674572 h 2587260"/>
              <a:gd name="connsiteX4" fmla="*/ 2305876 w 6188838"/>
              <a:gd name="connsiteY4" fmla="*/ 1387582 h 2587260"/>
              <a:gd name="connsiteX5" fmla="*/ 2784328 w 6188838"/>
              <a:gd name="connsiteY5" fmla="*/ 1208348 h 2587260"/>
              <a:gd name="connsiteX6" fmla="*/ 3078482 w 6188838"/>
              <a:gd name="connsiteY6" fmla="*/ 1073314 h 2587260"/>
              <a:gd name="connsiteX7" fmla="*/ 3505764 w 6188838"/>
              <a:gd name="connsiteY7" fmla="*/ 935814 h 2587260"/>
              <a:gd name="connsiteX8" fmla="*/ 3661073 w 6188838"/>
              <a:gd name="connsiteY8" fmla="*/ 842514 h 2587260"/>
              <a:gd name="connsiteX9" fmla="*/ 4334913 w 6188838"/>
              <a:gd name="connsiteY9" fmla="*/ 670645 h 2587260"/>
              <a:gd name="connsiteX10" fmla="*/ 4923584 w 6188838"/>
              <a:gd name="connsiteY10" fmla="*/ 442307 h 2587260"/>
              <a:gd name="connsiteX11" fmla="*/ 6184345 w 6188838"/>
              <a:gd name="connsiteY11" fmla="*/ 109634 h 2587260"/>
              <a:gd name="connsiteX12" fmla="*/ 6188838 w 6188838"/>
              <a:gd name="connsiteY12" fmla="*/ 2564542 h 2587260"/>
              <a:gd name="connsiteX13" fmla="*/ 0 w 6188838"/>
              <a:gd name="connsiteY13" fmla="*/ 2587260 h 2587260"/>
              <a:gd name="connsiteX0" fmla="*/ 0 w 6188838"/>
              <a:gd name="connsiteY0" fmla="*/ 2600622 h 2600622"/>
              <a:gd name="connsiteX1" fmla="*/ 680142 w 6188838"/>
              <a:gd name="connsiteY1" fmla="*/ 2208726 h 2600622"/>
              <a:gd name="connsiteX2" fmla="*/ 1048375 w 6188838"/>
              <a:gd name="connsiteY2" fmla="*/ 1953379 h 2600622"/>
              <a:gd name="connsiteX3" fmla="*/ 1698534 w 6188838"/>
              <a:gd name="connsiteY3" fmla="*/ 1687934 h 2600622"/>
              <a:gd name="connsiteX4" fmla="*/ 2305876 w 6188838"/>
              <a:gd name="connsiteY4" fmla="*/ 1400944 h 2600622"/>
              <a:gd name="connsiteX5" fmla="*/ 2784328 w 6188838"/>
              <a:gd name="connsiteY5" fmla="*/ 1221710 h 2600622"/>
              <a:gd name="connsiteX6" fmla="*/ 3078482 w 6188838"/>
              <a:gd name="connsiteY6" fmla="*/ 1086676 h 2600622"/>
              <a:gd name="connsiteX7" fmla="*/ 3505764 w 6188838"/>
              <a:gd name="connsiteY7" fmla="*/ 949176 h 2600622"/>
              <a:gd name="connsiteX8" fmla="*/ 3661073 w 6188838"/>
              <a:gd name="connsiteY8" fmla="*/ 855876 h 2600622"/>
              <a:gd name="connsiteX9" fmla="*/ 4334913 w 6188838"/>
              <a:gd name="connsiteY9" fmla="*/ 684007 h 2600622"/>
              <a:gd name="connsiteX10" fmla="*/ 4923584 w 6188838"/>
              <a:gd name="connsiteY10" fmla="*/ 455669 h 2600622"/>
              <a:gd name="connsiteX11" fmla="*/ 6184345 w 6188838"/>
              <a:gd name="connsiteY11" fmla="*/ 122996 h 2600622"/>
              <a:gd name="connsiteX12" fmla="*/ 6188838 w 6188838"/>
              <a:gd name="connsiteY12" fmla="*/ 2577904 h 2600622"/>
              <a:gd name="connsiteX13" fmla="*/ 0 w 6188838"/>
              <a:gd name="connsiteY13" fmla="*/ 2600622 h 2600622"/>
              <a:gd name="connsiteX0" fmla="*/ 0 w 6188838"/>
              <a:gd name="connsiteY0" fmla="*/ 2477626 h 2477626"/>
              <a:gd name="connsiteX1" fmla="*/ 680142 w 6188838"/>
              <a:gd name="connsiteY1" fmla="*/ 2085730 h 2477626"/>
              <a:gd name="connsiteX2" fmla="*/ 1048375 w 6188838"/>
              <a:gd name="connsiteY2" fmla="*/ 1830383 h 2477626"/>
              <a:gd name="connsiteX3" fmla="*/ 1698534 w 6188838"/>
              <a:gd name="connsiteY3" fmla="*/ 1564938 h 2477626"/>
              <a:gd name="connsiteX4" fmla="*/ 2305876 w 6188838"/>
              <a:gd name="connsiteY4" fmla="*/ 1277948 h 2477626"/>
              <a:gd name="connsiteX5" fmla="*/ 2784328 w 6188838"/>
              <a:gd name="connsiteY5" fmla="*/ 1098714 h 2477626"/>
              <a:gd name="connsiteX6" fmla="*/ 3078482 w 6188838"/>
              <a:gd name="connsiteY6" fmla="*/ 963680 h 2477626"/>
              <a:gd name="connsiteX7" fmla="*/ 3505764 w 6188838"/>
              <a:gd name="connsiteY7" fmla="*/ 826180 h 2477626"/>
              <a:gd name="connsiteX8" fmla="*/ 3661073 w 6188838"/>
              <a:gd name="connsiteY8" fmla="*/ 732880 h 2477626"/>
              <a:gd name="connsiteX9" fmla="*/ 4334913 w 6188838"/>
              <a:gd name="connsiteY9" fmla="*/ 561011 h 2477626"/>
              <a:gd name="connsiteX10" fmla="*/ 4923584 w 6188838"/>
              <a:gd name="connsiteY10" fmla="*/ 332673 h 2477626"/>
              <a:gd name="connsiteX11" fmla="*/ 6184345 w 6188838"/>
              <a:gd name="connsiteY11" fmla="*/ 0 h 2477626"/>
              <a:gd name="connsiteX12" fmla="*/ 6188838 w 6188838"/>
              <a:gd name="connsiteY12" fmla="*/ 2454908 h 2477626"/>
              <a:gd name="connsiteX13" fmla="*/ 0 w 6188838"/>
              <a:gd name="connsiteY13" fmla="*/ 2477626 h 2477626"/>
              <a:gd name="connsiteX0" fmla="*/ 0 w 6188838"/>
              <a:gd name="connsiteY0" fmla="*/ 2477626 h 2477626"/>
              <a:gd name="connsiteX1" fmla="*/ 680142 w 6188838"/>
              <a:gd name="connsiteY1" fmla="*/ 2085730 h 2477626"/>
              <a:gd name="connsiteX2" fmla="*/ 1048375 w 6188838"/>
              <a:gd name="connsiteY2" fmla="*/ 1830383 h 2477626"/>
              <a:gd name="connsiteX3" fmla="*/ 1698534 w 6188838"/>
              <a:gd name="connsiteY3" fmla="*/ 1564938 h 2477626"/>
              <a:gd name="connsiteX4" fmla="*/ 2305876 w 6188838"/>
              <a:gd name="connsiteY4" fmla="*/ 1277948 h 2477626"/>
              <a:gd name="connsiteX5" fmla="*/ 2784328 w 6188838"/>
              <a:gd name="connsiteY5" fmla="*/ 1098714 h 2477626"/>
              <a:gd name="connsiteX6" fmla="*/ 3078482 w 6188838"/>
              <a:gd name="connsiteY6" fmla="*/ 963680 h 2477626"/>
              <a:gd name="connsiteX7" fmla="*/ 3505764 w 6188838"/>
              <a:gd name="connsiteY7" fmla="*/ 826180 h 2477626"/>
              <a:gd name="connsiteX8" fmla="*/ 3661073 w 6188838"/>
              <a:gd name="connsiteY8" fmla="*/ 732880 h 2477626"/>
              <a:gd name="connsiteX9" fmla="*/ 4334913 w 6188838"/>
              <a:gd name="connsiteY9" fmla="*/ 561011 h 2477626"/>
              <a:gd name="connsiteX10" fmla="*/ 4923584 w 6188838"/>
              <a:gd name="connsiteY10" fmla="*/ 332673 h 2477626"/>
              <a:gd name="connsiteX11" fmla="*/ 6184345 w 6188838"/>
              <a:gd name="connsiteY11" fmla="*/ 0 h 2477626"/>
              <a:gd name="connsiteX12" fmla="*/ 6188838 w 6188838"/>
              <a:gd name="connsiteY12" fmla="*/ 2454908 h 2477626"/>
              <a:gd name="connsiteX13" fmla="*/ 0 w 6188838"/>
              <a:gd name="connsiteY13" fmla="*/ 2477626 h 2477626"/>
              <a:gd name="connsiteX0" fmla="*/ 0 w 6188838"/>
              <a:gd name="connsiteY0" fmla="*/ 2477626 h 2477626"/>
              <a:gd name="connsiteX1" fmla="*/ 680142 w 6188838"/>
              <a:gd name="connsiteY1" fmla="*/ 2085730 h 2477626"/>
              <a:gd name="connsiteX2" fmla="*/ 1048375 w 6188838"/>
              <a:gd name="connsiteY2" fmla="*/ 1830383 h 2477626"/>
              <a:gd name="connsiteX3" fmla="*/ 1698534 w 6188838"/>
              <a:gd name="connsiteY3" fmla="*/ 1564938 h 2477626"/>
              <a:gd name="connsiteX4" fmla="*/ 2305876 w 6188838"/>
              <a:gd name="connsiteY4" fmla="*/ 1277948 h 2477626"/>
              <a:gd name="connsiteX5" fmla="*/ 2784328 w 6188838"/>
              <a:gd name="connsiteY5" fmla="*/ 1098714 h 2477626"/>
              <a:gd name="connsiteX6" fmla="*/ 3078482 w 6188838"/>
              <a:gd name="connsiteY6" fmla="*/ 963680 h 2477626"/>
              <a:gd name="connsiteX7" fmla="*/ 3505764 w 6188838"/>
              <a:gd name="connsiteY7" fmla="*/ 826180 h 2477626"/>
              <a:gd name="connsiteX8" fmla="*/ 3661073 w 6188838"/>
              <a:gd name="connsiteY8" fmla="*/ 732880 h 2477626"/>
              <a:gd name="connsiteX9" fmla="*/ 4334913 w 6188838"/>
              <a:gd name="connsiteY9" fmla="*/ 561011 h 2477626"/>
              <a:gd name="connsiteX10" fmla="*/ 4911060 w 6188838"/>
              <a:gd name="connsiteY10" fmla="*/ 349860 h 2477626"/>
              <a:gd name="connsiteX11" fmla="*/ 6184345 w 6188838"/>
              <a:gd name="connsiteY11" fmla="*/ 0 h 2477626"/>
              <a:gd name="connsiteX12" fmla="*/ 6188838 w 6188838"/>
              <a:gd name="connsiteY12" fmla="*/ 2454908 h 2477626"/>
              <a:gd name="connsiteX13" fmla="*/ 0 w 6188838"/>
              <a:gd name="connsiteY13" fmla="*/ 2477626 h 2477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88838" h="2477626">
                <a:moveTo>
                  <a:pt x="0" y="2477626"/>
                </a:moveTo>
                <a:cubicBezTo>
                  <a:pt x="603243" y="2160749"/>
                  <a:pt x="390791" y="2223931"/>
                  <a:pt x="680142" y="2085730"/>
                </a:cubicBezTo>
                <a:cubicBezTo>
                  <a:pt x="864056" y="1990542"/>
                  <a:pt x="935006" y="1969561"/>
                  <a:pt x="1048375" y="1830383"/>
                </a:cubicBezTo>
                <a:cubicBezTo>
                  <a:pt x="1224369" y="1757498"/>
                  <a:pt x="1366863" y="1707343"/>
                  <a:pt x="1698534" y="1564938"/>
                </a:cubicBezTo>
                <a:cubicBezTo>
                  <a:pt x="1901816" y="1489735"/>
                  <a:pt x="2102594" y="1353151"/>
                  <a:pt x="2305876" y="1277948"/>
                </a:cubicBezTo>
                <a:cubicBezTo>
                  <a:pt x="2467030" y="1231298"/>
                  <a:pt x="2623174" y="1145364"/>
                  <a:pt x="2784328" y="1098714"/>
                </a:cubicBezTo>
                <a:lnTo>
                  <a:pt x="3078482" y="963680"/>
                </a:lnTo>
                <a:cubicBezTo>
                  <a:pt x="3202896" y="922350"/>
                  <a:pt x="3110447" y="1022805"/>
                  <a:pt x="3505764" y="826180"/>
                </a:cubicBezTo>
                <a:cubicBezTo>
                  <a:pt x="3612882" y="793442"/>
                  <a:pt x="3506599" y="777075"/>
                  <a:pt x="3661073" y="732880"/>
                </a:cubicBezTo>
                <a:cubicBezTo>
                  <a:pt x="3815547" y="750066"/>
                  <a:pt x="4164448" y="668427"/>
                  <a:pt x="4334913" y="561011"/>
                </a:cubicBezTo>
                <a:cubicBezTo>
                  <a:pt x="4545331" y="498811"/>
                  <a:pt x="4602821" y="443362"/>
                  <a:pt x="4911060" y="349860"/>
                </a:cubicBezTo>
                <a:cubicBezTo>
                  <a:pt x="5765386" y="153237"/>
                  <a:pt x="5625277" y="198320"/>
                  <a:pt x="6184345" y="0"/>
                </a:cubicBezTo>
                <a:cubicBezTo>
                  <a:pt x="6189183" y="809300"/>
                  <a:pt x="6184000" y="1645608"/>
                  <a:pt x="6188838" y="2454908"/>
                </a:cubicBezTo>
                <a:lnTo>
                  <a:pt x="0" y="2477626"/>
                </a:lnTo>
                <a:close/>
              </a:path>
            </a:pathLst>
          </a:custGeom>
          <a:solidFill>
            <a:schemeClr val="bg2">
              <a:lumMod val="50000"/>
              <a:alpha val="7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PARADIGM Tx Effect">
            <a:extLst>
              <a:ext uri="{FF2B5EF4-FFF2-40B4-BE49-F238E27FC236}">
                <a16:creationId xmlns:a16="http://schemas.microsoft.com/office/drawing/2014/main" id="{C574C7C7-102E-22D9-4782-9DC9B6DC602E}"/>
              </a:ext>
            </a:extLst>
          </p:cNvPr>
          <p:cNvSpPr/>
          <p:nvPr/>
        </p:nvSpPr>
        <p:spPr>
          <a:xfrm rot="20268308">
            <a:off x="801076" y="3004805"/>
            <a:ext cx="6197307" cy="552198"/>
          </a:xfrm>
          <a:custGeom>
            <a:avLst/>
            <a:gdLst>
              <a:gd name="connsiteX0" fmla="*/ 0 w 6361043"/>
              <a:gd name="connsiteY0" fmla="*/ 2538738 h 2538738"/>
              <a:gd name="connsiteX1" fmla="*/ 6116843 w 6361043"/>
              <a:gd name="connsiteY1" fmla="*/ 0 h 2538738"/>
              <a:gd name="connsiteX2" fmla="*/ 6361043 w 6361043"/>
              <a:gd name="connsiteY2" fmla="*/ 2538738 h 2538738"/>
              <a:gd name="connsiteX3" fmla="*/ 0 w 6361043"/>
              <a:gd name="connsiteY3" fmla="*/ 2538738 h 2538738"/>
              <a:gd name="connsiteX0" fmla="*/ 0 w 6361043"/>
              <a:gd name="connsiteY0" fmla="*/ 2538738 h 2538738"/>
              <a:gd name="connsiteX1" fmla="*/ 1550505 w 6361043"/>
              <a:gd name="connsiteY1" fmla="*/ 1709529 h 2538738"/>
              <a:gd name="connsiteX2" fmla="*/ 6116843 w 6361043"/>
              <a:gd name="connsiteY2" fmla="*/ 0 h 2538738"/>
              <a:gd name="connsiteX3" fmla="*/ 6361043 w 6361043"/>
              <a:gd name="connsiteY3" fmla="*/ 2538738 h 2538738"/>
              <a:gd name="connsiteX4" fmla="*/ 0 w 6361043"/>
              <a:gd name="connsiteY4" fmla="*/ 2538738 h 2538738"/>
              <a:gd name="connsiteX0" fmla="*/ 0 w 6361043"/>
              <a:gd name="connsiteY0" fmla="*/ 2538738 h 2538738"/>
              <a:gd name="connsiteX1" fmla="*/ 1550505 w 6361043"/>
              <a:gd name="connsiteY1" fmla="*/ 1709529 h 2538738"/>
              <a:gd name="connsiteX2" fmla="*/ 2907907 w 6361043"/>
              <a:gd name="connsiteY2" fmla="*/ 1113181 h 2538738"/>
              <a:gd name="connsiteX3" fmla="*/ 6116843 w 6361043"/>
              <a:gd name="connsiteY3" fmla="*/ 0 h 2538738"/>
              <a:gd name="connsiteX4" fmla="*/ 6361043 w 6361043"/>
              <a:gd name="connsiteY4" fmla="*/ 2538738 h 2538738"/>
              <a:gd name="connsiteX5" fmla="*/ 0 w 6361043"/>
              <a:gd name="connsiteY5" fmla="*/ 2538738 h 2538738"/>
              <a:gd name="connsiteX0" fmla="*/ 0 w 6361043"/>
              <a:gd name="connsiteY0" fmla="*/ 2470584 h 2470584"/>
              <a:gd name="connsiteX1" fmla="*/ 1550505 w 6361043"/>
              <a:gd name="connsiteY1" fmla="*/ 1641375 h 2470584"/>
              <a:gd name="connsiteX2" fmla="*/ 2907907 w 6361043"/>
              <a:gd name="connsiteY2" fmla="*/ 1045027 h 2470584"/>
              <a:gd name="connsiteX3" fmla="*/ 6099804 w 6361043"/>
              <a:gd name="connsiteY3" fmla="*/ 0 h 2470584"/>
              <a:gd name="connsiteX4" fmla="*/ 6361043 w 6361043"/>
              <a:gd name="connsiteY4" fmla="*/ 2470584 h 2470584"/>
              <a:gd name="connsiteX5" fmla="*/ 0 w 6361043"/>
              <a:gd name="connsiteY5" fmla="*/ 2470584 h 2470584"/>
              <a:gd name="connsiteX0" fmla="*/ 0 w 6099804"/>
              <a:gd name="connsiteY0" fmla="*/ 2470584 h 2470584"/>
              <a:gd name="connsiteX1" fmla="*/ 1550505 w 6099804"/>
              <a:gd name="connsiteY1" fmla="*/ 1641375 h 2470584"/>
              <a:gd name="connsiteX2" fmla="*/ 2907907 w 6099804"/>
              <a:gd name="connsiteY2" fmla="*/ 1045027 h 2470584"/>
              <a:gd name="connsiteX3" fmla="*/ 6099804 w 6099804"/>
              <a:gd name="connsiteY3" fmla="*/ 0 h 2470584"/>
              <a:gd name="connsiteX4" fmla="*/ 6003234 w 6099804"/>
              <a:gd name="connsiteY4" fmla="*/ 2447866 h 2470584"/>
              <a:gd name="connsiteX5" fmla="*/ 0 w 6099804"/>
              <a:gd name="connsiteY5" fmla="*/ 2470584 h 2470584"/>
              <a:gd name="connsiteX0" fmla="*/ 0 w 6003234"/>
              <a:gd name="connsiteY0" fmla="*/ 2413789 h 2413789"/>
              <a:gd name="connsiteX1" fmla="*/ 1550505 w 6003234"/>
              <a:gd name="connsiteY1" fmla="*/ 1584580 h 2413789"/>
              <a:gd name="connsiteX2" fmla="*/ 2907907 w 6003234"/>
              <a:gd name="connsiteY2" fmla="*/ 988232 h 2413789"/>
              <a:gd name="connsiteX3" fmla="*/ 5969176 w 6003234"/>
              <a:gd name="connsiteY3" fmla="*/ 0 h 2413789"/>
              <a:gd name="connsiteX4" fmla="*/ 6003234 w 6003234"/>
              <a:gd name="connsiteY4" fmla="*/ 2391071 h 2413789"/>
              <a:gd name="connsiteX5" fmla="*/ 0 w 6003234"/>
              <a:gd name="connsiteY5" fmla="*/ 2413789 h 2413789"/>
              <a:gd name="connsiteX0" fmla="*/ 0 w 6003234"/>
              <a:gd name="connsiteY0" fmla="*/ 2413789 h 2413789"/>
              <a:gd name="connsiteX1" fmla="*/ 1550505 w 6003234"/>
              <a:gd name="connsiteY1" fmla="*/ 1584580 h 2413789"/>
              <a:gd name="connsiteX2" fmla="*/ 2907907 w 6003234"/>
              <a:gd name="connsiteY2" fmla="*/ 988232 h 2413789"/>
              <a:gd name="connsiteX3" fmla="*/ 5986215 w 6003234"/>
              <a:gd name="connsiteY3" fmla="*/ 0 h 2413789"/>
              <a:gd name="connsiteX4" fmla="*/ 6003234 w 6003234"/>
              <a:gd name="connsiteY4" fmla="*/ 2391071 h 2413789"/>
              <a:gd name="connsiteX5" fmla="*/ 0 w 6003234"/>
              <a:gd name="connsiteY5" fmla="*/ 2413789 h 2413789"/>
              <a:gd name="connsiteX0" fmla="*/ 0 w 6003234"/>
              <a:gd name="connsiteY0" fmla="*/ 2413789 h 2413789"/>
              <a:gd name="connsiteX1" fmla="*/ 1550505 w 6003234"/>
              <a:gd name="connsiteY1" fmla="*/ 1584580 h 2413789"/>
              <a:gd name="connsiteX2" fmla="*/ 2907907 w 6003234"/>
              <a:gd name="connsiteY2" fmla="*/ 988232 h 2413789"/>
              <a:gd name="connsiteX3" fmla="*/ 5986215 w 6003234"/>
              <a:gd name="connsiteY3" fmla="*/ 0 h 2413789"/>
              <a:gd name="connsiteX4" fmla="*/ 6003234 w 6003234"/>
              <a:gd name="connsiteY4" fmla="*/ 2391071 h 2413789"/>
              <a:gd name="connsiteX5" fmla="*/ 0 w 6003234"/>
              <a:gd name="connsiteY5" fmla="*/ 2413789 h 2413789"/>
              <a:gd name="connsiteX0" fmla="*/ 0 w 5998008"/>
              <a:gd name="connsiteY0" fmla="*/ 2927453 h 2927453"/>
              <a:gd name="connsiteX1" fmla="*/ 1545279 w 5998008"/>
              <a:gd name="connsiteY1" fmla="*/ 1584580 h 2927453"/>
              <a:gd name="connsiteX2" fmla="*/ 2902681 w 5998008"/>
              <a:gd name="connsiteY2" fmla="*/ 988232 h 2927453"/>
              <a:gd name="connsiteX3" fmla="*/ 5980989 w 5998008"/>
              <a:gd name="connsiteY3" fmla="*/ 0 h 2927453"/>
              <a:gd name="connsiteX4" fmla="*/ 5998008 w 5998008"/>
              <a:gd name="connsiteY4" fmla="*/ 2391071 h 2927453"/>
              <a:gd name="connsiteX5" fmla="*/ 0 w 5998008"/>
              <a:gd name="connsiteY5" fmla="*/ 2927453 h 2927453"/>
              <a:gd name="connsiteX0" fmla="*/ 0 w 5998008"/>
              <a:gd name="connsiteY0" fmla="*/ 2927453 h 2927453"/>
              <a:gd name="connsiteX1" fmla="*/ 1545279 w 5998008"/>
              <a:gd name="connsiteY1" fmla="*/ 1584580 h 2927453"/>
              <a:gd name="connsiteX2" fmla="*/ 2902681 w 5998008"/>
              <a:gd name="connsiteY2" fmla="*/ 988232 h 2927453"/>
              <a:gd name="connsiteX3" fmla="*/ 5980989 w 5998008"/>
              <a:gd name="connsiteY3" fmla="*/ 0 h 2927453"/>
              <a:gd name="connsiteX4" fmla="*/ 5998008 w 5998008"/>
              <a:gd name="connsiteY4" fmla="*/ 2391071 h 2927453"/>
              <a:gd name="connsiteX5" fmla="*/ 0 w 5998008"/>
              <a:gd name="connsiteY5" fmla="*/ 2927453 h 2927453"/>
              <a:gd name="connsiteX0" fmla="*/ 0 w 6002604"/>
              <a:gd name="connsiteY0" fmla="*/ 3420445 h 3420447"/>
              <a:gd name="connsiteX1" fmla="*/ 1549875 w 6002604"/>
              <a:gd name="connsiteY1" fmla="*/ 1584580 h 3420447"/>
              <a:gd name="connsiteX2" fmla="*/ 2907277 w 6002604"/>
              <a:gd name="connsiteY2" fmla="*/ 988232 h 3420447"/>
              <a:gd name="connsiteX3" fmla="*/ 5985585 w 6002604"/>
              <a:gd name="connsiteY3" fmla="*/ 0 h 3420447"/>
              <a:gd name="connsiteX4" fmla="*/ 6002604 w 6002604"/>
              <a:gd name="connsiteY4" fmla="*/ 2391071 h 3420447"/>
              <a:gd name="connsiteX5" fmla="*/ 0 w 6002604"/>
              <a:gd name="connsiteY5" fmla="*/ 3420445 h 3420447"/>
              <a:gd name="connsiteX0" fmla="*/ 0 w 6002604"/>
              <a:gd name="connsiteY0" fmla="*/ 3420445 h 3420447"/>
              <a:gd name="connsiteX1" fmla="*/ 1549875 w 6002604"/>
              <a:gd name="connsiteY1" fmla="*/ 1584580 h 3420447"/>
              <a:gd name="connsiteX2" fmla="*/ 2907277 w 6002604"/>
              <a:gd name="connsiteY2" fmla="*/ 988232 h 3420447"/>
              <a:gd name="connsiteX3" fmla="*/ 5985585 w 6002604"/>
              <a:gd name="connsiteY3" fmla="*/ 0 h 3420447"/>
              <a:gd name="connsiteX4" fmla="*/ 6002604 w 6002604"/>
              <a:gd name="connsiteY4" fmla="*/ 2391071 h 3420447"/>
              <a:gd name="connsiteX5" fmla="*/ 0 w 6002604"/>
              <a:gd name="connsiteY5" fmla="*/ 3420445 h 3420447"/>
              <a:gd name="connsiteX0" fmla="*/ 0 w 5985585"/>
              <a:gd name="connsiteY0" fmla="*/ 3420445 h 3640114"/>
              <a:gd name="connsiteX1" fmla="*/ 1549875 w 5985585"/>
              <a:gd name="connsiteY1" fmla="*/ 1584580 h 3640114"/>
              <a:gd name="connsiteX2" fmla="*/ 2907277 w 5985585"/>
              <a:gd name="connsiteY2" fmla="*/ 988232 h 3640114"/>
              <a:gd name="connsiteX3" fmla="*/ 5985585 w 5985585"/>
              <a:gd name="connsiteY3" fmla="*/ 0 h 3640114"/>
              <a:gd name="connsiteX4" fmla="*/ 5884800 w 5985585"/>
              <a:gd name="connsiteY4" fmla="*/ 3591803 h 3640114"/>
              <a:gd name="connsiteX5" fmla="*/ 0 w 5985585"/>
              <a:gd name="connsiteY5" fmla="*/ 3420445 h 3640114"/>
              <a:gd name="connsiteX0" fmla="*/ 0 w 5985585"/>
              <a:gd name="connsiteY0" fmla="*/ 3420445 h 3591804"/>
              <a:gd name="connsiteX1" fmla="*/ 1549875 w 5985585"/>
              <a:gd name="connsiteY1" fmla="*/ 1584580 h 3591804"/>
              <a:gd name="connsiteX2" fmla="*/ 2907277 w 5985585"/>
              <a:gd name="connsiteY2" fmla="*/ 988232 h 3591804"/>
              <a:gd name="connsiteX3" fmla="*/ 5985585 w 5985585"/>
              <a:gd name="connsiteY3" fmla="*/ 0 h 3591804"/>
              <a:gd name="connsiteX4" fmla="*/ 5884800 w 5985585"/>
              <a:gd name="connsiteY4" fmla="*/ 3591803 h 3591804"/>
              <a:gd name="connsiteX5" fmla="*/ 0 w 5985585"/>
              <a:gd name="connsiteY5" fmla="*/ 3420445 h 3591804"/>
              <a:gd name="connsiteX0" fmla="*/ 0 w 5983937"/>
              <a:gd name="connsiteY0" fmla="*/ 2477753 h 2649112"/>
              <a:gd name="connsiteX1" fmla="*/ 1549875 w 5983937"/>
              <a:gd name="connsiteY1" fmla="*/ 641888 h 2649112"/>
              <a:gd name="connsiteX2" fmla="*/ 2907277 w 5983937"/>
              <a:gd name="connsiteY2" fmla="*/ 45540 h 2649112"/>
              <a:gd name="connsiteX3" fmla="*/ 5983937 w 5983937"/>
              <a:gd name="connsiteY3" fmla="*/ 1034930 h 2649112"/>
              <a:gd name="connsiteX4" fmla="*/ 5884800 w 5983937"/>
              <a:gd name="connsiteY4" fmla="*/ 2649111 h 2649112"/>
              <a:gd name="connsiteX5" fmla="*/ 0 w 5983937"/>
              <a:gd name="connsiteY5" fmla="*/ 2477753 h 2649112"/>
              <a:gd name="connsiteX0" fmla="*/ 0 w 5983937"/>
              <a:gd name="connsiteY0" fmla="*/ 2138704 h 2310063"/>
              <a:gd name="connsiteX1" fmla="*/ 1549875 w 5983937"/>
              <a:gd name="connsiteY1" fmla="*/ 302839 h 2310063"/>
              <a:gd name="connsiteX2" fmla="*/ 2891055 w 5983937"/>
              <a:gd name="connsiteY2" fmla="*/ 56714 h 2310063"/>
              <a:gd name="connsiteX3" fmla="*/ 5983937 w 5983937"/>
              <a:gd name="connsiteY3" fmla="*/ 695881 h 2310063"/>
              <a:gd name="connsiteX4" fmla="*/ 5884800 w 5983937"/>
              <a:gd name="connsiteY4" fmla="*/ 2310062 h 2310063"/>
              <a:gd name="connsiteX5" fmla="*/ 0 w 5983937"/>
              <a:gd name="connsiteY5" fmla="*/ 2138704 h 2310063"/>
              <a:gd name="connsiteX0" fmla="*/ 0 w 5983937"/>
              <a:gd name="connsiteY0" fmla="*/ 2138704 h 2310063"/>
              <a:gd name="connsiteX1" fmla="*/ 1549875 w 5983937"/>
              <a:gd name="connsiteY1" fmla="*/ 302839 h 2310063"/>
              <a:gd name="connsiteX2" fmla="*/ 2891055 w 5983937"/>
              <a:gd name="connsiteY2" fmla="*/ 56714 h 2310063"/>
              <a:gd name="connsiteX3" fmla="*/ 5983937 w 5983937"/>
              <a:gd name="connsiteY3" fmla="*/ 695881 h 2310063"/>
              <a:gd name="connsiteX4" fmla="*/ 5884800 w 5983937"/>
              <a:gd name="connsiteY4" fmla="*/ 2310062 h 2310063"/>
              <a:gd name="connsiteX5" fmla="*/ 0 w 5983937"/>
              <a:gd name="connsiteY5" fmla="*/ 2138704 h 2310063"/>
              <a:gd name="connsiteX0" fmla="*/ 0 w 5983937"/>
              <a:gd name="connsiteY0" fmla="*/ 2138704 h 2310063"/>
              <a:gd name="connsiteX1" fmla="*/ 1525638 w 5983937"/>
              <a:gd name="connsiteY1" fmla="*/ 754453 h 2310063"/>
              <a:gd name="connsiteX2" fmla="*/ 2891055 w 5983937"/>
              <a:gd name="connsiteY2" fmla="*/ 56714 h 2310063"/>
              <a:gd name="connsiteX3" fmla="*/ 5983937 w 5983937"/>
              <a:gd name="connsiteY3" fmla="*/ 695881 h 2310063"/>
              <a:gd name="connsiteX4" fmla="*/ 5884800 w 5983937"/>
              <a:gd name="connsiteY4" fmla="*/ 2310062 h 2310063"/>
              <a:gd name="connsiteX5" fmla="*/ 0 w 5983937"/>
              <a:gd name="connsiteY5" fmla="*/ 2138704 h 2310063"/>
              <a:gd name="connsiteX0" fmla="*/ 0 w 5983937"/>
              <a:gd name="connsiteY0" fmla="*/ 2269072 h 2440431"/>
              <a:gd name="connsiteX1" fmla="*/ 1525638 w 5983937"/>
              <a:gd name="connsiteY1" fmla="*/ 884821 h 2440431"/>
              <a:gd name="connsiteX2" fmla="*/ 3233947 w 5983937"/>
              <a:gd name="connsiteY2" fmla="*/ 51798 h 2440431"/>
              <a:gd name="connsiteX3" fmla="*/ 5983937 w 5983937"/>
              <a:gd name="connsiteY3" fmla="*/ 826249 h 2440431"/>
              <a:gd name="connsiteX4" fmla="*/ 5884800 w 5983937"/>
              <a:gd name="connsiteY4" fmla="*/ 2440430 h 2440431"/>
              <a:gd name="connsiteX5" fmla="*/ 0 w 5983937"/>
              <a:gd name="connsiteY5" fmla="*/ 2269072 h 2440431"/>
              <a:gd name="connsiteX0" fmla="*/ 0 w 5983937"/>
              <a:gd name="connsiteY0" fmla="*/ 2269072 h 2440431"/>
              <a:gd name="connsiteX1" fmla="*/ 1525638 w 5983937"/>
              <a:gd name="connsiteY1" fmla="*/ 884821 h 2440431"/>
              <a:gd name="connsiteX2" fmla="*/ 3233947 w 5983937"/>
              <a:gd name="connsiteY2" fmla="*/ 51798 h 2440431"/>
              <a:gd name="connsiteX3" fmla="*/ 5983937 w 5983937"/>
              <a:gd name="connsiteY3" fmla="*/ 826249 h 2440431"/>
              <a:gd name="connsiteX4" fmla="*/ 5884800 w 5983937"/>
              <a:gd name="connsiteY4" fmla="*/ 2440430 h 2440431"/>
              <a:gd name="connsiteX5" fmla="*/ 0 w 5983937"/>
              <a:gd name="connsiteY5" fmla="*/ 2269072 h 2440431"/>
              <a:gd name="connsiteX0" fmla="*/ 0 w 5993953"/>
              <a:gd name="connsiteY0" fmla="*/ 2395809 h 2440431"/>
              <a:gd name="connsiteX1" fmla="*/ 1535654 w 5993953"/>
              <a:gd name="connsiteY1" fmla="*/ 884821 h 2440431"/>
              <a:gd name="connsiteX2" fmla="*/ 3243963 w 5993953"/>
              <a:gd name="connsiteY2" fmla="*/ 51798 h 2440431"/>
              <a:gd name="connsiteX3" fmla="*/ 5993953 w 5993953"/>
              <a:gd name="connsiteY3" fmla="*/ 826249 h 2440431"/>
              <a:gd name="connsiteX4" fmla="*/ 5894816 w 5993953"/>
              <a:gd name="connsiteY4" fmla="*/ 2440430 h 2440431"/>
              <a:gd name="connsiteX5" fmla="*/ 0 w 5993953"/>
              <a:gd name="connsiteY5" fmla="*/ 2395809 h 2440431"/>
              <a:gd name="connsiteX0" fmla="*/ 327511 w 6321464"/>
              <a:gd name="connsiteY0" fmla="*/ 2395809 h 2440431"/>
              <a:gd name="connsiteX1" fmla="*/ 872850 w 6321464"/>
              <a:gd name="connsiteY1" fmla="*/ 1679309 h 2440431"/>
              <a:gd name="connsiteX2" fmla="*/ 1863165 w 6321464"/>
              <a:gd name="connsiteY2" fmla="*/ 884821 h 2440431"/>
              <a:gd name="connsiteX3" fmla="*/ 3571474 w 6321464"/>
              <a:gd name="connsiteY3" fmla="*/ 51798 h 2440431"/>
              <a:gd name="connsiteX4" fmla="*/ 6321464 w 6321464"/>
              <a:gd name="connsiteY4" fmla="*/ 826249 h 2440431"/>
              <a:gd name="connsiteX5" fmla="*/ 6222327 w 6321464"/>
              <a:gd name="connsiteY5" fmla="*/ 2440430 h 2440431"/>
              <a:gd name="connsiteX6" fmla="*/ 327511 w 6321464"/>
              <a:gd name="connsiteY6" fmla="*/ 2395809 h 2440431"/>
              <a:gd name="connsiteX0" fmla="*/ 0 w 5993953"/>
              <a:gd name="connsiteY0" fmla="*/ 2395809 h 2440431"/>
              <a:gd name="connsiteX1" fmla="*/ 545339 w 5993953"/>
              <a:gd name="connsiteY1" fmla="*/ 1679309 h 2440431"/>
              <a:gd name="connsiteX2" fmla="*/ 1535654 w 5993953"/>
              <a:gd name="connsiteY2" fmla="*/ 884821 h 2440431"/>
              <a:gd name="connsiteX3" fmla="*/ 3243963 w 5993953"/>
              <a:gd name="connsiteY3" fmla="*/ 51798 h 2440431"/>
              <a:gd name="connsiteX4" fmla="*/ 5993953 w 5993953"/>
              <a:gd name="connsiteY4" fmla="*/ 826249 h 2440431"/>
              <a:gd name="connsiteX5" fmla="*/ 5894816 w 5993953"/>
              <a:gd name="connsiteY5" fmla="*/ 2440430 h 2440431"/>
              <a:gd name="connsiteX6" fmla="*/ 0 w 5993953"/>
              <a:gd name="connsiteY6" fmla="*/ 2395809 h 2440431"/>
              <a:gd name="connsiteX0" fmla="*/ 0 w 5993953"/>
              <a:gd name="connsiteY0" fmla="*/ 2395809 h 2440431"/>
              <a:gd name="connsiteX1" fmla="*/ 545339 w 5993953"/>
              <a:gd name="connsiteY1" fmla="*/ 1679309 h 2440431"/>
              <a:gd name="connsiteX2" fmla="*/ 1535654 w 5993953"/>
              <a:gd name="connsiteY2" fmla="*/ 884821 h 2440431"/>
              <a:gd name="connsiteX3" fmla="*/ 3243963 w 5993953"/>
              <a:gd name="connsiteY3" fmla="*/ 51798 h 2440431"/>
              <a:gd name="connsiteX4" fmla="*/ 5993953 w 5993953"/>
              <a:gd name="connsiteY4" fmla="*/ 826249 h 2440431"/>
              <a:gd name="connsiteX5" fmla="*/ 5894816 w 5993953"/>
              <a:gd name="connsiteY5" fmla="*/ 2440430 h 2440431"/>
              <a:gd name="connsiteX6" fmla="*/ 0 w 5993953"/>
              <a:gd name="connsiteY6" fmla="*/ 2395809 h 2440431"/>
              <a:gd name="connsiteX0" fmla="*/ 0 w 5993953"/>
              <a:gd name="connsiteY0" fmla="*/ 2395809 h 2440431"/>
              <a:gd name="connsiteX1" fmla="*/ 545339 w 5993953"/>
              <a:gd name="connsiteY1" fmla="*/ 1679309 h 2440431"/>
              <a:gd name="connsiteX2" fmla="*/ 1535654 w 5993953"/>
              <a:gd name="connsiteY2" fmla="*/ 884821 h 2440431"/>
              <a:gd name="connsiteX3" fmla="*/ 3243963 w 5993953"/>
              <a:gd name="connsiteY3" fmla="*/ 51798 h 2440431"/>
              <a:gd name="connsiteX4" fmla="*/ 5993953 w 5993953"/>
              <a:gd name="connsiteY4" fmla="*/ 826249 h 2440431"/>
              <a:gd name="connsiteX5" fmla="*/ 5894816 w 5993953"/>
              <a:gd name="connsiteY5" fmla="*/ 2440430 h 2440431"/>
              <a:gd name="connsiteX6" fmla="*/ 0 w 5993953"/>
              <a:gd name="connsiteY6" fmla="*/ 2395809 h 2440431"/>
              <a:gd name="connsiteX0" fmla="*/ 0 w 5993953"/>
              <a:gd name="connsiteY0" fmla="*/ 2395809 h 2440431"/>
              <a:gd name="connsiteX1" fmla="*/ 545339 w 5993953"/>
              <a:gd name="connsiteY1" fmla="*/ 1679309 h 2440431"/>
              <a:gd name="connsiteX2" fmla="*/ 1535654 w 5993953"/>
              <a:gd name="connsiteY2" fmla="*/ 884821 h 2440431"/>
              <a:gd name="connsiteX3" fmla="*/ 3243963 w 5993953"/>
              <a:gd name="connsiteY3" fmla="*/ 51798 h 2440431"/>
              <a:gd name="connsiteX4" fmla="*/ 5993953 w 5993953"/>
              <a:gd name="connsiteY4" fmla="*/ 826249 h 2440431"/>
              <a:gd name="connsiteX5" fmla="*/ 5894816 w 5993953"/>
              <a:gd name="connsiteY5" fmla="*/ 2440430 h 2440431"/>
              <a:gd name="connsiteX6" fmla="*/ 0 w 5993953"/>
              <a:gd name="connsiteY6" fmla="*/ 2395809 h 2440431"/>
              <a:gd name="connsiteX0" fmla="*/ 0 w 5993953"/>
              <a:gd name="connsiteY0" fmla="*/ 2395809 h 2440431"/>
              <a:gd name="connsiteX1" fmla="*/ 545339 w 5993953"/>
              <a:gd name="connsiteY1" fmla="*/ 1679309 h 2440431"/>
              <a:gd name="connsiteX2" fmla="*/ 1535654 w 5993953"/>
              <a:gd name="connsiteY2" fmla="*/ 884821 h 2440431"/>
              <a:gd name="connsiteX3" fmla="*/ 3243963 w 5993953"/>
              <a:gd name="connsiteY3" fmla="*/ 51798 h 2440431"/>
              <a:gd name="connsiteX4" fmla="*/ 5993953 w 5993953"/>
              <a:gd name="connsiteY4" fmla="*/ 826249 h 2440431"/>
              <a:gd name="connsiteX5" fmla="*/ 5894816 w 5993953"/>
              <a:gd name="connsiteY5" fmla="*/ 2440430 h 2440431"/>
              <a:gd name="connsiteX6" fmla="*/ 0 w 5993953"/>
              <a:gd name="connsiteY6" fmla="*/ 2395809 h 2440431"/>
              <a:gd name="connsiteX0" fmla="*/ 235977 w 6229930"/>
              <a:gd name="connsiteY0" fmla="*/ 2395809 h 2525545"/>
              <a:gd name="connsiteX1" fmla="*/ 781316 w 6229930"/>
              <a:gd name="connsiteY1" fmla="*/ 1679309 h 2525545"/>
              <a:gd name="connsiteX2" fmla="*/ 1771631 w 6229930"/>
              <a:gd name="connsiteY2" fmla="*/ 884821 h 2525545"/>
              <a:gd name="connsiteX3" fmla="*/ 3479940 w 6229930"/>
              <a:gd name="connsiteY3" fmla="*/ 51798 h 2525545"/>
              <a:gd name="connsiteX4" fmla="*/ 6229930 w 6229930"/>
              <a:gd name="connsiteY4" fmla="*/ 826249 h 2525545"/>
              <a:gd name="connsiteX5" fmla="*/ 6130793 w 6229930"/>
              <a:gd name="connsiteY5" fmla="*/ 2440430 h 2525545"/>
              <a:gd name="connsiteX6" fmla="*/ 544110 w 6229930"/>
              <a:gd name="connsiteY6" fmla="*/ 2348436 h 2525545"/>
              <a:gd name="connsiteX7" fmla="*/ 235977 w 6229930"/>
              <a:gd name="connsiteY7" fmla="*/ 2395809 h 2525545"/>
              <a:gd name="connsiteX0" fmla="*/ 9258 w 6003211"/>
              <a:gd name="connsiteY0" fmla="*/ 2395809 h 2525545"/>
              <a:gd name="connsiteX1" fmla="*/ 554597 w 6003211"/>
              <a:gd name="connsiteY1" fmla="*/ 1679309 h 2525545"/>
              <a:gd name="connsiteX2" fmla="*/ 1544912 w 6003211"/>
              <a:gd name="connsiteY2" fmla="*/ 884821 h 2525545"/>
              <a:gd name="connsiteX3" fmla="*/ 3253221 w 6003211"/>
              <a:gd name="connsiteY3" fmla="*/ 51798 h 2525545"/>
              <a:gd name="connsiteX4" fmla="*/ 6003211 w 6003211"/>
              <a:gd name="connsiteY4" fmla="*/ 826249 h 2525545"/>
              <a:gd name="connsiteX5" fmla="*/ 5904074 w 6003211"/>
              <a:gd name="connsiteY5" fmla="*/ 2440430 h 2525545"/>
              <a:gd name="connsiteX6" fmla="*/ 317391 w 6003211"/>
              <a:gd name="connsiteY6" fmla="*/ 2348436 h 2525545"/>
              <a:gd name="connsiteX7" fmla="*/ 9258 w 6003211"/>
              <a:gd name="connsiteY7" fmla="*/ 2395809 h 2525545"/>
              <a:gd name="connsiteX0" fmla="*/ 9258 w 6003211"/>
              <a:gd name="connsiteY0" fmla="*/ 2395809 h 2495875"/>
              <a:gd name="connsiteX1" fmla="*/ 554597 w 6003211"/>
              <a:gd name="connsiteY1" fmla="*/ 1679309 h 2495875"/>
              <a:gd name="connsiteX2" fmla="*/ 1544912 w 6003211"/>
              <a:gd name="connsiteY2" fmla="*/ 884821 h 2495875"/>
              <a:gd name="connsiteX3" fmla="*/ 3253221 w 6003211"/>
              <a:gd name="connsiteY3" fmla="*/ 51798 h 2495875"/>
              <a:gd name="connsiteX4" fmla="*/ 6003211 w 6003211"/>
              <a:gd name="connsiteY4" fmla="*/ 826249 h 2495875"/>
              <a:gd name="connsiteX5" fmla="*/ 5904074 w 6003211"/>
              <a:gd name="connsiteY5" fmla="*/ 2440430 h 2495875"/>
              <a:gd name="connsiteX6" fmla="*/ 317391 w 6003211"/>
              <a:gd name="connsiteY6" fmla="*/ 2348436 h 2495875"/>
              <a:gd name="connsiteX7" fmla="*/ 9258 w 6003211"/>
              <a:gd name="connsiteY7" fmla="*/ 2395809 h 2495875"/>
              <a:gd name="connsiteX0" fmla="*/ 9258 w 6003211"/>
              <a:gd name="connsiteY0" fmla="*/ 2395809 h 2515236"/>
              <a:gd name="connsiteX1" fmla="*/ 554597 w 6003211"/>
              <a:gd name="connsiteY1" fmla="*/ 1679309 h 2515236"/>
              <a:gd name="connsiteX2" fmla="*/ 1544912 w 6003211"/>
              <a:gd name="connsiteY2" fmla="*/ 884821 h 2515236"/>
              <a:gd name="connsiteX3" fmla="*/ 3253221 w 6003211"/>
              <a:gd name="connsiteY3" fmla="*/ 51798 h 2515236"/>
              <a:gd name="connsiteX4" fmla="*/ 6003211 w 6003211"/>
              <a:gd name="connsiteY4" fmla="*/ 826249 h 2515236"/>
              <a:gd name="connsiteX5" fmla="*/ 5904074 w 6003211"/>
              <a:gd name="connsiteY5" fmla="*/ 2440430 h 2515236"/>
              <a:gd name="connsiteX6" fmla="*/ 750167 w 6003211"/>
              <a:gd name="connsiteY6" fmla="*/ 2234801 h 2515236"/>
              <a:gd name="connsiteX7" fmla="*/ 317391 w 6003211"/>
              <a:gd name="connsiteY7" fmla="*/ 2348436 h 2515236"/>
              <a:gd name="connsiteX8" fmla="*/ 9258 w 6003211"/>
              <a:gd name="connsiteY8" fmla="*/ 2395809 h 2515236"/>
              <a:gd name="connsiteX0" fmla="*/ 9258 w 6003211"/>
              <a:gd name="connsiteY0" fmla="*/ 2395809 h 2515236"/>
              <a:gd name="connsiteX1" fmla="*/ 554597 w 6003211"/>
              <a:gd name="connsiteY1" fmla="*/ 1679309 h 2515236"/>
              <a:gd name="connsiteX2" fmla="*/ 1544912 w 6003211"/>
              <a:gd name="connsiteY2" fmla="*/ 884821 h 2515236"/>
              <a:gd name="connsiteX3" fmla="*/ 3253221 w 6003211"/>
              <a:gd name="connsiteY3" fmla="*/ 51798 h 2515236"/>
              <a:gd name="connsiteX4" fmla="*/ 6003211 w 6003211"/>
              <a:gd name="connsiteY4" fmla="*/ 826249 h 2515236"/>
              <a:gd name="connsiteX5" fmla="*/ 5904074 w 6003211"/>
              <a:gd name="connsiteY5" fmla="*/ 2440430 h 2515236"/>
              <a:gd name="connsiteX6" fmla="*/ 750167 w 6003211"/>
              <a:gd name="connsiteY6" fmla="*/ 2234801 h 2515236"/>
              <a:gd name="connsiteX7" fmla="*/ 317391 w 6003211"/>
              <a:gd name="connsiteY7" fmla="*/ 2348436 h 2515236"/>
              <a:gd name="connsiteX8" fmla="*/ 9258 w 6003211"/>
              <a:gd name="connsiteY8" fmla="*/ 2395809 h 2515236"/>
              <a:gd name="connsiteX0" fmla="*/ 9258 w 6003211"/>
              <a:gd name="connsiteY0" fmla="*/ 2395809 h 2478186"/>
              <a:gd name="connsiteX1" fmla="*/ 554597 w 6003211"/>
              <a:gd name="connsiteY1" fmla="*/ 1679309 h 2478186"/>
              <a:gd name="connsiteX2" fmla="*/ 1544912 w 6003211"/>
              <a:gd name="connsiteY2" fmla="*/ 884821 h 2478186"/>
              <a:gd name="connsiteX3" fmla="*/ 3253221 w 6003211"/>
              <a:gd name="connsiteY3" fmla="*/ 51798 h 2478186"/>
              <a:gd name="connsiteX4" fmla="*/ 6003211 w 6003211"/>
              <a:gd name="connsiteY4" fmla="*/ 826249 h 2478186"/>
              <a:gd name="connsiteX5" fmla="*/ 5904074 w 6003211"/>
              <a:gd name="connsiteY5" fmla="*/ 2440430 h 2478186"/>
              <a:gd name="connsiteX6" fmla="*/ 750167 w 6003211"/>
              <a:gd name="connsiteY6" fmla="*/ 2234801 h 2478186"/>
              <a:gd name="connsiteX7" fmla="*/ 317391 w 6003211"/>
              <a:gd name="connsiteY7" fmla="*/ 2348436 h 2478186"/>
              <a:gd name="connsiteX8" fmla="*/ 9258 w 6003211"/>
              <a:gd name="connsiteY8" fmla="*/ 2395809 h 2478186"/>
              <a:gd name="connsiteX0" fmla="*/ 9258 w 6003211"/>
              <a:gd name="connsiteY0" fmla="*/ 2395809 h 2468380"/>
              <a:gd name="connsiteX1" fmla="*/ 554597 w 6003211"/>
              <a:gd name="connsiteY1" fmla="*/ 1679309 h 2468380"/>
              <a:gd name="connsiteX2" fmla="*/ 1544912 w 6003211"/>
              <a:gd name="connsiteY2" fmla="*/ 884821 h 2468380"/>
              <a:gd name="connsiteX3" fmla="*/ 3253221 w 6003211"/>
              <a:gd name="connsiteY3" fmla="*/ 51798 h 2468380"/>
              <a:gd name="connsiteX4" fmla="*/ 6003211 w 6003211"/>
              <a:gd name="connsiteY4" fmla="*/ 826249 h 2468380"/>
              <a:gd name="connsiteX5" fmla="*/ 5904074 w 6003211"/>
              <a:gd name="connsiteY5" fmla="*/ 2440430 h 2468380"/>
              <a:gd name="connsiteX6" fmla="*/ 1045188 w 6003211"/>
              <a:gd name="connsiteY6" fmla="*/ 1642955 h 2468380"/>
              <a:gd name="connsiteX7" fmla="*/ 750167 w 6003211"/>
              <a:gd name="connsiteY7" fmla="*/ 2234801 h 2468380"/>
              <a:gd name="connsiteX8" fmla="*/ 317391 w 6003211"/>
              <a:gd name="connsiteY8" fmla="*/ 2348436 h 2468380"/>
              <a:gd name="connsiteX9" fmla="*/ 9258 w 6003211"/>
              <a:gd name="connsiteY9" fmla="*/ 2395809 h 2468380"/>
              <a:gd name="connsiteX0" fmla="*/ 9258 w 6003211"/>
              <a:gd name="connsiteY0" fmla="*/ 2395809 h 2468380"/>
              <a:gd name="connsiteX1" fmla="*/ 554597 w 6003211"/>
              <a:gd name="connsiteY1" fmla="*/ 1679309 h 2468380"/>
              <a:gd name="connsiteX2" fmla="*/ 1544912 w 6003211"/>
              <a:gd name="connsiteY2" fmla="*/ 884821 h 2468380"/>
              <a:gd name="connsiteX3" fmla="*/ 3253221 w 6003211"/>
              <a:gd name="connsiteY3" fmla="*/ 51798 h 2468380"/>
              <a:gd name="connsiteX4" fmla="*/ 6003211 w 6003211"/>
              <a:gd name="connsiteY4" fmla="*/ 826249 h 2468380"/>
              <a:gd name="connsiteX5" fmla="*/ 5904074 w 6003211"/>
              <a:gd name="connsiteY5" fmla="*/ 2440430 h 2468380"/>
              <a:gd name="connsiteX6" fmla="*/ 1045188 w 6003211"/>
              <a:gd name="connsiteY6" fmla="*/ 1642955 h 2468380"/>
              <a:gd name="connsiteX7" fmla="*/ 750167 w 6003211"/>
              <a:gd name="connsiteY7" fmla="*/ 2234801 h 2468380"/>
              <a:gd name="connsiteX8" fmla="*/ 317391 w 6003211"/>
              <a:gd name="connsiteY8" fmla="*/ 2348436 h 2468380"/>
              <a:gd name="connsiteX9" fmla="*/ 9258 w 6003211"/>
              <a:gd name="connsiteY9" fmla="*/ 2395809 h 2468380"/>
              <a:gd name="connsiteX0" fmla="*/ 9258 w 6003211"/>
              <a:gd name="connsiteY0" fmla="*/ 2395809 h 2468380"/>
              <a:gd name="connsiteX1" fmla="*/ 554597 w 6003211"/>
              <a:gd name="connsiteY1" fmla="*/ 1679309 h 2468380"/>
              <a:gd name="connsiteX2" fmla="*/ 1544912 w 6003211"/>
              <a:gd name="connsiteY2" fmla="*/ 884821 h 2468380"/>
              <a:gd name="connsiteX3" fmla="*/ 3253221 w 6003211"/>
              <a:gd name="connsiteY3" fmla="*/ 51798 h 2468380"/>
              <a:gd name="connsiteX4" fmla="*/ 6003211 w 6003211"/>
              <a:gd name="connsiteY4" fmla="*/ 826249 h 2468380"/>
              <a:gd name="connsiteX5" fmla="*/ 5904074 w 6003211"/>
              <a:gd name="connsiteY5" fmla="*/ 2440430 h 2468380"/>
              <a:gd name="connsiteX6" fmla="*/ 1045188 w 6003211"/>
              <a:gd name="connsiteY6" fmla="*/ 1642955 h 2468380"/>
              <a:gd name="connsiteX7" fmla="*/ 750167 w 6003211"/>
              <a:gd name="connsiteY7" fmla="*/ 2234801 h 2468380"/>
              <a:gd name="connsiteX8" fmla="*/ 317391 w 6003211"/>
              <a:gd name="connsiteY8" fmla="*/ 2348436 h 2468380"/>
              <a:gd name="connsiteX9" fmla="*/ 9258 w 6003211"/>
              <a:gd name="connsiteY9" fmla="*/ 2395809 h 2468380"/>
              <a:gd name="connsiteX0" fmla="*/ 9258 w 6003211"/>
              <a:gd name="connsiteY0" fmla="*/ 2395809 h 2465805"/>
              <a:gd name="connsiteX1" fmla="*/ 554597 w 6003211"/>
              <a:gd name="connsiteY1" fmla="*/ 1679309 h 2465805"/>
              <a:gd name="connsiteX2" fmla="*/ 1544912 w 6003211"/>
              <a:gd name="connsiteY2" fmla="*/ 884821 h 2465805"/>
              <a:gd name="connsiteX3" fmla="*/ 3253221 w 6003211"/>
              <a:gd name="connsiteY3" fmla="*/ 51798 h 2465805"/>
              <a:gd name="connsiteX4" fmla="*/ 6003211 w 6003211"/>
              <a:gd name="connsiteY4" fmla="*/ 826249 h 2465805"/>
              <a:gd name="connsiteX5" fmla="*/ 5904074 w 6003211"/>
              <a:gd name="connsiteY5" fmla="*/ 2440430 h 2465805"/>
              <a:gd name="connsiteX6" fmla="*/ 3009974 w 6003211"/>
              <a:gd name="connsiteY6" fmla="*/ 1524697 h 2465805"/>
              <a:gd name="connsiteX7" fmla="*/ 1045188 w 6003211"/>
              <a:gd name="connsiteY7" fmla="*/ 1642955 h 2465805"/>
              <a:gd name="connsiteX8" fmla="*/ 750167 w 6003211"/>
              <a:gd name="connsiteY8" fmla="*/ 2234801 h 2465805"/>
              <a:gd name="connsiteX9" fmla="*/ 317391 w 6003211"/>
              <a:gd name="connsiteY9" fmla="*/ 2348436 h 2465805"/>
              <a:gd name="connsiteX10" fmla="*/ 9258 w 6003211"/>
              <a:gd name="connsiteY10" fmla="*/ 2395809 h 2465805"/>
              <a:gd name="connsiteX0" fmla="*/ 9258 w 6003211"/>
              <a:gd name="connsiteY0" fmla="*/ 2395809 h 2455463"/>
              <a:gd name="connsiteX1" fmla="*/ 554597 w 6003211"/>
              <a:gd name="connsiteY1" fmla="*/ 1679309 h 2455463"/>
              <a:gd name="connsiteX2" fmla="*/ 1544912 w 6003211"/>
              <a:gd name="connsiteY2" fmla="*/ 884821 h 2455463"/>
              <a:gd name="connsiteX3" fmla="*/ 3253221 w 6003211"/>
              <a:gd name="connsiteY3" fmla="*/ 51798 h 2455463"/>
              <a:gd name="connsiteX4" fmla="*/ 6003211 w 6003211"/>
              <a:gd name="connsiteY4" fmla="*/ 826249 h 2455463"/>
              <a:gd name="connsiteX5" fmla="*/ 5904074 w 6003211"/>
              <a:gd name="connsiteY5" fmla="*/ 2440430 h 2455463"/>
              <a:gd name="connsiteX6" fmla="*/ 3569539 w 6003211"/>
              <a:gd name="connsiteY6" fmla="*/ 1519576 h 2455463"/>
              <a:gd name="connsiteX7" fmla="*/ 3009974 w 6003211"/>
              <a:gd name="connsiteY7" fmla="*/ 1524697 h 2455463"/>
              <a:gd name="connsiteX8" fmla="*/ 1045188 w 6003211"/>
              <a:gd name="connsiteY8" fmla="*/ 1642955 h 2455463"/>
              <a:gd name="connsiteX9" fmla="*/ 750167 w 6003211"/>
              <a:gd name="connsiteY9" fmla="*/ 2234801 h 2455463"/>
              <a:gd name="connsiteX10" fmla="*/ 317391 w 6003211"/>
              <a:gd name="connsiteY10" fmla="*/ 2348436 h 2455463"/>
              <a:gd name="connsiteX11" fmla="*/ 9258 w 6003211"/>
              <a:gd name="connsiteY11" fmla="*/ 2395809 h 2455463"/>
              <a:gd name="connsiteX0" fmla="*/ 9258 w 6003211"/>
              <a:gd name="connsiteY0" fmla="*/ 2395809 h 2455463"/>
              <a:gd name="connsiteX1" fmla="*/ 554597 w 6003211"/>
              <a:gd name="connsiteY1" fmla="*/ 1679309 h 2455463"/>
              <a:gd name="connsiteX2" fmla="*/ 1544912 w 6003211"/>
              <a:gd name="connsiteY2" fmla="*/ 884821 h 2455463"/>
              <a:gd name="connsiteX3" fmla="*/ 3253221 w 6003211"/>
              <a:gd name="connsiteY3" fmla="*/ 51798 h 2455463"/>
              <a:gd name="connsiteX4" fmla="*/ 6003211 w 6003211"/>
              <a:gd name="connsiteY4" fmla="*/ 826249 h 2455463"/>
              <a:gd name="connsiteX5" fmla="*/ 5904074 w 6003211"/>
              <a:gd name="connsiteY5" fmla="*/ 2440430 h 2455463"/>
              <a:gd name="connsiteX6" fmla="*/ 3569539 w 6003211"/>
              <a:gd name="connsiteY6" fmla="*/ 1519576 h 2455463"/>
              <a:gd name="connsiteX7" fmla="*/ 3009974 w 6003211"/>
              <a:gd name="connsiteY7" fmla="*/ 1524697 h 2455463"/>
              <a:gd name="connsiteX8" fmla="*/ 1045188 w 6003211"/>
              <a:gd name="connsiteY8" fmla="*/ 1642955 h 2455463"/>
              <a:gd name="connsiteX9" fmla="*/ 750167 w 6003211"/>
              <a:gd name="connsiteY9" fmla="*/ 2234801 h 2455463"/>
              <a:gd name="connsiteX10" fmla="*/ 317391 w 6003211"/>
              <a:gd name="connsiteY10" fmla="*/ 2348436 h 2455463"/>
              <a:gd name="connsiteX11" fmla="*/ 9258 w 6003211"/>
              <a:gd name="connsiteY11" fmla="*/ 2395809 h 2455463"/>
              <a:gd name="connsiteX0" fmla="*/ 9258 w 6003211"/>
              <a:gd name="connsiteY0" fmla="*/ 2395809 h 2460169"/>
              <a:gd name="connsiteX1" fmla="*/ 554597 w 6003211"/>
              <a:gd name="connsiteY1" fmla="*/ 1679309 h 2460169"/>
              <a:gd name="connsiteX2" fmla="*/ 1544912 w 6003211"/>
              <a:gd name="connsiteY2" fmla="*/ 884821 h 2460169"/>
              <a:gd name="connsiteX3" fmla="*/ 3253221 w 6003211"/>
              <a:gd name="connsiteY3" fmla="*/ 51798 h 2460169"/>
              <a:gd name="connsiteX4" fmla="*/ 6003211 w 6003211"/>
              <a:gd name="connsiteY4" fmla="*/ 826249 h 2460169"/>
              <a:gd name="connsiteX5" fmla="*/ 5904074 w 6003211"/>
              <a:gd name="connsiteY5" fmla="*/ 2440430 h 2460169"/>
              <a:gd name="connsiteX6" fmla="*/ 3569539 w 6003211"/>
              <a:gd name="connsiteY6" fmla="*/ 1519576 h 2460169"/>
              <a:gd name="connsiteX7" fmla="*/ 3009974 w 6003211"/>
              <a:gd name="connsiteY7" fmla="*/ 1524697 h 2460169"/>
              <a:gd name="connsiteX8" fmla="*/ 1045188 w 6003211"/>
              <a:gd name="connsiteY8" fmla="*/ 1642955 h 2460169"/>
              <a:gd name="connsiteX9" fmla="*/ 750167 w 6003211"/>
              <a:gd name="connsiteY9" fmla="*/ 2234801 h 2460169"/>
              <a:gd name="connsiteX10" fmla="*/ 317391 w 6003211"/>
              <a:gd name="connsiteY10" fmla="*/ 2348436 h 2460169"/>
              <a:gd name="connsiteX11" fmla="*/ 9258 w 6003211"/>
              <a:gd name="connsiteY11" fmla="*/ 2395809 h 2460169"/>
              <a:gd name="connsiteX0" fmla="*/ 9258 w 6003211"/>
              <a:gd name="connsiteY0" fmla="*/ 2395809 h 2473845"/>
              <a:gd name="connsiteX1" fmla="*/ 554597 w 6003211"/>
              <a:gd name="connsiteY1" fmla="*/ 1679309 h 2473845"/>
              <a:gd name="connsiteX2" fmla="*/ 1544912 w 6003211"/>
              <a:gd name="connsiteY2" fmla="*/ 884821 h 2473845"/>
              <a:gd name="connsiteX3" fmla="*/ 3253221 w 6003211"/>
              <a:gd name="connsiteY3" fmla="*/ 51798 h 2473845"/>
              <a:gd name="connsiteX4" fmla="*/ 6003211 w 6003211"/>
              <a:gd name="connsiteY4" fmla="*/ 826249 h 2473845"/>
              <a:gd name="connsiteX5" fmla="*/ 5904074 w 6003211"/>
              <a:gd name="connsiteY5" fmla="*/ 2440430 h 2473845"/>
              <a:gd name="connsiteX6" fmla="*/ 3930849 w 6003211"/>
              <a:gd name="connsiteY6" fmla="*/ 1954733 h 2473845"/>
              <a:gd name="connsiteX7" fmla="*/ 3569539 w 6003211"/>
              <a:gd name="connsiteY7" fmla="*/ 1519576 h 2473845"/>
              <a:gd name="connsiteX8" fmla="*/ 3009974 w 6003211"/>
              <a:gd name="connsiteY8" fmla="*/ 1524697 h 2473845"/>
              <a:gd name="connsiteX9" fmla="*/ 1045188 w 6003211"/>
              <a:gd name="connsiteY9" fmla="*/ 1642955 h 2473845"/>
              <a:gd name="connsiteX10" fmla="*/ 750167 w 6003211"/>
              <a:gd name="connsiteY10" fmla="*/ 2234801 h 2473845"/>
              <a:gd name="connsiteX11" fmla="*/ 317391 w 6003211"/>
              <a:gd name="connsiteY11" fmla="*/ 2348436 h 2473845"/>
              <a:gd name="connsiteX12" fmla="*/ 9258 w 6003211"/>
              <a:gd name="connsiteY12" fmla="*/ 2395809 h 2473845"/>
              <a:gd name="connsiteX0" fmla="*/ 9258 w 6003211"/>
              <a:gd name="connsiteY0" fmla="*/ 2395809 h 2473845"/>
              <a:gd name="connsiteX1" fmla="*/ 554597 w 6003211"/>
              <a:gd name="connsiteY1" fmla="*/ 1679309 h 2473845"/>
              <a:gd name="connsiteX2" fmla="*/ 1544912 w 6003211"/>
              <a:gd name="connsiteY2" fmla="*/ 884821 h 2473845"/>
              <a:gd name="connsiteX3" fmla="*/ 3253221 w 6003211"/>
              <a:gd name="connsiteY3" fmla="*/ 51798 h 2473845"/>
              <a:gd name="connsiteX4" fmla="*/ 6003211 w 6003211"/>
              <a:gd name="connsiteY4" fmla="*/ 826249 h 2473845"/>
              <a:gd name="connsiteX5" fmla="*/ 5904074 w 6003211"/>
              <a:gd name="connsiteY5" fmla="*/ 2440430 h 2473845"/>
              <a:gd name="connsiteX6" fmla="*/ 3930849 w 6003211"/>
              <a:gd name="connsiteY6" fmla="*/ 1954733 h 2473845"/>
              <a:gd name="connsiteX7" fmla="*/ 3569539 w 6003211"/>
              <a:gd name="connsiteY7" fmla="*/ 1519576 h 2473845"/>
              <a:gd name="connsiteX8" fmla="*/ 3009974 w 6003211"/>
              <a:gd name="connsiteY8" fmla="*/ 1524697 h 2473845"/>
              <a:gd name="connsiteX9" fmla="*/ 1045188 w 6003211"/>
              <a:gd name="connsiteY9" fmla="*/ 1642955 h 2473845"/>
              <a:gd name="connsiteX10" fmla="*/ 750167 w 6003211"/>
              <a:gd name="connsiteY10" fmla="*/ 2234801 h 2473845"/>
              <a:gd name="connsiteX11" fmla="*/ 317391 w 6003211"/>
              <a:gd name="connsiteY11" fmla="*/ 2348436 h 2473845"/>
              <a:gd name="connsiteX12" fmla="*/ 9258 w 6003211"/>
              <a:gd name="connsiteY12" fmla="*/ 2395809 h 2473845"/>
              <a:gd name="connsiteX0" fmla="*/ 9258 w 6003211"/>
              <a:gd name="connsiteY0" fmla="*/ 2395809 h 2462924"/>
              <a:gd name="connsiteX1" fmla="*/ 554597 w 6003211"/>
              <a:gd name="connsiteY1" fmla="*/ 1679309 h 2462924"/>
              <a:gd name="connsiteX2" fmla="*/ 1544912 w 6003211"/>
              <a:gd name="connsiteY2" fmla="*/ 884821 h 2462924"/>
              <a:gd name="connsiteX3" fmla="*/ 3253221 w 6003211"/>
              <a:gd name="connsiteY3" fmla="*/ 51798 h 2462924"/>
              <a:gd name="connsiteX4" fmla="*/ 6003211 w 6003211"/>
              <a:gd name="connsiteY4" fmla="*/ 826249 h 2462924"/>
              <a:gd name="connsiteX5" fmla="*/ 5904074 w 6003211"/>
              <a:gd name="connsiteY5" fmla="*/ 2440430 h 2462924"/>
              <a:gd name="connsiteX6" fmla="*/ 3930849 w 6003211"/>
              <a:gd name="connsiteY6" fmla="*/ 1954733 h 2462924"/>
              <a:gd name="connsiteX7" fmla="*/ 3569539 w 6003211"/>
              <a:gd name="connsiteY7" fmla="*/ 1519576 h 2462924"/>
              <a:gd name="connsiteX8" fmla="*/ 3009974 w 6003211"/>
              <a:gd name="connsiteY8" fmla="*/ 1524697 h 2462924"/>
              <a:gd name="connsiteX9" fmla="*/ 1045188 w 6003211"/>
              <a:gd name="connsiteY9" fmla="*/ 1642955 h 2462924"/>
              <a:gd name="connsiteX10" fmla="*/ 750167 w 6003211"/>
              <a:gd name="connsiteY10" fmla="*/ 2234801 h 2462924"/>
              <a:gd name="connsiteX11" fmla="*/ 317391 w 6003211"/>
              <a:gd name="connsiteY11" fmla="*/ 2348436 h 2462924"/>
              <a:gd name="connsiteX12" fmla="*/ 9258 w 6003211"/>
              <a:gd name="connsiteY12" fmla="*/ 2395809 h 2462924"/>
              <a:gd name="connsiteX0" fmla="*/ 9258 w 6003211"/>
              <a:gd name="connsiteY0" fmla="*/ 2261588 h 2328703"/>
              <a:gd name="connsiteX1" fmla="*/ 554597 w 6003211"/>
              <a:gd name="connsiteY1" fmla="*/ 1545088 h 2328703"/>
              <a:gd name="connsiteX2" fmla="*/ 1544912 w 6003211"/>
              <a:gd name="connsiteY2" fmla="*/ 750600 h 2328703"/>
              <a:gd name="connsiteX3" fmla="*/ 3255482 w 6003211"/>
              <a:gd name="connsiteY3" fmla="*/ 56878 h 2328703"/>
              <a:gd name="connsiteX4" fmla="*/ 6003211 w 6003211"/>
              <a:gd name="connsiteY4" fmla="*/ 692028 h 2328703"/>
              <a:gd name="connsiteX5" fmla="*/ 5904074 w 6003211"/>
              <a:gd name="connsiteY5" fmla="*/ 2306209 h 2328703"/>
              <a:gd name="connsiteX6" fmla="*/ 3930849 w 6003211"/>
              <a:gd name="connsiteY6" fmla="*/ 1820512 h 2328703"/>
              <a:gd name="connsiteX7" fmla="*/ 3569539 w 6003211"/>
              <a:gd name="connsiteY7" fmla="*/ 1385355 h 2328703"/>
              <a:gd name="connsiteX8" fmla="*/ 3009974 w 6003211"/>
              <a:gd name="connsiteY8" fmla="*/ 1390476 h 2328703"/>
              <a:gd name="connsiteX9" fmla="*/ 1045188 w 6003211"/>
              <a:gd name="connsiteY9" fmla="*/ 1508734 h 2328703"/>
              <a:gd name="connsiteX10" fmla="*/ 750167 w 6003211"/>
              <a:gd name="connsiteY10" fmla="*/ 2100580 h 2328703"/>
              <a:gd name="connsiteX11" fmla="*/ 317391 w 6003211"/>
              <a:gd name="connsiteY11" fmla="*/ 2214215 h 2328703"/>
              <a:gd name="connsiteX12" fmla="*/ 9258 w 6003211"/>
              <a:gd name="connsiteY12" fmla="*/ 2261588 h 2328703"/>
              <a:gd name="connsiteX0" fmla="*/ 9258 w 6003211"/>
              <a:gd name="connsiteY0" fmla="*/ 2261588 h 2328703"/>
              <a:gd name="connsiteX1" fmla="*/ 554597 w 6003211"/>
              <a:gd name="connsiteY1" fmla="*/ 1545088 h 2328703"/>
              <a:gd name="connsiteX2" fmla="*/ 1544912 w 6003211"/>
              <a:gd name="connsiteY2" fmla="*/ 750600 h 2328703"/>
              <a:gd name="connsiteX3" fmla="*/ 3255482 w 6003211"/>
              <a:gd name="connsiteY3" fmla="*/ 56878 h 2328703"/>
              <a:gd name="connsiteX4" fmla="*/ 6003211 w 6003211"/>
              <a:gd name="connsiteY4" fmla="*/ 692028 h 2328703"/>
              <a:gd name="connsiteX5" fmla="*/ 5904074 w 6003211"/>
              <a:gd name="connsiteY5" fmla="*/ 2306209 h 2328703"/>
              <a:gd name="connsiteX6" fmla="*/ 3930849 w 6003211"/>
              <a:gd name="connsiteY6" fmla="*/ 1820512 h 2328703"/>
              <a:gd name="connsiteX7" fmla="*/ 3569539 w 6003211"/>
              <a:gd name="connsiteY7" fmla="*/ 1385355 h 2328703"/>
              <a:gd name="connsiteX8" fmla="*/ 3009974 w 6003211"/>
              <a:gd name="connsiteY8" fmla="*/ 1390476 h 2328703"/>
              <a:gd name="connsiteX9" fmla="*/ 1045188 w 6003211"/>
              <a:gd name="connsiteY9" fmla="*/ 1508734 h 2328703"/>
              <a:gd name="connsiteX10" fmla="*/ 750167 w 6003211"/>
              <a:gd name="connsiteY10" fmla="*/ 2100580 h 2328703"/>
              <a:gd name="connsiteX11" fmla="*/ 317391 w 6003211"/>
              <a:gd name="connsiteY11" fmla="*/ 2214215 h 2328703"/>
              <a:gd name="connsiteX12" fmla="*/ 9258 w 6003211"/>
              <a:gd name="connsiteY12" fmla="*/ 2261588 h 2328703"/>
              <a:gd name="connsiteX0" fmla="*/ 9258 w 6003211"/>
              <a:gd name="connsiteY0" fmla="*/ 2242937 h 2310052"/>
              <a:gd name="connsiteX1" fmla="*/ 554597 w 6003211"/>
              <a:gd name="connsiteY1" fmla="*/ 1526437 h 2310052"/>
              <a:gd name="connsiteX2" fmla="*/ 1544912 w 6003211"/>
              <a:gd name="connsiteY2" fmla="*/ 731949 h 2310052"/>
              <a:gd name="connsiteX3" fmla="*/ 3255482 w 6003211"/>
              <a:gd name="connsiteY3" fmla="*/ 38227 h 2310052"/>
              <a:gd name="connsiteX4" fmla="*/ 3981253 w 6003211"/>
              <a:gd name="connsiteY4" fmla="*/ 200452 h 2310052"/>
              <a:gd name="connsiteX5" fmla="*/ 6003211 w 6003211"/>
              <a:gd name="connsiteY5" fmla="*/ 673377 h 2310052"/>
              <a:gd name="connsiteX6" fmla="*/ 5904074 w 6003211"/>
              <a:gd name="connsiteY6" fmla="*/ 2287558 h 2310052"/>
              <a:gd name="connsiteX7" fmla="*/ 3930849 w 6003211"/>
              <a:gd name="connsiteY7" fmla="*/ 1801861 h 2310052"/>
              <a:gd name="connsiteX8" fmla="*/ 3569539 w 6003211"/>
              <a:gd name="connsiteY8" fmla="*/ 1366704 h 2310052"/>
              <a:gd name="connsiteX9" fmla="*/ 3009974 w 6003211"/>
              <a:gd name="connsiteY9" fmla="*/ 1371825 h 2310052"/>
              <a:gd name="connsiteX10" fmla="*/ 1045188 w 6003211"/>
              <a:gd name="connsiteY10" fmla="*/ 1490083 h 2310052"/>
              <a:gd name="connsiteX11" fmla="*/ 750167 w 6003211"/>
              <a:gd name="connsiteY11" fmla="*/ 2081929 h 2310052"/>
              <a:gd name="connsiteX12" fmla="*/ 317391 w 6003211"/>
              <a:gd name="connsiteY12" fmla="*/ 2195564 h 2310052"/>
              <a:gd name="connsiteX13" fmla="*/ 9258 w 6003211"/>
              <a:gd name="connsiteY13" fmla="*/ 2242937 h 2310052"/>
              <a:gd name="connsiteX0" fmla="*/ 9258 w 6003211"/>
              <a:gd name="connsiteY0" fmla="*/ 2323978 h 2391093"/>
              <a:gd name="connsiteX1" fmla="*/ 554597 w 6003211"/>
              <a:gd name="connsiteY1" fmla="*/ 1607478 h 2391093"/>
              <a:gd name="connsiteX2" fmla="*/ 1544912 w 6003211"/>
              <a:gd name="connsiteY2" fmla="*/ 812990 h 2391093"/>
              <a:gd name="connsiteX3" fmla="*/ 3255482 w 6003211"/>
              <a:gd name="connsiteY3" fmla="*/ 119268 h 2391093"/>
              <a:gd name="connsiteX4" fmla="*/ 3981253 w 6003211"/>
              <a:gd name="connsiteY4" fmla="*/ 281493 h 2391093"/>
              <a:gd name="connsiteX5" fmla="*/ 6003211 w 6003211"/>
              <a:gd name="connsiteY5" fmla="*/ 754418 h 2391093"/>
              <a:gd name="connsiteX6" fmla="*/ 5904074 w 6003211"/>
              <a:gd name="connsiteY6" fmla="*/ 2368599 h 2391093"/>
              <a:gd name="connsiteX7" fmla="*/ 3930849 w 6003211"/>
              <a:gd name="connsiteY7" fmla="*/ 1882902 h 2391093"/>
              <a:gd name="connsiteX8" fmla="*/ 3569539 w 6003211"/>
              <a:gd name="connsiteY8" fmla="*/ 1447745 h 2391093"/>
              <a:gd name="connsiteX9" fmla="*/ 3009974 w 6003211"/>
              <a:gd name="connsiteY9" fmla="*/ 1452866 h 2391093"/>
              <a:gd name="connsiteX10" fmla="*/ 1045188 w 6003211"/>
              <a:gd name="connsiteY10" fmla="*/ 1571124 h 2391093"/>
              <a:gd name="connsiteX11" fmla="*/ 750167 w 6003211"/>
              <a:gd name="connsiteY11" fmla="*/ 2162970 h 2391093"/>
              <a:gd name="connsiteX12" fmla="*/ 317391 w 6003211"/>
              <a:gd name="connsiteY12" fmla="*/ 2276605 h 2391093"/>
              <a:gd name="connsiteX13" fmla="*/ 9258 w 6003211"/>
              <a:gd name="connsiteY13" fmla="*/ 2323978 h 2391093"/>
              <a:gd name="connsiteX0" fmla="*/ 9258 w 6003211"/>
              <a:gd name="connsiteY0" fmla="*/ 2242942 h 2310057"/>
              <a:gd name="connsiteX1" fmla="*/ 554597 w 6003211"/>
              <a:gd name="connsiteY1" fmla="*/ 1526442 h 2310057"/>
              <a:gd name="connsiteX2" fmla="*/ 1544912 w 6003211"/>
              <a:gd name="connsiteY2" fmla="*/ 731954 h 2310057"/>
              <a:gd name="connsiteX3" fmla="*/ 3255482 w 6003211"/>
              <a:gd name="connsiteY3" fmla="*/ 38232 h 2310057"/>
              <a:gd name="connsiteX4" fmla="*/ 3981253 w 6003211"/>
              <a:gd name="connsiteY4" fmla="*/ 200457 h 2310057"/>
              <a:gd name="connsiteX5" fmla="*/ 4550388 w 6003211"/>
              <a:gd name="connsiteY5" fmla="*/ 112500 h 2310057"/>
              <a:gd name="connsiteX6" fmla="*/ 6003211 w 6003211"/>
              <a:gd name="connsiteY6" fmla="*/ 673382 h 2310057"/>
              <a:gd name="connsiteX7" fmla="*/ 5904074 w 6003211"/>
              <a:gd name="connsiteY7" fmla="*/ 2287563 h 2310057"/>
              <a:gd name="connsiteX8" fmla="*/ 3930849 w 6003211"/>
              <a:gd name="connsiteY8" fmla="*/ 1801866 h 2310057"/>
              <a:gd name="connsiteX9" fmla="*/ 3569539 w 6003211"/>
              <a:gd name="connsiteY9" fmla="*/ 1366709 h 2310057"/>
              <a:gd name="connsiteX10" fmla="*/ 3009974 w 6003211"/>
              <a:gd name="connsiteY10" fmla="*/ 1371830 h 2310057"/>
              <a:gd name="connsiteX11" fmla="*/ 1045188 w 6003211"/>
              <a:gd name="connsiteY11" fmla="*/ 1490088 h 2310057"/>
              <a:gd name="connsiteX12" fmla="*/ 750167 w 6003211"/>
              <a:gd name="connsiteY12" fmla="*/ 2081934 h 2310057"/>
              <a:gd name="connsiteX13" fmla="*/ 317391 w 6003211"/>
              <a:gd name="connsiteY13" fmla="*/ 2195569 h 2310057"/>
              <a:gd name="connsiteX14" fmla="*/ 9258 w 6003211"/>
              <a:gd name="connsiteY14" fmla="*/ 2242942 h 2310057"/>
              <a:gd name="connsiteX0" fmla="*/ 9258 w 6003211"/>
              <a:gd name="connsiteY0" fmla="*/ 2242942 h 2310057"/>
              <a:gd name="connsiteX1" fmla="*/ 554597 w 6003211"/>
              <a:gd name="connsiteY1" fmla="*/ 1526442 h 2310057"/>
              <a:gd name="connsiteX2" fmla="*/ 1544912 w 6003211"/>
              <a:gd name="connsiteY2" fmla="*/ 731954 h 2310057"/>
              <a:gd name="connsiteX3" fmla="*/ 3255482 w 6003211"/>
              <a:gd name="connsiteY3" fmla="*/ 38232 h 2310057"/>
              <a:gd name="connsiteX4" fmla="*/ 3981253 w 6003211"/>
              <a:gd name="connsiteY4" fmla="*/ 200457 h 2310057"/>
              <a:gd name="connsiteX5" fmla="*/ 4550388 w 6003211"/>
              <a:gd name="connsiteY5" fmla="*/ 112500 h 2310057"/>
              <a:gd name="connsiteX6" fmla="*/ 6003211 w 6003211"/>
              <a:gd name="connsiteY6" fmla="*/ 673382 h 2310057"/>
              <a:gd name="connsiteX7" fmla="*/ 5904074 w 6003211"/>
              <a:gd name="connsiteY7" fmla="*/ 2287563 h 2310057"/>
              <a:gd name="connsiteX8" fmla="*/ 3930849 w 6003211"/>
              <a:gd name="connsiteY8" fmla="*/ 1801866 h 2310057"/>
              <a:gd name="connsiteX9" fmla="*/ 3569539 w 6003211"/>
              <a:gd name="connsiteY9" fmla="*/ 1366709 h 2310057"/>
              <a:gd name="connsiteX10" fmla="*/ 3009974 w 6003211"/>
              <a:gd name="connsiteY10" fmla="*/ 1371830 h 2310057"/>
              <a:gd name="connsiteX11" fmla="*/ 1045188 w 6003211"/>
              <a:gd name="connsiteY11" fmla="*/ 1490088 h 2310057"/>
              <a:gd name="connsiteX12" fmla="*/ 750167 w 6003211"/>
              <a:gd name="connsiteY12" fmla="*/ 2081934 h 2310057"/>
              <a:gd name="connsiteX13" fmla="*/ 317391 w 6003211"/>
              <a:gd name="connsiteY13" fmla="*/ 2195569 h 2310057"/>
              <a:gd name="connsiteX14" fmla="*/ 9258 w 6003211"/>
              <a:gd name="connsiteY14" fmla="*/ 2242942 h 2310057"/>
              <a:gd name="connsiteX0" fmla="*/ 9258 w 6003211"/>
              <a:gd name="connsiteY0" fmla="*/ 2270983 h 2338098"/>
              <a:gd name="connsiteX1" fmla="*/ 554597 w 6003211"/>
              <a:gd name="connsiteY1" fmla="*/ 1554483 h 2338098"/>
              <a:gd name="connsiteX2" fmla="*/ 1544912 w 6003211"/>
              <a:gd name="connsiteY2" fmla="*/ 759995 h 2338098"/>
              <a:gd name="connsiteX3" fmla="*/ 3255482 w 6003211"/>
              <a:gd name="connsiteY3" fmla="*/ 66273 h 2338098"/>
              <a:gd name="connsiteX4" fmla="*/ 3981253 w 6003211"/>
              <a:gd name="connsiteY4" fmla="*/ 228498 h 2338098"/>
              <a:gd name="connsiteX5" fmla="*/ 4550388 w 6003211"/>
              <a:gd name="connsiteY5" fmla="*/ 140541 h 2338098"/>
              <a:gd name="connsiteX6" fmla="*/ 6003211 w 6003211"/>
              <a:gd name="connsiteY6" fmla="*/ 701423 h 2338098"/>
              <a:gd name="connsiteX7" fmla="*/ 5904074 w 6003211"/>
              <a:gd name="connsiteY7" fmla="*/ 2315604 h 2338098"/>
              <a:gd name="connsiteX8" fmla="*/ 3930849 w 6003211"/>
              <a:gd name="connsiteY8" fmla="*/ 1829907 h 2338098"/>
              <a:gd name="connsiteX9" fmla="*/ 3569539 w 6003211"/>
              <a:gd name="connsiteY9" fmla="*/ 1394750 h 2338098"/>
              <a:gd name="connsiteX10" fmla="*/ 3009974 w 6003211"/>
              <a:gd name="connsiteY10" fmla="*/ 1399871 h 2338098"/>
              <a:gd name="connsiteX11" fmla="*/ 1045188 w 6003211"/>
              <a:gd name="connsiteY11" fmla="*/ 1518129 h 2338098"/>
              <a:gd name="connsiteX12" fmla="*/ 750167 w 6003211"/>
              <a:gd name="connsiteY12" fmla="*/ 2109975 h 2338098"/>
              <a:gd name="connsiteX13" fmla="*/ 317391 w 6003211"/>
              <a:gd name="connsiteY13" fmla="*/ 2223610 h 2338098"/>
              <a:gd name="connsiteX14" fmla="*/ 9258 w 6003211"/>
              <a:gd name="connsiteY14" fmla="*/ 2270983 h 2338098"/>
              <a:gd name="connsiteX0" fmla="*/ 9258 w 6003211"/>
              <a:gd name="connsiteY0" fmla="*/ 2270983 h 2338098"/>
              <a:gd name="connsiteX1" fmla="*/ 554597 w 6003211"/>
              <a:gd name="connsiteY1" fmla="*/ 1554483 h 2338098"/>
              <a:gd name="connsiteX2" fmla="*/ 1544912 w 6003211"/>
              <a:gd name="connsiteY2" fmla="*/ 759995 h 2338098"/>
              <a:gd name="connsiteX3" fmla="*/ 3255482 w 6003211"/>
              <a:gd name="connsiteY3" fmla="*/ 66273 h 2338098"/>
              <a:gd name="connsiteX4" fmla="*/ 3981253 w 6003211"/>
              <a:gd name="connsiteY4" fmla="*/ 228498 h 2338098"/>
              <a:gd name="connsiteX5" fmla="*/ 4550388 w 6003211"/>
              <a:gd name="connsiteY5" fmla="*/ 140541 h 2338098"/>
              <a:gd name="connsiteX6" fmla="*/ 5250000 w 6003211"/>
              <a:gd name="connsiteY6" fmla="*/ 449346 h 2338098"/>
              <a:gd name="connsiteX7" fmla="*/ 6003211 w 6003211"/>
              <a:gd name="connsiteY7" fmla="*/ 701423 h 2338098"/>
              <a:gd name="connsiteX8" fmla="*/ 5904074 w 6003211"/>
              <a:gd name="connsiteY8" fmla="*/ 2315604 h 2338098"/>
              <a:gd name="connsiteX9" fmla="*/ 3930849 w 6003211"/>
              <a:gd name="connsiteY9" fmla="*/ 1829907 h 2338098"/>
              <a:gd name="connsiteX10" fmla="*/ 3569539 w 6003211"/>
              <a:gd name="connsiteY10" fmla="*/ 1394750 h 2338098"/>
              <a:gd name="connsiteX11" fmla="*/ 3009974 w 6003211"/>
              <a:gd name="connsiteY11" fmla="*/ 1399871 h 2338098"/>
              <a:gd name="connsiteX12" fmla="*/ 1045188 w 6003211"/>
              <a:gd name="connsiteY12" fmla="*/ 1518129 h 2338098"/>
              <a:gd name="connsiteX13" fmla="*/ 750167 w 6003211"/>
              <a:gd name="connsiteY13" fmla="*/ 2109975 h 2338098"/>
              <a:gd name="connsiteX14" fmla="*/ 317391 w 6003211"/>
              <a:gd name="connsiteY14" fmla="*/ 2223610 h 2338098"/>
              <a:gd name="connsiteX15" fmla="*/ 9258 w 6003211"/>
              <a:gd name="connsiteY15" fmla="*/ 2270983 h 2338098"/>
              <a:gd name="connsiteX0" fmla="*/ 9258 w 6003211"/>
              <a:gd name="connsiteY0" fmla="*/ 2270983 h 2338098"/>
              <a:gd name="connsiteX1" fmla="*/ 554597 w 6003211"/>
              <a:gd name="connsiteY1" fmla="*/ 1554483 h 2338098"/>
              <a:gd name="connsiteX2" fmla="*/ 1544912 w 6003211"/>
              <a:gd name="connsiteY2" fmla="*/ 759995 h 2338098"/>
              <a:gd name="connsiteX3" fmla="*/ 3255482 w 6003211"/>
              <a:gd name="connsiteY3" fmla="*/ 66273 h 2338098"/>
              <a:gd name="connsiteX4" fmla="*/ 3981253 w 6003211"/>
              <a:gd name="connsiteY4" fmla="*/ 228498 h 2338098"/>
              <a:gd name="connsiteX5" fmla="*/ 4550388 w 6003211"/>
              <a:gd name="connsiteY5" fmla="*/ 140541 h 2338098"/>
              <a:gd name="connsiteX6" fmla="*/ 5250000 w 6003211"/>
              <a:gd name="connsiteY6" fmla="*/ 449346 h 2338098"/>
              <a:gd name="connsiteX7" fmla="*/ 6003211 w 6003211"/>
              <a:gd name="connsiteY7" fmla="*/ 701423 h 2338098"/>
              <a:gd name="connsiteX8" fmla="*/ 5904074 w 6003211"/>
              <a:gd name="connsiteY8" fmla="*/ 2315604 h 2338098"/>
              <a:gd name="connsiteX9" fmla="*/ 3930849 w 6003211"/>
              <a:gd name="connsiteY9" fmla="*/ 1829907 h 2338098"/>
              <a:gd name="connsiteX10" fmla="*/ 3569539 w 6003211"/>
              <a:gd name="connsiteY10" fmla="*/ 1394750 h 2338098"/>
              <a:gd name="connsiteX11" fmla="*/ 3009974 w 6003211"/>
              <a:gd name="connsiteY11" fmla="*/ 1399871 h 2338098"/>
              <a:gd name="connsiteX12" fmla="*/ 1045188 w 6003211"/>
              <a:gd name="connsiteY12" fmla="*/ 1518129 h 2338098"/>
              <a:gd name="connsiteX13" fmla="*/ 750167 w 6003211"/>
              <a:gd name="connsiteY13" fmla="*/ 2109975 h 2338098"/>
              <a:gd name="connsiteX14" fmla="*/ 317391 w 6003211"/>
              <a:gd name="connsiteY14" fmla="*/ 2223610 h 2338098"/>
              <a:gd name="connsiteX15" fmla="*/ 9258 w 6003211"/>
              <a:gd name="connsiteY15" fmla="*/ 2270983 h 2338098"/>
              <a:gd name="connsiteX0" fmla="*/ 9258 w 6003211"/>
              <a:gd name="connsiteY0" fmla="*/ 2270983 h 2338098"/>
              <a:gd name="connsiteX1" fmla="*/ 554597 w 6003211"/>
              <a:gd name="connsiteY1" fmla="*/ 1554483 h 2338098"/>
              <a:gd name="connsiteX2" fmla="*/ 1544912 w 6003211"/>
              <a:gd name="connsiteY2" fmla="*/ 759995 h 2338098"/>
              <a:gd name="connsiteX3" fmla="*/ 3255482 w 6003211"/>
              <a:gd name="connsiteY3" fmla="*/ 66273 h 2338098"/>
              <a:gd name="connsiteX4" fmla="*/ 3981253 w 6003211"/>
              <a:gd name="connsiteY4" fmla="*/ 228498 h 2338098"/>
              <a:gd name="connsiteX5" fmla="*/ 4550388 w 6003211"/>
              <a:gd name="connsiteY5" fmla="*/ 140541 h 2338098"/>
              <a:gd name="connsiteX6" fmla="*/ 5250000 w 6003211"/>
              <a:gd name="connsiteY6" fmla="*/ 449346 h 2338098"/>
              <a:gd name="connsiteX7" fmla="*/ 5531291 w 6003211"/>
              <a:gd name="connsiteY7" fmla="*/ 539653 h 2338098"/>
              <a:gd name="connsiteX8" fmla="*/ 6003211 w 6003211"/>
              <a:gd name="connsiteY8" fmla="*/ 701423 h 2338098"/>
              <a:gd name="connsiteX9" fmla="*/ 5904074 w 6003211"/>
              <a:gd name="connsiteY9" fmla="*/ 2315604 h 2338098"/>
              <a:gd name="connsiteX10" fmla="*/ 3930849 w 6003211"/>
              <a:gd name="connsiteY10" fmla="*/ 1829907 h 2338098"/>
              <a:gd name="connsiteX11" fmla="*/ 3569539 w 6003211"/>
              <a:gd name="connsiteY11" fmla="*/ 1394750 h 2338098"/>
              <a:gd name="connsiteX12" fmla="*/ 3009974 w 6003211"/>
              <a:gd name="connsiteY12" fmla="*/ 1399871 h 2338098"/>
              <a:gd name="connsiteX13" fmla="*/ 1045188 w 6003211"/>
              <a:gd name="connsiteY13" fmla="*/ 1518129 h 2338098"/>
              <a:gd name="connsiteX14" fmla="*/ 750167 w 6003211"/>
              <a:gd name="connsiteY14" fmla="*/ 2109975 h 2338098"/>
              <a:gd name="connsiteX15" fmla="*/ 317391 w 6003211"/>
              <a:gd name="connsiteY15" fmla="*/ 2223610 h 2338098"/>
              <a:gd name="connsiteX16" fmla="*/ 9258 w 6003211"/>
              <a:gd name="connsiteY16" fmla="*/ 2270983 h 2338098"/>
              <a:gd name="connsiteX0" fmla="*/ 9258 w 6003211"/>
              <a:gd name="connsiteY0" fmla="*/ 2270983 h 2338098"/>
              <a:gd name="connsiteX1" fmla="*/ 554597 w 6003211"/>
              <a:gd name="connsiteY1" fmla="*/ 1554483 h 2338098"/>
              <a:gd name="connsiteX2" fmla="*/ 1544912 w 6003211"/>
              <a:gd name="connsiteY2" fmla="*/ 759995 h 2338098"/>
              <a:gd name="connsiteX3" fmla="*/ 3255482 w 6003211"/>
              <a:gd name="connsiteY3" fmla="*/ 66273 h 2338098"/>
              <a:gd name="connsiteX4" fmla="*/ 3981253 w 6003211"/>
              <a:gd name="connsiteY4" fmla="*/ 228498 h 2338098"/>
              <a:gd name="connsiteX5" fmla="*/ 4550388 w 6003211"/>
              <a:gd name="connsiteY5" fmla="*/ 140541 h 2338098"/>
              <a:gd name="connsiteX6" fmla="*/ 5250000 w 6003211"/>
              <a:gd name="connsiteY6" fmla="*/ 449346 h 2338098"/>
              <a:gd name="connsiteX7" fmla="*/ 5531291 w 6003211"/>
              <a:gd name="connsiteY7" fmla="*/ 539653 h 2338098"/>
              <a:gd name="connsiteX8" fmla="*/ 6003211 w 6003211"/>
              <a:gd name="connsiteY8" fmla="*/ 701423 h 2338098"/>
              <a:gd name="connsiteX9" fmla="*/ 5904074 w 6003211"/>
              <a:gd name="connsiteY9" fmla="*/ 2315604 h 2338098"/>
              <a:gd name="connsiteX10" fmla="*/ 3930849 w 6003211"/>
              <a:gd name="connsiteY10" fmla="*/ 1829907 h 2338098"/>
              <a:gd name="connsiteX11" fmla="*/ 3569539 w 6003211"/>
              <a:gd name="connsiteY11" fmla="*/ 1394750 h 2338098"/>
              <a:gd name="connsiteX12" fmla="*/ 3009974 w 6003211"/>
              <a:gd name="connsiteY12" fmla="*/ 1399871 h 2338098"/>
              <a:gd name="connsiteX13" fmla="*/ 1045188 w 6003211"/>
              <a:gd name="connsiteY13" fmla="*/ 1518129 h 2338098"/>
              <a:gd name="connsiteX14" fmla="*/ 750167 w 6003211"/>
              <a:gd name="connsiteY14" fmla="*/ 2109975 h 2338098"/>
              <a:gd name="connsiteX15" fmla="*/ 317391 w 6003211"/>
              <a:gd name="connsiteY15" fmla="*/ 2223610 h 2338098"/>
              <a:gd name="connsiteX16" fmla="*/ 9258 w 6003211"/>
              <a:gd name="connsiteY16" fmla="*/ 2270983 h 2338098"/>
              <a:gd name="connsiteX0" fmla="*/ 9258 w 6003211"/>
              <a:gd name="connsiteY0" fmla="*/ 2270983 h 2478890"/>
              <a:gd name="connsiteX1" fmla="*/ 554597 w 6003211"/>
              <a:gd name="connsiteY1" fmla="*/ 1554483 h 2478890"/>
              <a:gd name="connsiteX2" fmla="*/ 1544912 w 6003211"/>
              <a:gd name="connsiteY2" fmla="*/ 759995 h 2478890"/>
              <a:gd name="connsiteX3" fmla="*/ 3255482 w 6003211"/>
              <a:gd name="connsiteY3" fmla="*/ 66273 h 2478890"/>
              <a:gd name="connsiteX4" fmla="*/ 3981253 w 6003211"/>
              <a:gd name="connsiteY4" fmla="*/ 228498 h 2478890"/>
              <a:gd name="connsiteX5" fmla="*/ 4550388 w 6003211"/>
              <a:gd name="connsiteY5" fmla="*/ 140541 h 2478890"/>
              <a:gd name="connsiteX6" fmla="*/ 5250000 w 6003211"/>
              <a:gd name="connsiteY6" fmla="*/ 449346 h 2478890"/>
              <a:gd name="connsiteX7" fmla="*/ 5531291 w 6003211"/>
              <a:gd name="connsiteY7" fmla="*/ 539653 h 2478890"/>
              <a:gd name="connsiteX8" fmla="*/ 6003211 w 6003211"/>
              <a:gd name="connsiteY8" fmla="*/ 701423 h 2478890"/>
              <a:gd name="connsiteX9" fmla="*/ 5867709 w 6003211"/>
              <a:gd name="connsiteY9" fmla="*/ 2459457 h 2478890"/>
              <a:gd name="connsiteX10" fmla="*/ 3930849 w 6003211"/>
              <a:gd name="connsiteY10" fmla="*/ 1829907 h 2478890"/>
              <a:gd name="connsiteX11" fmla="*/ 3569539 w 6003211"/>
              <a:gd name="connsiteY11" fmla="*/ 1394750 h 2478890"/>
              <a:gd name="connsiteX12" fmla="*/ 3009974 w 6003211"/>
              <a:gd name="connsiteY12" fmla="*/ 1399871 h 2478890"/>
              <a:gd name="connsiteX13" fmla="*/ 1045188 w 6003211"/>
              <a:gd name="connsiteY13" fmla="*/ 1518129 h 2478890"/>
              <a:gd name="connsiteX14" fmla="*/ 750167 w 6003211"/>
              <a:gd name="connsiteY14" fmla="*/ 2109975 h 2478890"/>
              <a:gd name="connsiteX15" fmla="*/ 317391 w 6003211"/>
              <a:gd name="connsiteY15" fmla="*/ 2223610 h 2478890"/>
              <a:gd name="connsiteX16" fmla="*/ 9258 w 6003211"/>
              <a:gd name="connsiteY16" fmla="*/ 2270983 h 2478890"/>
              <a:gd name="connsiteX0" fmla="*/ 9258 w 6003211"/>
              <a:gd name="connsiteY0" fmla="*/ 2270983 h 2459458"/>
              <a:gd name="connsiteX1" fmla="*/ 554597 w 6003211"/>
              <a:gd name="connsiteY1" fmla="*/ 1554483 h 2459458"/>
              <a:gd name="connsiteX2" fmla="*/ 1544912 w 6003211"/>
              <a:gd name="connsiteY2" fmla="*/ 759995 h 2459458"/>
              <a:gd name="connsiteX3" fmla="*/ 3255482 w 6003211"/>
              <a:gd name="connsiteY3" fmla="*/ 66273 h 2459458"/>
              <a:gd name="connsiteX4" fmla="*/ 3981253 w 6003211"/>
              <a:gd name="connsiteY4" fmla="*/ 228498 h 2459458"/>
              <a:gd name="connsiteX5" fmla="*/ 4550388 w 6003211"/>
              <a:gd name="connsiteY5" fmla="*/ 140541 h 2459458"/>
              <a:gd name="connsiteX6" fmla="*/ 5250000 w 6003211"/>
              <a:gd name="connsiteY6" fmla="*/ 449346 h 2459458"/>
              <a:gd name="connsiteX7" fmla="*/ 5531291 w 6003211"/>
              <a:gd name="connsiteY7" fmla="*/ 539653 h 2459458"/>
              <a:gd name="connsiteX8" fmla="*/ 6003211 w 6003211"/>
              <a:gd name="connsiteY8" fmla="*/ 701423 h 2459458"/>
              <a:gd name="connsiteX9" fmla="*/ 5867709 w 6003211"/>
              <a:gd name="connsiteY9" fmla="*/ 2459457 h 2459458"/>
              <a:gd name="connsiteX10" fmla="*/ 3930849 w 6003211"/>
              <a:gd name="connsiteY10" fmla="*/ 1829907 h 2459458"/>
              <a:gd name="connsiteX11" fmla="*/ 3569539 w 6003211"/>
              <a:gd name="connsiteY11" fmla="*/ 1394750 h 2459458"/>
              <a:gd name="connsiteX12" fmla="*/ 3009974 w 6003211"/>
              <a:gd name="connsiteY12" fmla="*/ 1399871 h 2459458"/>
              <a:gd name="connsiteX13" fmla="*/ 1045188 w 6003211"/>
              <a:gd name="connsiteY13" fmla="*/ 1518129 h 2459458"/>
              <a:gd name="connsiteX14" fmla="*/ 750167 w 6003211"/>
              <a:gd name="connsiteY14" fmla="*/ 2109975 h 2459458"/>
              <a:gd name="connsiteX15" fmla="*/ 317391 w 6003211"/>
              <a:gd name="connsiteY15" fmla="*/ 2223610 h 2459458"/>
              <a:gd name="connsiteX16" fmla="*/ 9258 w 6003211"/>
              <a:gd name="connsiteY16" fmla="*/ 2270983 h 2459458"/>
              <a:gd name="connsiteX0" fmla="*/ 9258 w 6003211"/>
              <a:gd name="connsiteY0" fmla="*/ 2270983 h 2459458"/>
              <a:gd name="connsiteX1" fmla="*/ 554597 w 6003211"/>
              <a:gd name="connsiteY1" fmla="*/ 1554483 h 2459458"/>
              <a:gd name="connsiteX2" fmla="*/ 1544912 w 6003211"/>
              <a:gd name="connsiteY2" fmla="*/ 759995 h 2459458"/>
              <a:gd name="connsiteX3" fmla="*/ 3255482 w 6003211"/>
              <a:gd name="connsiteY3" fmla="*/ 66273 h 2459458"/>
              <a:gd name="connsiteX4" fmla="*/ 3981253 w 6003211"/>
              <a:gd name="connsiteY4" fmla="*/ 228498 h 2459458"/>
              <a:gd name="connsiteX5" fmla="*/ 4550388 w 6003211"/>
              <a:gd name="connsiteY5" fmla="*/ 140541 h 2459458"/>
              <a:gd name="connsiteX6" fmla="*/ 5250000 w 6003211"/>
              <a:gd name="connsiteY6" fmla="*/ 449346 h 2459458"/>
              <a:gd name="connsiteX7" fmla="*/ 5531291 w 6003211"/>
              <a:gd name="connsiteY7" fmla="*/ 539653 h 2459458"/>
              <a:gd name="connsiteX8" fmla="*/ 6003211 w 6003211"/>
              <a:gd name="connsiteY8" fmla="*/ 701423 h 2459458"/>
              <a:gd name="connsiteX9" fmla="*/ 5867709 w 6003211"/>
              <a:gd name="connsiteY9" fmla="*/ 2459457 h 2459458"/>
              <a:gd name="connsiteX10" fmla="*/ 3930849 w 6003211"/>
              <a:gd name="connsiteY10" fmla="*/ 1829907 h 2459458"/>
              <a:gd name="connsiteX11" fmla="*/ 3569539 w 6003211"/>
              <a:gd name="connsiteY11" fmla="*/ 1394750 h 2459458"/>
              <a:gd name="connsiteX12" fmla="*/ 3009974 w 6003211"/>
              <a:gd name="connsiteY12" fmla="*/ 1399871 h 2459458"/>
              <a:gd name="connsiteX13" fmla="*/ 1045188 w 6003211"/>
              <a:gd name="connsiteY13" fmla="*/ 1518129 h 2459458"/>
              <a:gd name="connsiteX14" fmla="*/ 750167 w 6003211"/>
              <a:gd name="connsiteY14" fmla="*/ 2109975 h 2459458"/>
              <a:gd name="connsiteX15" fmla="*/ 317391 w 6003211"/>
              <a:gd name="connsiteY15" fmla="*/ 2223610 h 2459458"/>
              <a:gd name="connsiteX16" fmla="*/ 9258 w 6003211"/>
              <a:gd name="connsiteY16" fmla="*/ 2270983 h 2459458"/>
              <a:gd name="connsiteX0" fmla="*/ 10190 w 5993760"/>
              <a:gd name="connsiteY0" fmla="*/ 2384254 h 2459458"/>
              <a:gd name="connsiteX1" fmla="*/ 545146 w 5993760"/>
              <a:gd name="connsiteY1" fmla="*/ 1554483 h 2459458"/>
              <a:gd name="connsiteX2" fmla="*/ 1535461 w 5993760"/>
              <a:gd name="connsiteY2" fmla="*/ 759995 h 2459458"/>
              <a:gd name="connsiteX3" fmla="*/ 3246031 w 5993760"/>
              <a:gd name="connsiteY3" fmla="*/ 66273 h 2459458"/>
              <a:gd name="connsiteX4" fmla="*/ 3971802 w 5993760"/>
              <a:gd name="connsiteY4" fmla="*/ 228498 h 2459458"/>
              <a:gd name="connsiteX5" fmla="*/ 4540937 w 5993760"/>
              <a:gd name="connsiteY5" fmla="*/ 140541 h 2459458"/>
              <a:gd name="connsiteX6" fmla="*/ 5240549 w 5993760"/>
              <a:gd name="connsiteY6" fmla="*/ 449346 h 2459458"/>
              <a:gd name="connsiteX7" fmla="*/ 5521840 w 5993760"/>
              <a:gd name="connsiteY7" fmla="*/ 539653 h 2459458"/>
              <a:gd name="connsiteX8" fmla="*/ 5993760 w 5993760"/>
              <a:gd name="connsiteY8" fmla="*/ 701423 h 2459458"/>
              <a:gd name="connsiteX9" fmla="*/ 5858258 w 5993760"/>
              <a:gd name="connsiteY9" fmla="*/ 2459457 h 2459458"/>
              <a:gd name="connsiteX10" fmla="*/ 3921398 w 5993760"/>
              <a:gd name="connsiteY10" fmla="*/ 1829907 h 2459458"/>
              <a:gd name="connsiteX11" fmla="*/ 3560088 w 5993760"/>
              <a:gd name="connsiteY11" fmla="*/ 1394750 h 2459458"/>
              <a:gd name="connsiteX12" fmla="*/ 3000523 w 5993760"/>
              <a:gd name="connsiteY12" fmla="*/ 1399871 h 2459458"/>
              <a:gd name="connsiteX13" fmla="*/ 1035737 w 5993760"/>
              <a:gd name="connsiteY13" fmla="*/ 1518129 h 2459458"/>
              <a:gd name="connsiteX14" fmla="*/ 740716 w 5993760"/>
              <a:gd name="connsiteY14" fmla="*/ 2109975 h 2459458"/>
              <a:gd name="connsiteX15" fmla="*/ 307940 w 5993760"/>
              <a:gd name="connsiteY15" fmla="*/ 2223610 h 2459458"/>
              <a:gd name="connsiteX16" fmla="*/ 10190 w 5993760"/>
              <a:gd name="connsiteY16" fmla="*/ 2384254 h 2459458"/>
              <a:gd name="connsiteX0" fmla="*/ 10190 w 5993760"/>
              <a:gd name="connsiteY0" fmla="*/ 2384254 h 2459458"/>
              <a:gd name="connsiteX1" fmla="*/ 545146 w 5993760"/>
              <a:gd name="connsiteY1" fmla="*/ 1554483 h 2459458"/>
              <a:gd name="connsiteX2" fmla="*/ 1535461 w 5993760"/>
              <a:gd name="connsiteY2" fmla="*/ 759995 h 2459458"/>
              <a:gd name="connsiteX3" fmla="*/ 3246031 w 5993760"/>
              <a:gd name="connsiteY3" fmla="*/ 66273 h 2459458"/>
              <a:gd name="connsiteX4" fmla="*/ 3971802 w 5993760"/>
              <a:gd name="connsiteY4" fmla="*/ 228498 h 2459458"/>
              <a:gd name="connsiteX5" fmla="*/ 4540937 w 5993760"/>
              <a:gd name="connsiteY5" fmla="*/ 140541 h 2459458"/>
              <a:gd name="connsiteX6" fmla="*/ 5240549 w 5993760"/>
              <a:gd name="connsiteY6" fmla="*/ 449346 h 2459458"/>
              <a:gd name="connsiteX7" fmla="*/ 5521840 w 5993760"/>
              <a:gd name="connsiteY7" fmla="*/ 539653 h 2459458"/>
              <a:gd name="connsiteX8" fmla="*/ 5993760 w 5993760"/>
              <a:gd name="connsiteY8" fmla="*/ 701423 h 2459458"/>
              <a:gd name="connsiteX9" fmla="*/ 5858258 w 5993760"/>
              <a:gd name="connsiteY9" fmla="*/ 2459457 h 2459458"/>
              <a:gd name="connsiteX10" fmla="*/ 3921398 w 5993760"/>
              <a:gd name="connsiteY10" fmla="*/ 1829907 h 2459458"/>
              <a:gd name="connsiteX11" fmla="*/ 3560088 w 5993760"/>
              <a:gd name="connsiteY11" fmla="*/ 1394750 h 2459458"/>
              <a:gd name="connsiteX12" fmla="*/ 3000523 w 5993760"/>
              <a:gd name="connsiteY12" fmla="*/ 1399871 h 2459458"/>
              <a:gd name="connsiteX13" fmla="*/ 1035737 w 5993760"/>
              <a:gd name="connsiteY13" fmla="*/ 1518129 h 2459458"/>
              <a:gd name="connsiteX14" fmla="*/ 740716 w 5993760"/>
              <a:gd name="connsiteY14" fmla="*/ 2109975 h 2459458"/>
              <a:gd name="connsiteX15" fmla="*/ 307940 w 5993760"/>
              <a:gd name="connsiteY15" fmla="*/ 2223610 h 2459458"/>
              <a:gd name="connsiteX16" fmla="*/ 10190 w 5993760"/>
              <a:gd name="connsiteY16" fmla="*/ 2384254 h 2459458"/>
              <a:gd name="connsiteX0" fmla="*/ 10190 w 5993760"/>
              <a:gd name="connsiteY0" fmla="*/ 2384254 h 2459458"/>
              <a:gd name="connsiteX1" fmla="*/ 545146 w 5993760"/>
              <a:gd name="connsiteY1" fmla="*/ 1554483 h 2459458"/>
              <a:gd name="connsiteX2" fmla="*/ 1535461 w 5993760"/>
              <a:gd name="connsiteY2" fmla="*/ 759995 h 2459458"/>
              <a:gd name="connsiteX3" fmla="*/ 3246031 w 5993760"/>
              <a:gd name="connsiteY3" fmla="*/ 66273 h 2459458"/>
              <a:gd name="connsiteX4" fmla="*/ 3971802 w 5993760"/>
              <a:gd name="connsiteY4" fmla="*/ 228498 h 2459458"/>
              <a:gd name="connsiteX5" fmla="*/ 4540937 w 5993760"/>
              <a:gd name="connsiteY5" fmla="*/ 140541 h 2459458"/>
              <a:gd name="connsiteX6" fmla="*/ 5240549 w 5993760"/>
              <a:gd name="connsiteY6" fmla="*/ 449346 h 2459458"/>
              <a:gd name="connsiteX7" fmla="*/ 5521840 w 5993760"/>
              <a:gd name="connsiteY7" fmla="*/ 539653 h 2459458"/>
              <a:gd name="connsiteX8" fmla="*/ 5993760 w 5993760"/>
              <a:gd name="connsiteY8" fmla="*/ 701423 h 2459458"/>
              <a:gd name="connsiteX9" fmla="*/ 5858258 w 5993760"/>
              <a:gd name="connsiteY9" fmla="*/ 2459457 h 2459458"/>
              <a:gd name="connsiteX10" fmla="*/ 3921398 w 5993760"/>
              <a:gd name="connsiteY10" fmla="*/ 1829907 h 2459458"/>
              <a:gd name="connsiteX11" fmla="*/ 3560088 w 5993760"/>
              <a:gd name="connsiteY11" fmla="*/ 1394750 h 2459458"/>
              <a:gd name="connsiteX12" fmla="*/ 3000523 w 5993760"/>
              <a:gd name="connsiteY12" fmla="*/ 1399871 h 2459458"/>
              <a:gd name="connsiteX13" fmla="*/ 1035737 w 5993760"/>
              <a:gd name="connsiteY13" fmla="*/ 1518129 h 2459458"/>
              <a:gd name="connsiteX14" fmla="*/ 740716 w 5993760"/>
              <a:gd name="connsiteY14" fmla="*/ 2109975 h 2459458"/>
              <a:gd name="connsiteX15" fmla="*/ 307940 w 5993760"/>
              <a:gd name="connsiteY15" fmla="*/ 2223610 h 2459458"/>
              <a:gd name="connsiteX16" fmla="*/ 10190 w 5993760"/>
              <a:gd name="connsiteY16" fmla="*/ 2384254 h 2459458"/>
              <a:gd name="connsiteX0" fmla="*/ 9936 w 5993506"/>
              <a:gd name="connsiteY0" fmla="*/ 2384254 h 2459458"/>
              <a:gd name="connsiteX1" fmla="*/ 544892 w 5993506"/>
              <a:gd name="connsiteY1" fmla="*/ 1554483 h 2459458"/>
              <a:gd name="connsiteX2" fmla="*/ 1535207 w 5993506"/>
              <a:gd name="connsiteY2" fmla="*/ 759995 h 2459458"/>
              <a:gd name="connsiteX3" fmla="*/ 3245777 w 5993506"/>
              <a:gd name="connsiteY3" fmla="*/ 66273 h 2459458"/>
              <a:gd name="connsiteX4" fmla="*/ 3971548 w 5993506"/>
              <a:gd name="connsiteY4" fmla="*/ 228498 h 2459458"/>
              <a:gd name="connsiteX5" fmla="*/ 4540683 w 5993506"/>
              <a:gd name="connsiteY5" fmla="*/ 140541 h 2459458"/>
              <a:gd name="connsiteX6" fmla="*/ 5240295 w 5993506"/>
              <a:gd name="connsiteY6" fmla="*/ 449346 h 2459458"/>
              <a:gd name="connsiteX7" fmla="*/ 5521586 w 5993506"/>
              <a:gd name="connsiteY7" fmla="*/ 539653 h 2459458"/>
              <a:gd name="connsiteX8" fmla="*/ 5993506 w 5993506"/>
              <a:gd name="connsiteY8" fmla="*/ 701423 h 2459458"/>
              <a:gd name="connsiteX9" fmla="*/ 5858004 w 5993506"/>
              <a:gd name="connsiteY9" fmla="*/ 2459457 h 2459458"/>
              <a:gd name="connsiteX10" fmla="*/ 3921144 w 5993506"/>
              <a:gd name="connsiteY10" fmla="*/ 1829907 h 2459458"/>
              <a:gd name="connsiteX11" fmla="*/ 3559834 w 5993506"/>
              <a:gd name="connsiteY11" fmla="*/ 1394750 h 2459458"/>
              <a:gd name="connsiteX12" fmla="*/ 3000269 w 5993506"/>
              <a:gd name="connsiteY12" fmla="*/ 1399871 h 2459458"/>
              <a:gd name="connsiteX13" fmla="*/ 1035483 w 5993506"/>
              <a:gd name="connsiteY13" fmla="*/ 1518129 h 2459458"/>
              <a:gd name="connsiteX14" fmla="*/ 740462 w 5993506"/>
              <a:gd name="connsiteY14" fmla="*/ 2109975 h 2459458"/>
              <a:gd name="connsiteX15" fmla="*/ 310364 w 5993506"/>
              <a:gd name="connsiteY15" fmla="*/ 2188970 h 2459458"/>
              <a:gd name="connsiteX16" fmla="*/ 9936 w 5993506"/>
              <a:gd name="connsiteY16" fmla="*/ 2384254 h 2459458"/>
              <a:gd name="connsiteX0" fmla="*/ 8489 w 5992059"/>
              <a:gd name="connsiteY0" fmla="*/ 2384254 h 2459458"/>
              <a:gd name="connsiteX1" fmla="*/ 543445 w 5992059"/>
              <a:gd name="connsiteY1" fmla="*/ 1554483 h 2459458"/>
              <a:gd name="connsiteX2" fmla="*/ 1533760 w 5992059"/>
              <a:gd name="connsiteY2" fmla="*/ 759995 h 2459458"/>
              <a:gd name="connsiteX3" fmla="*/ 3244330 w 5992059"/>
              <a:gd name="connsiteY3" fmla="*/ 66273 h 2459458"/>
              <a:gd name="connsiteX4" fmla="*/ 3970101 w 5992059"/>
              <a:gd name="connsiteY4" fmla="*/ 228498 h 2459458"/>
              <a:gd name="connsiteX5" fmla="*/ 4539236 w 5992059"/>
              <a:gd name="connsiteY5" fmla="*/ 140541 h 2459458"/>
              <a:gd name="connsiteX6" fmla="*/ 5238848 w 5992059"/>
              <a:gd name="connsiteY6" fmla="*/ 449346 h 2459458"/>
              <a:gd name="connsiteX7" fmla="*/ 5520139 w 5992059"/>
              <a:gd name="connsiteY7" fmla="*/ 539653 h 2459458"/>
              <a:gd name="connsiteX8" fmla="*/ 5992059 w 5992059"/>
              <a:gd name="connsiteY8" fmla="*/ 701423 h 2459458"/>
              <a:gd name="connsiteX9" fmla="*/ 5856557 w 5992059"/>
              <a:gd name="connsiteY9" fmla="*/ 2459457 h 2459458"/>
              <a:gd name="connsiteX10" fmla="*/ 3919697 w 5992059"/>
              <a:gd name="connsiteY10" fmla="*/ 1829907 h 2459458"/>
              <a:gd name="connsiteX11" fmla="*/ 3558387 w 5992059"/>
              <a:gd name="connsiteY11" fmla="*/ 1394750 h 2459458"/>
              <a:gd name="connsiteX12" fmla="*/ 2998822 w 5992059"/>
              <a:gd name="connsiteY12" fmla="*/ 1399871 h 2459458"/>
              <a:gd name="connsiteX13" fmla="*/ 1034036 w 5992059"/>
              <a:gd name="connsiteY13" fmla="*/ 1518129 h 2459458"/>
              <a:gd name="connsiteX14" fmla="*/ 739015 w 5992059"/>
              <a:gd name="connsiteY14" fmla="*/ 2109975 h 2459458"/>
              <a:gd name="connsiteX15" fmla="*/ 308917 w 5992059"/>
              <a:gd name="connsiteY15" fmla="*/ 2188970 h 2459458"/>
              <a:gd name="connsiteX16" fmla="*/ 8489 w 5992059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999511 w 5992748"/>
              <a:gd name="connsiteY12" fmla="*/ 1399871 h 2459458"/>
              <a:gd name="connsiteX13" fmla="*/ 1034725 w 5992748"/>
              <a:gd name="connsiteY13" fmla="*/ 1518129 h 2459458"/>
              <a:gd name="connsiteX14" fmla="*/ 739704 w 5992748"/>
              <a:gd name="connsiteY14" fmla="*/ 2109975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999511 w 5992748"/>
              <a:gd name="connsiteY12" fmla="*/ 1399871 h 2459458"/>
              <a:gd name="connsiteX13" fmla="*/ 1034725 w 5992748"/>
              <a:gd name="connsiteY13" fmla="*/ 1518129 h 2459458"/>
              <a:gd name="connsiteX14" fmla="*/ 739704 w 5992748"/>
              <a:gd name="connsiteY14" fmla="*/ 2109975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999511 w 5992748"/>
              <a:gd name="connsiteY12" fmla="*/ 1399871 h 2459458"/>
              <a:gd name="connsiteX13" fmla="*/ 1034725 w 5992748"/>
              <a:gd name="connsiteY13" fmla="*/ 1518129 h 2459458"/>
              <a:gd name="connsiteX14" fmla="*/ 749376 w 5992748"/>
              <a:gd name="connsiteY14" fmla="*/ 2009586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999511 w 5992748"/>
              <a:gd name="connsiteY12" fmla="*/ 1399871 h 2459458"/>
              <a:gd name="connsiteX13" fmla="*/ 1034725 w 5992748"/>
              <a:gd name="connsiteY13" fmla="*/ 1518129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999511 w 5992748"/>
              <a:gd name="connsiteY12" fmla="*/ 1399871 h 2459458"/>
              <a:gd name="connsiteX13" fmla="*/ 1034725 w 5992748"/>
              <a:gd name="connsiteY13" fmla="*/ 1518129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999511 w 5992748"/>
              <a:gd name="connsiteY12" fmla="*/ 1399871 h 2459458"/>
              <a:gd name="connsiteX13" fmla="*/ 1034725 w 5992748"/>
              <a:gd name="connsiteY13" fmla="*/ 1518129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999511 w 5992748"/>
              <a:gd name="connsiteY12" fmla="*/ 139987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999511 w 5992748"/>
              <a:gd name="connsiteY12" fmla="*/ 139987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999511 w 5992748"/>
              <a:gd name="connsiteY12" fmla="*/ 139987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846520 w 5992748"/>
              <a:gd name="connsiteY12" fmla="*/ 878483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232251 w 5992748"/>
              <a:gd name="connsiteY12" fmla="*/ 1323425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226790 w 5992748"/>
              <a:gd name="connsiteY12" fmla="*/ 1220753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226790 w 5992748"/>
              <a:gd name="connsiteY12" fmla="*/ 1220753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224282 w 5992748"/>
              <a:gd name="connsiteY12" fmla="*/ 1376977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224282 w 5992748"/>
              <a:gd name="connsiteY12" fmla="*/ 1376977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213531 w 5992748"/>
              <a:gd name="connsiteY12" fmla="*/ 1293217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559076 w 5992748"/>
              <a:gd name="connsiteY11" fmla="*/ 1394750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198613 w 5992748"/>
              <a:gd name="connsiteY11" fmla="*/ 1254892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198613 w 5992748"/>
              <a:gd name="connsiteY11" fmla="*/ 1254892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198613 w 5992748"/>
              <a:gd name="connsiteY11" fmla="*/ 1254892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32380 w 5992748"/>
              <a:gd name="connsiteY11" fmla="*/ 1300975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32380 w 5992748"/>
              <a:gd name="connsiteY11" fmla="*/ 1300975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20593 w 5992748"/>
              <a:gd name="connsiteY11" fmla="*/ 1255389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44134 w 5992748"/>
              <a:gd name="connsiteY1" fmla="*/ 1554483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20593 w 5992748"/>
              <a:gd name="connsiteY11" fmla="*/ 1255389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57930 w 5992748"/>
              <a:gd name="connsiteY1" fmla="*/ 1574091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20593 w 5992748"/>
              <a:gd name="connsiteY11" fmla="*/ 1255389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71291 w 5992748"/>
              <a:gd name="connsiteY1" fmla="*/ 1673572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20593 w 5992748"/>
              <a:gd name="connsiteY11" fmla="*/ 1255389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20593 w 5992748"/>
              <a:gd name="connsiteY11" fmla="*/ 1255389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20593 w 5992748"/>
              <a:gd name="connsiteY11" fmla="*/ 1255389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20593 w 5992748"/>
              <a:gd name="connsiteY11" fmla="*/ 1255389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534449 w 5992748"/>
              <a:gd name="connsiteY2" fmla="*/ 759995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20593 w 5992748"/>
              <a:gd name="connsiteY11" fmla="*/ 1255389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393693 w 5992748"/>
              <a:gd name="connsiteY2" fmla="*/ 699311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20593 w 5992748"/>
              <a:gd name="connsiteY11" fmla="*/ 1255389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393693 w 5992748"/>
              <a:gd name="connsiteY2" fmla="*/ 699311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20593 w 5992748"/>
              <a:gd name="connsiteY11" fmla="*/ 1255389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393693 w 5992748"/>
              <a:gd name="connsiteY2" fmla="*/ 699311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20593 w 5992748"/>
              <a:gd name="connsiteY11" fmla="*/ 1255389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393693 w 5992748"/>
              <a:gd name="connsiteY2" fmla="*/ 699311 h 2459458"/>
              <a:gd name="connsiteX3" fmla="*/ 3245019 w 5992748"/>
              <a:gd name="connsiteY3" fmla="*/ 66273 h 2459458"/>
              <a:gd name="connsiteX4" fmla="*/ 3970790 w 5992748"/>
              <a:gd name="connsiteY4" fmla="*/ 228498 h 2459458"/>
              <a:gd name="connsiteX5" fmla="*/ 4539925 w 5992748"/>
              <a:gd name="connsiteY5" fmla="*/ 140541 h 2459458"/>
              <a:gd name="connsiteX6" fmla="*/ 5239537 w 5992748"/>
              <a:gd name="connsiteY6" fmla="*/ 449346 h 2459458"/>
              <a:gd name="connsiteX7" fmla="*/ 5520828 w 5992748"/>
              <a:gd name="connsiteY7" fmla="*/ 539653 h 2459458"/>
              <a:gd name="connsiteX8" fmla="*/ 5992748 w 5992748"/>
              <a:gd name="connsiteY8" fmla="*/ 701423 h 2459458"/>
              <a:gd name="connsiteX9" fmla="*/ 5857246 w 5992748"/>
              <a:gd name="connsiteY9" fmla="*/ 2459457 h 2459458"/>
              <a:gd name="connsiteX10" fmla="*/ 3920386 w 5992748"/>
              <a:gd name="connsiteY10" fmla="*/ 1829907 h 2459458"/>
              <a:gd name="connsiteX11" fmla="*/ 3020593 w 5992748"/>
              <a:gd name="connsiteY11" fmla="*/ 1255389 h 2459458"/>
              <a:gd name="connsiteX12" fmla="*/ 2203452 w 5992748"/>
              <a:gd name="connsiteY12" fmla="*/ 1200791 h 2459458"/>
              <a:gd name="connsiteX13" fmla="*/ 1047850 w 5992748"/>
              <a:gd name="connsiteY13" fmla="*/ 1546393 h 2459458"/>
              <a:gd name="connsiteX14" fmla="*/ 777635 w 5992748"/>
              <a:gd name="connsiteY14" fmla="*/ 2040133 h 2459458"/>
              <a:gd name="connsiteX15" fmla="*/ 309606 w 5992748"/>
              <a:gd name="connsiteY15" fmla="*/ 2188970 h 2459458"/>
              <a:gd name="connsiteX16" fmla="*/ 9178 w 5992748"/>
              <a:gd name="connsiteY16" fmla="*/ 2384254 h 2459458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393693 w 5992748"/>
              <a:gd name="connsiteY2" fmla="*/ 699311 h 2459458"/>
              <a:gd name="connsiteX3" fmla="*/ 2075413 w 5992748"/>
              <a:gd name="connsiteY3" fmla="*/ 381000 h 2459458"/>
              <a:gd name="connsiteX4" fmla="*/ 3245019 w 5992748"/>
              <a:gd name="connsiteY4" fmla="*/ 66273 h 2459458"/>
              <a:gd name="connsiteX5" fmla="*/ 3970790 w 5992748"/>
              <a:gd name="connsiteY5" fmla="*/ 228498 h 2459458"/>
              <a:gd name="connsiteX6" fmla="*/ 4539925 w 5992748"/>
              <a:gd name="connsiteY6" fmla="*/ 140541 h 2459458"/>
              <a:gd name="connsiteX7" fmla="*/ 5239537 w 5992748"/>
              <a:gd name="connsiteY7" fmla="*/ 449346 h 2459458"/>
              <a:gd name="connsiteX8" fmla="*/ 5520828 w 5992748"/>
              <a:gd name="connsiteY8" fmla="*/ 539653 h 2459458"/>
              <a:gd name="connsiteX9" fmla="*/ 5992748 w 5992748"/>
              <a:gd name="connsiteY9" fmla="*/ 701423 h 2459458"/>
              <a:gd name="connsiteX10" fmla="*/ 5857246 w 5992748"/>
              <a:gd name="connsiteY10" fmla="*/ 2459457 h 2459458"/>
              <a:gd name="connsiteX11" fmla="*/ 3920386 w 5992748"/>
              <a:gd name="connsiteY11" fmla="*/ 1829907 h 2459458"/>
              <a:gd name="connsiteX12" fmla="*/ 3020593 w 5992748"/>
              <a:gd name="connsiteY12" fmla="*/ 1255389 h 2459458"/>
              <a:gd name="connsiteX13" fmla="*/ 2203452 w 5992748"/>
              <a:gd name="connsiteY13" fmla="*/ 1200791 h 2459458"/>
              <a:gd name="connsiteX14" fmla="*/ 1047850 w 5992748"/>
              <a:gd name="connsiteY14" fmla="*/ 1546393 h 2459458"/>
              <a:gd name="connsiteX15" fmla="*/ 777635 w 5992748"/>
              <a:gd name="connsiteY15" fmla="*/ 2040133 h 2459458"/>
              <a:gd name="connsiteX16" fmla="*/ 309606 w 5992748"/>
              <a:gd name="connsiteY16" fmla="*/ 2188970 h 2459458"/>
              <a:gd name="connsiteX17" fmla="*/ 9178 w 5992748"/>
              <a:gd name="connsiteY17" fmla="*/ 2384254 h 2459458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393693 w 5992748"/>
              <a:gd name="connsiteY2" fmla="*/ 699311 h 2459458"/>
              <a:gd name="connsiteX3" fmla="*/ 2082907 w 5992748"/>
              <a:gd name="connsiteY3" fmla="*/ 185003 h 2459458"/>
              <a:gd name="connsiteX4" fmla="*/ 3245019 w 5992748"/>
              <a:gd name="connsiteY4" fmla="*/ 66273 h 2459458"/>
              <a:gd name="connsiteX5" fmla="*/ 3970790 w 5992748"/>
              <a:gd name="connsiteY5" fmla="*/ 228498 h 2459458"/>
              <a:gd name="connsiteX6" fmla="*/ 4539925 w 5992748"/>
              <a:gd name="connsiteY6" fmla="*/ 140541 h 2459458"/>
              <a:gd name="connsiteX7" fmla="*/ 5239537 w 5992748"/>
              <a:gd name="connsiteY7" fmla="*/ 449346 h 2459458"/>
              <a:gd name="connsiteX8" fmla="*/ 5520828 w 5992748"/>
              <a:gd name="connsiteY8" fmla="*/ 539653 h 2459458"/>
              <a:gd name="connsiteX9" fmla="*/ 5992748 w 5992748"/>
              <a:gd name="connsiteY9" fmla="*/ 701423 h 2459458"/>
              <a:gd name="connsiteX10" fmla="*/ 5857246 w 5992748"/>
              <a:gd name="connsiteY10" fmla="*/ 2459457 h 2459458"/>
              <a:gd name="connsiteX11" fmla="*/ 3920386 w 5992748"/>
              <a:gd name="connsiteY11" fmla="*/ 1829907 h 2459458"/>
              <a:gd name="connsiteX12" fmla="*/ 3020593 w 5992748"/>
              <a:gd name="connsiteY12" fmla="*/ 1255389 h 2459458"/>
              <a:gd name="connsiteX13" fmla="*/ 2203452 w 5992748"/>
              <a:gd name="connsiteY13" fmla="*/ 1200791 h 2459458"/>
              <a:gd name="connsiteX14" fmla="*/ 1047850 w 5992748"/>
              <a:gd name="connsiteY14" fmla="*/ 1546393 h 2459458"/>
              <a:gd name="connsiteX15" fmla="*/ 777635 w 5992748"/>
              <a:gd name="connsiteY15" fmla="*/ 2040133 h 2459458"/>
              <a:gd name="connsiteX16" fmla="*/ 309606 w 5992748"/>
              <a:gd name="connsiteY16" fmla="*/ 2188970 h 2459458"/>
              <a:gd name="connsiteX17" fmla="*/ 9178 w 5992748"/>
              <a:gd name="connsiteY17" fmla="*/ 2384254 h 2459458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393693 w 5992748"/>
              <a:gd name="connsiteY2" fmla="*/ 699311 h 2459458"/>
              <a:gd name="connsiteX3" fmla="*/ 2082907 w 5992748"/>
              <a:gd name="connsiteY3" fmla="*/ 185003 h 2459458"/>
              <a:gd name="connsiteX4" fmla="*/ 3245019 w 5992748"/>
              <a:gd name="connsiteY4" fmla="*/ 66273 h 2459458"/>
              <a:gd name="connsiteX5" fmla="*/ 3970790 w 5992748"/>
              <a:gd name="connsiteY5" fmla="*/ 228498 h 2459458"/>
              <a:gd name="connsiteX6" fmla="*/ 4539925 w 5992748"/>
              <a:gd name="connsiteY6" fmla="*/ 140541 h 2459458"/>
              <a:gd name="connsiteX7" fmla="*/ 5239537 w 5992748"/>
              <a:gd name="connsiteY7" fmla="*/ 449346 h 2459458"/>
              <a:gd name="connsiteX8" fmla="*/ 5520828 w 5992748"/>
              <a:gd name="connsiteY8" fmla="*/ 539653 h 2459458"/>
              <a:gd name="connsiteX9" fmla="*/ 5992748 w 5992748"/>
              <a:gd name="connsiteY9" fmla="*/ 701423 h 2459458"/>
              <a:gd name="connsiteX10" fmla="*/ 5857246 w 5992748"/>
              <a:gd name="connsiteY10" fmla="*/ 2459457 h 2459458"/>
              <a:gd name="connsiteX11" fmla="*/ 3920386 w 5992748"/>
              <a:gd name="connsiteY11" fmla="*/ 1829907 h 2459458"/>
              <a:gd name="connsiteX12" fmla="*/ 3020593 w 5992748"/>
              <a:gd name="connsiteY12" fmla="*/ 1255389 h 2459458"/>
              <a:gd name="connsiteX13" fmla="*/ 2203452 w 5992748"/>
              <a:gd name="connsiteY13" fmla="*/ 1200791 h 2459458"/>
              <a:gd name="connsiteX14" fmla="*/ 1047850 w 5992748"/>
              <a:gd name="connsiteY14" fmla="*/ 1546393 h 2459458"/>
              <a:gd name="connsiteX15" fmla="*/ 777635 w 5992748"/>
              <a:gd name="connsiteY15" fmla="*/ 2040133 h 2459458"/>
              <a:gd name="connsiteX16" fmla="*/ 309606 w 5992748"/>
              <a:gd name="connsiteY16" fmla="*/ 2188970 h 2459458"/>
              <a:gd name="connsiteX17" fmla="*/ 9178 w 5992748"/>
              <a:gd name="connsiteY17" fmla="*/ 2384254 h 2459458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393693 w 5992748"/>
              <a:gd name="connsiteY2" fmla="*/ 699311 h 2459458"/>
              <a:gd name="connsiteX3" fmla="*/ 2082907 w 5992748"/>
              <a:gd name="connsiteY3" fmla="*/ 185003 h 2459458"/>
              <a:gd name="connsiteX4" fmla="*/ 3245019 w 5992748"/>
              <a:gd name="connsiteY4" fmla="*/ 66273 h 2459458"/>
              <a:gd name="connsiteX5" fmla="*/ 3970790 w 5992748"/>
              <a:gd name="connsiteY5" fmla="*/ 228498 h 2459458"/>
              <a:gd name="connsiteX6" fmla="*/ 4539925 w 5992748"/>
              <a:gd name="connsiteY6" fmla="*/ 140541 h 2459458"/>
              <a:gd name="connsiteX7" fmla="*/ 5239537 w 5992748"/>
              <a:gd name="connsiteY7" fmla="*/ 449346 h 2459458"/>
              <a:gd name="connsiteX8" fmla="*/ 5520828 w 5992748"/>
              <a:gd name="connsiteY8" fmla="*/ 539653 h 2459458"/>
              <a:gd name="connsiteX9" fmla="*/ 5992748 w 5992748"/>
              <a:gd name="connsiteY9" fmla="*/ 701423 h 2459458"/>
              <a:gd name="connsiteX10" fmla="*/ 5857246 w 5992748"/>
              <a:gd name="connsiteY10" fmla="*/ 2459457 h 2459458"/>
              <a:gd name="connsiteX11" fmla="*/ 3920386 w 5992748"/>
              <a:gd name="connsiteY11" fmla="*/ 1829907 h 2459458"/>
              <a:gd name="connsiteX12" fmla="*/ 3020593 w 5992748"/>
              <a:gd name="connsiteY12" fmla="*/ 1255389 h 2459458"/>
              <a:gd name="connsiteX13" fmla="*/ 2203452 w 5992748"/>
              <a:gd name="connsiteY13" fmla="*/ 1200791 h 2459458"/>
              <a:gd name="connsiteX14" fmla="*/ 1047850 w 5992748"/>
              <a:gd name="connsiteY14" fmla="*/ 1546393 h 2459458"/>
              <a:gd name="connsiteX15" fmla="*/ 777635 w 5992748"/>
              <a:gd name="connsiteY15" fmla="*/ 2040133 h 2459458"/>
              <a:gd name="connsiteX16" fmla="*/ 309606 w 5992748"/>
              <a:gd name="connsiteY16" fmla="*/ 2188970 h 2459458"/>
              <a:gd name="connsiteX17" fmla="*/ 9178 w 5992748"/>
              <a:gd name="connsiteY17" fmla="*/ 2384254 h 2459458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393693 w 5992748"/>
              <a:gd name="connsiteY2" fmla="*/ 699311 h 2459458"/>
              <a:gd name="connsiteX3" fmla="*/ 2082907 w 5992748"/>
              <a:gd name="connsiteY3" fmla="*/ 185003 h 2459458"/>
              <a:gd name="connsiteX4" fmla="*/ 3245019 w 5992748"/>
              <a:gd name="connsiteY4" fmla="*/ 66273 h 2459458"/>
              <a:gd name="connsiteX5" fmla="*/ 3970790 w 5992748"/>
              <a:gd name="connsiteY5" fmla="*/ 228498 h 2459458"/>
              <a:gd name="connsiteX6" fmla="*/ 4539925 w 5992748"/>
              <a:gd name="connsiteY6" fmla="*/ 140541 h 2459458"/>
              <a:gd name="connsiteX7" fmla="*/ 5239537 w 5992748"/>
              <a:gd name="connsiteY7" fmla="*/ 449346 h 2459458"/>
              <a:gd name="connsiteX8" fmla="*/ 5520828 w 5992748"/>
              <a:gd name="connsiteY8" fmla="*/ 539653 h 2459458"/>
              <a:gd name="connsiteX9" fmla="*/ 5992748 w 5992748"/>
              <a:gd name="connsiteY9" fmla="*/ 701423 h 2459458"/>
              <a:gd name="connsiteX10" fmla="*/ 5857246 w 5992748"/>
              <a:gd name="connsiteY10" fmla="*/ 2459457 h 2459458"/>
              <a:gd name="connsiteX11" fmla="*/ 3920386 w 5992748"/>
              <a:gd name="connsiteY11" fmla="*/ 1829907 h 2459458"/>
              <a:gd name="connsiteX12" fmla="*/ 3020593 w 5992748"/>
              <a:gd name="connsiteY12" fmla="*/ 1255389 h 2459458"/>
              <a:gd name="connsiteX13" fmla="*/ 2203452 w 5992748"/>
              <a:gd name="connsiteY13" fmla="*/ 1200791 h 2459458"/>
              <a:gd name="connsiteX14" fmla="*/ 1047850 w 5992748"/>
              <a:gd name="connsiteY14" fmla="*/ 1546393 h 2459458"/>
              <a:gd name="connsiteX15" fmla="*/ 777635 w 5992748"/>
              <a:gd name="connsiteY15" fmla="*/ 2040133 h 2459458"/>
              <a:gd name="connsiteX16" fmla="*/ 309606 w 5992748"/>
              <a:gd name="connsiteY16" fmla="*/ 2188970 h 2459458"/>
              <a:gd name="connsiteX17" fmla="*/ 9178 w 5992748"/>
              <a:gd name="connsiteY17" fmla="*/ 2384254 h 2459458"/>
              <a:gd name="connsiteX0" fmla="*/ 9178 w 5992748"/>
              <a:gd name="connsiteY0" fmla="*/ 2390215 h 2465419"/>
              <a:gd name="connsiteX1" fmla="*/ 586556 w 5992748"/>
              <a:gd name="connsiteY1" fmla="*/ 1581080 h 2465419"/>
              <a:gd name="connsiteX2" fmla="*/ 1393693 w 5992748"/>
              <a:gd name="connsiteY2" fmla="*/ 705272 h 2465419"/>
              <a:gd name="connsiteX3" fmla="*/ 2082907 w 5992748"/>
              <a:gd name="connsiteY3" fmla="*/ 190964 h 2465419"/>
              <a:gd name="connsiteX4" fmla="*/ 3245019 w 5992748"/>
              <a:gd name="connsiteY4" fmla="*/ 72234 h 2465419"/>
              <a:gd name="connsiteX5" fmla="*/ 3970790 w 5992748"/>
              <a:gd name="connsiteY5" fmla="*/ 234459 h 2465419"/>
              <a:gd name="connsiteX6" fmla="*/ 4539925 w 5992748"/>
              <a:gd name="connsiteY6" fmla="*/ 146502 h 2465419"/>
              <a:gd name="connsiteX7" fmla="*/ 5239537 w 5992748"/>
              <a:gd name="connsiteY7" fmla="*/ 455307 h 2465419"/>
              <a:gd name="connsiteX8" fmla="*/ 5520828 w 5992748"/>
              <a:gd name="connsiteY8" fmla="*/ 545614 h 2465419"/>
              <a:gd name="connsiteX9" fmla="*/ 5992748 w 5992748"/>
              <a:gd name="connsiteY9" fmla="*/ 707384 h 2465419"/>
              <a:gd name="connsiteX10" fmla="*/ 5857246 w 5992748"/>
              <a:gd name="connsiteY10" fmla="*/ 2465418 h 2465419"/>
              <a:gd name="connsiteX11" fmla="*/ 3920386 w 5992748"/>
              <a:gd name="connsiteY11" fmla="*/ 1835868 h 2465419"/>
              <a:gd name="connsiteX12" fmla="*/ 3020593 w 5992748"/>
              <a:gd name="connsiteY12" fmla="*/ 1261350 h 2465419"/>
              <a:gd name="connsiteX13" fmla="*/ 2203452 w 5992748"/>
              <a:gd name="connsiteY13" fmla="*/ 1206752 h 2465419"/>
              <a:gd name="connsiteX14" fmla="*/ 1047850 w 5992748"/>
              <a:gd name="connsiteY14" fmla="*/ 1552354 h 2465419"/>
              <a:gd name="connsiteX15" fmla="*/ 777635 w 5992748"/>
              <a:gd name="connsiteY15" fmla="*/ 2046094 h 2465419"/>
              <a:gd name="connsiteX16" fmla="*/ 309606 w 5992748"/>
              <a:gd name="connsiteY16" fmla="*/ 2194931 h 2465419"/>
              <a:gd name="connsiteX17" fmla="*/ 9178 w 5992748"/>
              <a:gd name="connsiteY17" fmla="*/ 2390215 h 2465419"/>
              <a:gd name="connsiteX0" fmla="*/ 9178 w 5992748"/>
              <a:gd name="connsiteY0" fmla="*/ 2384254 h 2459458"/>
              <a:gd name="connsiteX1" fmla="*/ 586556 w 5992748"/>
              <a:gd name="connsiteY1" fmla="*/ 1575119 h 2459458"/>
              <a:gd name="connsiteX2" fmla="*/ 1393693 w 5992748"/>
              <a:gd name="connsiteY2" fmla="*/ 699311 h 2459458"/>
              <a:gd name="connsiteX3" fmla="*/ 2082907 w 5992748"/>
              <a:gd name="connsiteY3" fmla="*/ 185003 h 2459458"/>
              <a:gd name="connsiteX4" fmla="*/ 3245019 w 5992748"/>
              <a:gd name="connsiteY4" fmla="*/ 66273 h 2459458"/>
              <a:gd name="connsiteX5" fmla="*/ 3970790 w 5992748"/>
              <a:gd name="connsiteY5" fmla="*/ 228498 h 2459458"/>
              <a:gd name="connsiteX6" fmla="*/ 4539925 w 5992748"/>
              <a:gd name="connsiteY6" fmla="*/ 140541 h 2459458"/>
              <a:gd name="connsiteX7" fmla="*/ 5239537 w 5992748"/>
              <a:gd name="connsiteY7" fmla="*/ 449346 h 2459458"/>
              <a:gd name="connsiteX8" fmla="*/ 5520828 w 5992748"/>
              <a:gd name="connsiteY8" fmla="*/ 539653 h 2459458"/>
              <a:gd name="connsiteX9" fmla="*/ 5992748 w 5992748"/>
              <a:gd name="connsiteY9" fmla="*/ 701423 h 2459458"/>
              <a:gd name="connsiteX10" fmla="*/ 5857246 w 5992748"/>
              <a:gd name="connsiteY10" fmla="*/ 2459457 h 2459458"/>
              <a:gd name="connsiteX11" fmla="*/ 3920386 w 5992748"/>
              <a:gd name="connsiteY11" fmla="*/ 1829907 h 2459458"/>
              <a:gd name="connsiteX12" fmla="*/ 3020593 w 5992748"/>
              <a:gd name="connsiteY12" fmla="*/ 1255389 h 2459458"/>
              <a:gd name="connsiteX13" fmla="*/ 2203452 w 5992748"/>
              <a:gd name="connsiteY13" fmla="*/ 1200791 h 2459458"/>
              <a:gd name="connsiteX14" fmla="*/ 1047850 w 5992748"/>
              <a:gd name="connsiteY14" fmla="*/ 1546393 h 2459458"/>
              <a:gd name="connsiteX15" fmla="*/ 777635 w 5992748"/>
              <a:gd name="connsiteY15" fmla="*/ 2040133 h 2459458"/>
              <a:gd name="connsiteX16" fmla="*/ 309606 w 5992748"/>
              <a:gd name="connsiteY16" fmla="*/ 2188970 h 2459458"/>
              <a:gd name="connsiteX17" fmla="*/ 9178 w 5992748"/>
              <a:gd name="connsiteY17" fmla="*/ 2384254 h 2459458"/>
              <a:gd name="connsiteX0" fmla="*/ 9178 w 5992748"/>
              <a:gd name="connsiteY0" fmla="*/ 2532281 h 2607485"/>
              <a:gd name="connsiteX1" fmla="*/ 586556 w 5992748"/>
              <a:gd name="connsiteY1" fmla="*/ 1723146 h 2607485"/>
              <a:gd name="connsiteX2" fmla="*/ 1393693 w 5992748"/>
              <a:gd name="connsiteY2" fmla="*/ 847338 h 2607485"/>
              <a:gd name="connsiteX3" fmla="*/ 2082907 w 5992748"/>
              <a:gd name="connsiteY3" fmla="*/ 333030 h 2607485"/>
              <a:gd name="connsiteX4" fmla="*/ 3245019 w 5992748"/>
              <a:gd name="connsiteY4" fmla="*/ 214300 h 2607485"/>
              <a:gd name="connsiteX5" fmla="*/ 3970790 w 5992748"/>
              <a:gd name="connsiteY5" fmla="*/ 376525 h 2607485"/>
              <a:gd name="connsiteX6" fmla="*/ 4539925 w 5992748"/>
              <a:gd name="connsiteY6" fmla="*/ 288568 h 2607485"/>
              <a:gd name="connsiteX7" fmla="*/ 5239537 w 5992748"/>
              <a:gd name="connsiteY7" fmla="*/ 597373 h 2607485"/>
              <a:gd name="connsiteX8" fmla="*/ 5520828 w 5992748"/>
              <a:gd name="connsiteY8" fmla="*/ 687680 h 2607485"/>
              <a:gd name="connsiteX9" fmla="*/ 5992748 w 5992748"/>
              <a:gd name="connsiteY9" fmla="*/ 849450 h 2607485"/>
              <a:gd name="connsiteX10" fmla="*/ 5857246 w 5992748"/>
              <a:gd name="connsiteY10" fmla="*/ 2607484 h 2607485"/>
              <a:gd name="connsiteX11" fmla="*/ 3920386 w 5992748"/>
              <a:gd name="connsiteY11" fmla="*/ 1977934 h 2607485"/>
              <a:gd name="connsiteX12" fmla="*/ 3020593 w 5992748"/>
              <a:gd name="connsiteY12" fmla="*/ 1403416 h 2607485"/>
              <a:gd name="connsiteX13" fmla="*/ 2203452 w 5992748"/>
              <a:gd name="connsiteY13" fmla="*/ 1348818 h 2607485"/>
              <a:gd name="connsiteX14" fmla="*/ 1047850 w 5992748"/>
              <a:gd name="connsiteY14" fmla="*/ 1694420 h 2607485"/>
              <a:gd name="connsiteX15" fmla="*/ 777635 w 5992748"/>
              <a:gd name="connsiteY15" fmla="*/ 2188160 h 2607485"/>
              <a:gd name="connsiteX16" fmla="*/ 309606 w 5992748"/>
              <a:gd name="connsiteY16" fmla="*/ 2336997 h 2607485"/>
              <a:gd name="connsiteX17" fmla="*/ 9178 w 5992748"/>
              <a:gd name="connsiteY17" fmla="*/ 2532281 h 2607485"/>
              <a:gd name="connsiteX0" fmla="*/ 9178 w 5992748"/>
              <a:gd name="connsiteY0" fmla="*/ 2532281 h 2607485"/>
              <a:gd name="connsiteX1" fmla="*/ 586556 w 5992748"/>
              <a:gd name="connsiteY1" fmla="*/ 1723146 h 2607485"/>
              <a:gd name="connsiteX2" fmla="*/ 1393693 w 5992748"/>
              <a:gd name="connsiteY2" fmla="*/ 847338 h 2607485"/>
              <a:gd name="connsiteX3" fmla="*/ 2082907 w 5992748"/>
              <a:gd name="connsiteY3" fmla="*/ 333030 h 2607485"/>
              <a:gd name="connsiteX4" fmla="*/ 3245019 w 5992748"/>
              <a:gd name="connsiteY4" fmla="*/ 214300 h 2607485"/>
              <a:gd name="connsiteX5" fmla="*/ 3970790 w 5992748"/>
              <a:gd name="connsiteY5" fmla="*/ 376525 h 2607485"/>
              <a:gd name="connsiteX6" fmla="*/ 4539925 w 5992748"/>
              <a:gd name="connsiteY6" fmla="*/ 288568 h 2607485"/>
              <a:gd name="connsiteX7" fmla="*/ 5239537 w 5992748"/>
              <a:gd name="connsiteY7" fmla="*/ 597373 h 2607485"/>
              <a:gd name="connsiteX8" fmla="*/ 5520828 w 5992748"/>
              <a:gd name="connsiteY8" fmla="*/ 687680 h 2607485"/>
              <a:gd name="connsiteX9" fmla="*/ 5992748 w 5992748"/>
              <a:gd name="connsiteY9" fmla="*/ 849450 h 2607485"/>
              <a:gd name="connsiteX10" fmla="*/ 5857246 w 5992748"/>
              <a:gd name="connsiteY10" fmla="*/ 2607484 h 2607485"/>
              <a:gd name="connsiteX11" fmla="*/ 3920386 w 5992748"/>
              <a:gd name="connsiteY11" fmla="*/ 1977934 h 2607485"/>
              <a:gd name="connsiteX12" fmla="*/ 3020593 w 5992748"/>
              <a:gd name="connsiteY12" fmla="*/ 1403416 h 2607485"/>
              <a:gd name="connsiteX13" fmla="*/ 2203452 w 5992748"/>
              <a:gd name="connsiteY13" fmla="*/ 1348818 h 2607485"/>
              <a:gd name="connsiteX14" fmla="*/ 1047850 w 5992748"/>
              <a:gd name="connsiteY14" fmla="*/ 1694420 h 2607485"/>
              <a:gd name="connsiteX15" fmla="*/ 777635 w 5992748"/>
              <a:gd name="connsiteY15" fmla="*/ 2188160 h 2607485"/>
              <a:gd name="connsiteX16" fmla="*/ 309606 w 5992748"/>
              <a:gd name="connsiteY16" fmla="*/ 2336997 h 2607485"/>
              <a:gd name="connsiteX17" fmla="*/ 9178 w 5992748"/>
              <a:gd name="connsiteY17" fmla="*/ 2532281 h 2607485"/>
              <a:gd name="connsiteX0" fmla="*/ 9178 w 5992748"/>
              <a:gd name="connsiteY0" fmla="*/ 2532281 h 2607485"/>
              <a:gd name="connsiteX1" fmla="*/ 586556 w 5992748"/>
              <a:gd name="connsiteY1" fmla="*/ 1723146 h 2607485"/>
              <a:gd name="connsiteX2" fmla="*/ 1393693 w 5992748"/>
              <a:gd name="connsiteY2" fmla="*/ 847338 h 2607485"/>
              <a:gd name="connsiteX3" fmla="*/ 2082907 w 5992748"/>
              <a:gd name="connsiteY3" fmla="*/ 333030 h 2607485"/>
              <a:gd name="connsiteX4" fmla="*/ 3245019 w 5992748"/>
              <a:gd name="connsiteY4" fmla="*/ 214300 h 2607485"/>
              <a:gd name="connsiteX5" fmla="*/ 3970790 w 5992748"/>
              <a:gd name="connsiteY5" fmla="*/ 376525 h 2607485"/>
              <a:gd name="connsiteX6" fmla="*/ 4539925 w 5992748"/>
              <a:gd name="connsiteY6" fmla="*/ 288568 h 2607485"/>
              <a:gd name="connsiteX7" fmla="*/ 5239537 w 5992748"/>
              <a:gd name="connsiteY7" fmla="*/ 597373 h 2607485"/>
              <a:gd name="connsiteX8" fmla="*/ 5520828 w 5992748"/>
              <a:gd name="connsiteY8" fmla="*/ 687680 h 2607485"/>
              <a:gd name="connsiteX9" fmla="*/ 5992748 w 5992748"/>
              <a:gd name="connsiteY9" fmla="*/ 849450 h 2607485"/>
              <a:gd name="connsiteX10" fmla="*/ 5857246 w 5992748"/>
              <a:gd name="connsiteY10" fmla="*/ 2607484 h 2607485"/>
              <a:gd name="connsiteX11" fmla="*/ 3920386 w 5992748"/>
              <a:gd name="connsiteY11" fmla="*/ 1977934 h 2607485"/>
              <a:gd name="connsiteX12" fmla="*/ 3020593 w 5992748"/>
              <a:gd name="connsiteY12" fmla="*/ 1403416 h 2607485"/>
              <a:gd name="connsiteX13" fmla="*/ 2203452 w 5992748"/>
              <a:gd name="connsiteY13" fmla="*/ 1348818 h 2607485"/>
              <a:gd name="connsiteX14" fmla="*/ 1047850 w 5992748"/>
              <a:gd name="connsiteY14" fmla="*/ 1694420 h 2607485"/>
              <a:gd name="connsiteX15" fmla="*/ 777635 w 5992748"/>
              <a:gd name="connsiteY15" fmla="*/ 2188160 h 2607485"/>
              <a:gd name="connsiteX16" fmla="*/ 309606 w 5992748"/>
              <a:gd name="connsiteY16" fmla="*/ 2336997 h 2607485"/>
              <a:gd name="connsiteX17" fmla="*/ 9178 w 5992748"/>
              <a:gd name="connsiteY17" fmla="*/ 2532281 h 2607485"/>
              <a:gd name="connsiteX0" fmla="*/ 9178 w 5992748"/>
              <a:gd name="connsiteY0" fmla="*/ 2532281 h 2607485"/>
              <a:gd name="connsiteX1" fmla="*/ 586556 w 5992748"/>
              <a:gd name="connsiteY1" fmla="*/ 1723146 h 2607485"/>
              <a:gd name="connsiteX2" fmla="*/ 1393693 w 5992748"/>
              <a:gd name="connsiteY2" fmla="*/ 847338 h 2607485"/>
              <a:gd name="connsiteX3" fmla="*/ 2082907 w 5992748"/>
              <a:gd name="connsiteY3" fmla="*/ 333030 h 2607485"/>
              <a:gd name="connsiteX4" fmla="*/ 3245019 w 5992748"/>
              <a:gd name="connsiteY4" fmla="*/ 214300 h 2607485"/>
              <a:gd name="connsiteX5" fmla="*/ 3970790 w 5992748"/>
              <a:gd name="connsiteY5" fmla="*/ 376525 h 2607485"/>
              <a:gd name="connsiteX6" fmla="*/ 4539925 w 5992748"/>
              <a:gd name="connsiteY6" fmla="*/ 288568 h 2607485"/>
              <a:gd name="connsiteX7" fmla="*/ 5239537 w 5992748"/>
              <a:gd name="connsiteY7" fmla="*/ 597373 h 2607485"/>
              <a:gd name="connsiteX8" fmla="*/ 5520828 w 5992748"/>
              <a:gd name="connsiteY8" fmla="*/ 687680 h 2607485"/>
              <a:gd name="connsiteX9" fmla="*/ 5992748 w 5992748"/>
              <a:gd name="connsiteY9" fmla="*/ 849450 h 2607485"/>
              <a:gd name="connsiteX10" fmla="*/ 5857246 w 5992748"/>
              <a:gd name="connsiteY10" fmla="*/ 2607484 h 2607485"/>
              <a:gd name="connsiteX11" fmla="*/ 3920386 w 5992748"/>
              <a:gd name="connsiteY11" fmla="*/ 1977934 h 2607485"/>
              <a:gd name="connsiteX12" fmla="*/ 3020593 w 5992748"/>
              <a:gd name="connsiteY12" fmla="*/ 1403416 h 2607485"/>
              <a:gd name="connsiteX13" fmla="*/ 2213231 w 5992748"/>
              <a:gd name="connsiteY13" fmla="*/ 1420384 h 2607485"/>
              <a:gd name="connsiteX14" fmla="*/ 1047850 w 5992748"/>
              <a:gd name="connsiteY14" fmla="*/ 1694420 h 2607485"/>
              <a:gd name="connsiteX15" fmla="*/ 777635 w 5992748"/>
              <a:gd name="connsiteY15" fmla="*/ 2188160 h 2607485"/>
              <a:gd name="connsiteX16" fmla="*/ 309606 w 5992748"/>
              <a:gd name="connsiteY16" fmla="*/ 2336997 h 2607485"/>
              <a:gd name="connsiteX17" fmla="*/ 9178 w 5992748"/>
              <a:gd name="connsiteY17" fmla="*/ 2532281 h 2607485"/>
              <a:gd name="connsiteX0" fmla="*/ 9178 w 5992748"/>
              <a:gd name="connsiteY0" fmla="*/ 2657095 h 2732299"/>
              <a:gd name="connsiteX1" fmla="*/ 586556 w 5992748"/>
              <a:gd name="connsiteY1" fmla="*/ 1847960 h 2732299"/>
              <a:gd name="connsiteX2" fmla="*/ 1393693 w 5992748"/>
              <a:gd name="connsiteY2" fmla="*/ 972152 h 2732299"/>
              <a:gd name="connsiteX3" fmla="*/ 2082907 w 5992748"/>
              <a:gd name="connsiteY3" fmla="*/ 457844 h 2732299"/>
              <a:gd name="connsiteX4" fmla="*/ 3245019 w 5992748"/>
              <a:gd name="connsiteY4" fmla="*/ 339114 h 2732299"/>
              <a:gd name="connsiteX5" fmla="*/ 3892299 w 5992748"/>
              <a:gd name="connsiteY5" fmla="*/ 130281 h 2732299"/>
              <a:gd name="connsiteX6" fmla="*/ 4539925 w 5992748"/>
              <a:gd name="connsiteY6" fmla="*/ 413382 h 2732299"/>
              <a:gd name="connsiteX7" fmla="*/ 5239537 w 5992748"/>
              <a:gd name="connsiteY7" fmla="*/ 722187 h 2732299"/>
              <a:gd name="connsiteX8" fmla="*/ 5520828 w 5992748"/>
              <a:gd name="connsiteY8" fmla="*/ 812494 h 2732299"/>
              <a:gd name="connsiteX9" fmla="*/ 5992748 w 5992748"/>
              <a:gd name="connsiteY9" fmla="*/ 974264 h 2732299"/>
              <a:gd name="connsiteX10" fmla="*/ 5857246 w 5992748"/>
              <a:gd name="connsiteY10" fmla="*/ 2732298 h 2732299"/>
              <a:gd name="connsiteX11" fmla="*/ 3920386 w 5992748"/>
              <a:gd name="connsiteY11" fmla="*/ 2102748 h 2732299"/>
              <a:gd name="connsiteX12" fmla="*/ 3020593 w 5992748"/>
              <a:gd name="connsiteY12" fmla="*/ 1528230 h 2732299"/>
              <a:gd name="connsiteX13" fmla="*/ 2213231 w 5992748"/>
              <a:gd name="connsiteY13" fmla="*/ 1545198 h 2732299"/>
              <a:gd name="connsiteX14" fmla="*/ 1047850 w 5992748"/>
              <a:gd name="connsiteY14" fmla="*/ 1819234 h 2732299"/>
              <a:gd name="connsiteX15" fmla="*/ 777635 w 5992748"/>
              <a:gd name="connsiteY15" fmla="*/ 2312974 h 2732299"/>
              <a:gd name="connsiteX16" fmla="*/ 309606 w 5992748"/>
              <a:gd name="connsiteY16" fmla="*/ 2461811 h 2732299"/>
              <a:gd name="connsiteX17" fmla="*/ 9178 w 5992748"/>
              <a:gd name="connsiteY17" fmla="*/ 2657095 h 2732299"/>
              <a:gd name="connsiteX0" fmla="*/ 9178 w 5992748"/>
              <a:gd name="connsiteY0" fmla="*/ 2657095 h 2732299"/>
              <a:gd name="connsiteX1" fmla="*/ 586556 w 5992748"/>
              <a:gd name="connsiteY1" fmla="*/ 1847960 h 2732299"/>
              <a:gd name="connsiteX2" fmla="*/ 1393693 w 5992748"/>
              <a:gd name="connsiteY2" fmla="*/ 972152 h 2732299"/>
              <a:gd name="connsiteX3" fmla="*/ 2082907 w 5992748"/>
              <a:gd name="connsiteY3" fmla="*/ 457844 h 2732299"/>
              <a:gd name="connsiteX4" fmla="*/ 3245019 w 5992748"/>
              <a:gd name="connsiteY4" fmla="*/ 339114 h 2732299"/>
              <a:gd name="connsiteX5" fmla="*/ 3892299 w 5992748"/>
              <a:gd name="connsiteY5" fmla="*/ 130281 h 2732299"/>
              <a:gd name="connsiteX6" fmla="*/ 4539925 w 5992748"/>
              <a:gd name="connsiteY6" fmla="*/ 413382 h 2732299"/>
              <a:gd name="connsiteX7" fmla="*/ 5239537 w 5992748"/>
              <a:gd name="connsiteY7" fmla="*/ 722187 h 2732299"/>
              <a:gd name="connsiteX8" fmla="*/ 5520828 w 5992748"/>
              <a:gd name="connsiteY8" fmla="*/ 812494 h 2732299"/>
              <a:gd name="connsiteX9" fmla="*/ 5992748 w 5992748"/>
              <a:gd name="connsiteY9" fmla="*/ 974264 h 2732299"/>
              <a:gd name="connsiteX10" fmla="*/ 5857246 w 5992748"/>
              <a:gd name="connsiteY10" fmla="*/ 2732298 h 2732299"/>
              <a:gd name="connsiteX11" fmla="*/ 3920386 w 5992748"/>
              <a:gd name="connsiteY11" fmla="*/ 2102748 h 2732299"/>
              <a:gd name="connsiteX12" fmla="*/ 3020593 w 5992748"/>
              <a:gd name="connsiteY12" fmla="*/ 1528230 h 2732299"/>
              <a:gd name="connsiteX13" fmla="*/ 2213231 w 5992748"/>
              <a:gd name="connsiteY13" fmla="*/ 1545198 h 2732299"/>
              <a:gd name="connsiteX14" fmla="*/ 1047850 w 5992748"/>
              <a:gd name="connsiteY14" fmla="*/ 1819234 h 2732299"/>
              <a:gd name="connsiteX15" fmla="*/ 777635 w 5992748"/>
              <a:gd name="connsiteY15" fmla="*/ 2312974 h 2732299"/>
              <a:gd name="connsiteX16" fmla="*/ 309606 w 5992748"/>
              <a:gd name="connsiteY16" fmla="*/ 2461811 h 2732299"/>
              <a:gd name="connsiteX17" fmla="*/ 9178 w 5992748"/>
              <a:gd name="connsiteY17" fmla="*/ 2657095 h 2732299"/>
              <a:gd name="connsiteX0" fmla="*/ 9178 w 5992748"/>
              <a:gd name="connsiteY0" fmla="*/ 2625164 h 2700368"/>
              <a:gd name="connsiteX1" fmla="*/ 586556 w 5992748"/>
              <a:gd name="connsiteY1" fmla="*/ 1816029 h 2700368"/>
              <a:gd name="connsiteX2" fmla="*/ 1393693 w 5992748"/>
              <a:gd name="connsiteY2" fmla="*/ 940221 h 2700368"/>
              <a:gd name="connsiteX3" fmla="*/ 2082907 w 5992748"/>
              <a:gd name="connsiteY3" fmla="*/ 425913 h 2700368"/>
              <a:gd name="connsiteX4" fmla="*/ 3245019 w 5992748"/>
              <a:gd name="connsiteY4" fmla="*/ 307183 h 2700368"/>
              <a:gd name="connsiteX5" fmla="*/ 3892299 w 5992748"/>
              <a:gd name="connsiteY5" fmla="*/ 98350 h 2700368"/>
              <a:gd name="connsiteX6" fmla="*/ 4539925 w 5992748"/>
              <a:gd name="connsiteY6" fmla="*/ 381451 h 2700368"/>
              <a:gd name="connsiteX7" fmla="*/ 5239537 w 5992748"/>
              <a:gd name="connsiteY7" fmla="*/ 690256 h 2700368"/>
              <a:gd name="connsiteX8" fmla="*/ 5520828 w 5992748"/>
              <a:gd name="connsiteY8" fmla="*/ 780563 h 2700368"/>
              <a:gd name="connsiteX9" fmla="*/ 5992748 w 5992748"/>
              <a:gd name="connsiteY9" fmla="*/ 942333 h 2700368"/>
              <a:gd name="connsiteX10" fmla="*/ 5857246 w 5992748"/>
              <a:gd name="connsiteY10" fmla="*/ 2700367 h 2700368"/>
              <a:gd name="connsiteX11" fmla="*/ 3920386 w 5992748"/>
              <a:gd name="connsiteY11" fmla="*/ 2070817 h 2700368"/>
              <a:gd name="connsiteX12" fmla="*/ 3020593 w 5992748"/>
              <a:gd name="connsiteY12" fmla="*/ 1496299 h 2700368"/>
              <a:gd name="connsiteX13" fmla="*/ 2213231 w 5992748"/>
              <a:gd name="connsiteY13" fmla="*/ 1513267 h 2700368"/>
              <a:gd name="connsiteX14" fmla="*/ 1047850 w 5992748"/>
              <a:gd name="connsiteY14" fmla="*/ 1787303 h 2700368"/>
              <a:gd name="connsiteX15" fmla="*/ 777635 w 5992748"/>
              <a:gd name="connsiteY15" fmla="*/ 2281043 h 2700368"/>
              <a:gd name="connsiteX16" fmla="*/ 309606 w 5992748"/>
              <a:gd name="connsiteY16" fmla="*/ 2429880 h 2700368"/>
              <a:gd name="connsiteX17" fmla="*/ 9178 w 5992748"/>
              <a:gd name="connsiteY17" fmla="*/ 2625164 h 2700368"/>
              <a:gd name="connsiteX0" fmla="*/ 9178 w 5992748"/>
              <a:gd name="connsiteY0" fmla="*/ 2600358 h 2675562"/>
              <a:gd name="connsiteX1" fmla="*/ 586556 w 5992748"/>
              <a:gd name="connsiteY1" fmla="*/ 1791223 h 2675562"/>
              <a:gd name="connsiteX2" fmla="*/ 1393693 w 5992748"/>
              <a:gd name="connsiteY2" fmla="*/ 915415 h 2675562"/>
              <a:gd name="connsiteX3" fmla="*/ 2082907 w 5992748"/>
              <a:gd name="connsiteY3" fmla="*/ 401107 h 2675562"/>
              <a:gd name="connsiteX4" fmla="*/ 3245019 w 5992748"/>
              <a:gd name="connsiteY4" fmla="*/ 282377 h 2675562"/>
              <a:gd name="connsiteX5" fmla="*/ 3892299 w 5992748"/>
              <a:gd name="connsiteY5" fmla="*/ 73544 h 2675562"/>
              <a:gd name="connsiteX6" fmla="*/ 4539925 w 5992748"/>
              <a:gd name="connsiteY6" fmla="*/ 356645 h 2675562"/>
              <a:gd name="connsiteX7" fmla="*/ 5239537 w 5992748"/>
              <a:gd name="connsiteY7" fmla="*/ 665450 h 2675562"/>
              <a:gd name="connsiteX8" fmla="*/ 5520828 w 5992748"/>
              <a:gd name="connsiteY8" fmla="*/ 755757 h 2675562"/>
              <a:gd name="connsiteX9" fmla="*/ 5992748 w 5992748"/>
              <a:gd name="connsiteY9" fmla="*/ 917527 h 2675562"/>
              <a:gd name="connsiteX10" fmla="*/ 5857246 w 5992748"/>
              <a:gd name="connsiteY10" fmla="*/ 2675561 h 2675562"/>
              <a:gd name="connsiteX11" fmla="*/ 3920386 w 5992748"/>
              <a:gd name="connsiteY11" fmla="*/ 2046011 h 2675562"/>
              <a:gd name="connsiteX12" fmla="*/ 3020593 w 5992748"/>
              <a:gd name="connsiteY12" fmla="*/ 1471493 h 2675562"/>
              <a:gd name="connsiteX13" fmla="*/ 2213231 w 5992748"/>
              <a:gd name="connsiteY13" fmla="*/ 1488461 h 2675562"/>
              <a:gd name="connsiteX14" fmla="*/ 1047850 w 5992748"/>
              <a:gd name="connsiteY14" fmla="*/ 1762497 h 2675562"/>
              <a:gd name="connsiteX15" fmla="*/ 777635 w 5992748"/>
              <a:gd name="connsiteY15" fmla="*/ 2256237 h 2675562"/>
              <a:gd name="connsiteX16" fmla="*/ 309606 w 5992748"/>
              <a:gd name="connsiteY16" fmla="*/ 2405074 h 2675562"/>
              <a:gd name="connsiteX17" fmla="*/ 9178 w 5992748"/>
              <a:gd name="connsiteY17" fmla="*/ 2600358 h 2675562"/>
              <a:gd name="connsiteX0" fmla="*/ 9178 w 5992748"/>
              <a:gd name="connsiteY0" fmla="*/ 2587618 h 2662822"/>
              <a:gd name="connsiteX1" fmla="*/ 586556 w 5992748"/>
              <a:gd name="connsiteY1" fmla="*/ 1778483 h 2662822"/>
              <a:gd name="connsiteX2" fmla="*/ 1393693 w 5992748"/>
              <a:gd name="connsiteY2" fmla="*/ 902675 h 2662822"/>
              <a:gd name="connsiteX3" fmla="*/ 2082907 w 5992748"/>
              <a:gd name="connsiteY3" fmla="*/ 388367 h 2662822"/>
              <a:gd name="connsiteX4" fmla="*/ 3245019 w 5992748"/>
              <a:gd name="connsiteY4" fmla="*/ 269637 h 2662822"/>
              <a:gd name="connsiteX5" fmla="*/ 3892299 w 5992748"/>
              <a:gd name="connsiteY5" fmla="*/ 60804 h 2662822"/>
              <a:gd name="connsiteX6" fmla="*/ 4539925 w 5992748"/>
              <a:gd name="connsiteY6" fmla="*/ 343905 h 2662822"/>
              <a:gd name="connsiteX7" fmla="*/ 5239537 w 5992748"/>
              <a:gd name="connsiteY7" fmla="*/ 652710 h 2662822"/>
              <a:gd name="connsiteX8" fmla="*/ 5520828 w 5992748"/>
              <a:gd name="connsiteY8" fmla="*/ 743017 h 2662822"/>
              <a:gd name="connsiteX9" fmla="*/ 5992748 w 5992748"/>
              <a:gd name="connsiteY9" fmla="*/ 904787 h 2662822"/>
              <a:gd name="connsiteX10" fmla="*/ 5857246 w 5992748"/>
              <a:gd name="connsiteY10" fmla="*/ 2662821 h 2662822"/>
              <a:gd name="connsiteX11" fmla="*/ 3920386 w 5992748"/>
              <a:gd name="connsiteY11" fmla="*/ 2033271 h 2662822"/>
              <a:gd name="connsiteX12" fmla="*/ 3020593 w 5992748"/>
              <a:gd name="connsiteY12" fmla="*/ 1458753 h 2662822"/>
              <a:gd name="connsiteX13" fmla="*/ 2213231 w 5992748"/>
              <a:gd name="connsiteY13" fmla="*/ 1475721 h 2662822"/>
              <a:gd name="connsiteX14" fmla="*/ 1047850 w 5992748"/>
              <a:gd name="connsiteY14" fmla="*/ 1749757 h 2662822"/>
              <a:gd name="connsiteX15" fmla="*/ 777635 w 5992748"/>
              <a:gd name="connsiteY15" fmla="*/ 2243497 h 2662822"/>
              <a:gd name="connsiteX16" fmla="*/ 309606 w 5992748"/>
              <a:gd name="connsiteY16" fmla="*/ 2392334 h 2662822"/>
              <a:gd name="connsiteX17" fmla="*/ 9178 w 5992748"/>
              <a:gd name="connsiteY17" fmla="*/ 2587618 h 2662822"/>
              <a:gd name="connsiteX0" fmla="*/ 9178 w 5992748"/>
              <a:gd name="connsiteY0" fmla="*/ 2526880 h 2602084"/>
              <a:gd name="connsiteX1" fmla="*/ 586556 w 5992748"/>
              <a:gd name="connsiteY1" fmla="*/ 1717745 h 2602084"/>
              <a:gd name="connsiteX2" fmla="*/ 1393693 w 5992748"/>
              <a:gd name="connsiteY2" fmla="*/ 841937 h 2602084"/>
              <a:gd name="connsiteX3" fmla="*/ 2082907 w 5992748"/>
              <a:gd name="connsiteY3" fmla="*/ 327629 h 2602084"/>
              <a:gd name="connsiteX4" fmla="*/ 3245019 w 5992748"/>
              <a:gd name="connsiteY4" fmla="*/ 208899 h 2602084"/>
              <a:gd name="connsiteX5" fmla="*/ 3892299 w 5992748"/>
              <a:gd name="connsiteY5" fmla="*/ 66 h 2602084"/>
              <a:gd name="connsiteX6" fmla="*/ 4539925 w 5992748"/>
              <a:gd name="connsiteY6" fmla="*/ 283167 h 2602084"/>
              <a:gd name="connsiteX7" fmla="*/ 5239537 w 5992748"/>
              <a:gd name="connsiteY7" fmla="*/ 591972 h 2602084"/>
              <a:gd name="connsiteX8" fmla="*/ 5520828 w 5992748"/>
              <a:gd name="connsiteY8" fmla="*/ 682279 h 2602084"/>
              <a:gd name="connsiteX9" fmla="*/ 5992748 w 5992748"/>
              <a:gd name="connsiteY9" fmla="*/ 844049 h 2602084"/>
              <a:gd name="connsiteX10" fmla="*/ 5857246 w 5992748"/>
              <a:gd name="connsiteY10" fmla="*/ 2602083 h 2602084"/>
              <a:gd name="connsiteX11" fmla="*/ 3920386 w 5992748"/>
              <a:gd name="connsiteY11" fmla="*/ 1972533 h 2602084"/>
              <a:gd name="connsiteX12" fmla="*/ 3020593 w 5992748"/>
              <a:gd name="connsiteY12" fmla="*/ 1398015 h 2602084"/>
              <a:gd name="connsiteX13" fmla="*/ 2213231 w 5992748"/>
              <a:gd name="connsiteY13" fmla="*/ 1414983 h 2602084"/>
              <a:gd name="connsiteX14" fmla="*/ 1047850 w 5992748"/>
              <a:gd name="connsiteY14" fmla="*/ 1689019 h 2602084"/>
              <a:gd name="connsiteX15" fmla="*/ 777635 w 5992748"/>
              <a:gd name="connsiteY15" fmla="*/ 2182759 h 2602084"/>
              <a:gd name="connsiteX16" fmla="*/ 309606 w 5992748"/>
              <a:gd name="connsiteY16" fmla="*/ 2331596 h 2602084"/>
              <a:gd name="connsiteX17" fmla="*/ 9178 w 5992748"/>
              <a:gd name="connsiteY17" fmla="*/ 2526880 h 2602084"/>
              <a:gd name="connsiteX0" fmla="*/ 9178 w 5992748"/>
              <a:gd name="connsiteY0" fmla="*/ 2526814 h 2602018"/>
              <a:gd name="connsiteX1" fmla="*/ 586556 w 5992748"/>
              <a:gd name="connsiteY1" fmla="*/ 1717679 h 2602018"/>
              <a:gd name="connsiteX2" fmla="*/ 1393693 w 5992748"/>
              <a:gd name="connsiteY2" fmla="*/ 841871 h 2602018"/>
              <a:gd name="connsiteX3" fmla="*/ 2082907 w 5992748"/>
              <a:gd name="connsiteY3" fmla="*/ 327563 h 2602018"/>
              <a:gd name="connsiteX4" fmla="*/ 3245019 w 5992748"/>
              <a:gd name="connsiteY4" fmla="*/ 208833 h 2602018"/>
              <a:gd name="connsiteX5" fmla="*/ 3892299 w 5992748"/>
              <a:gd name="connsiteY5" fmla="*/ 0 h 2602018"/>
              <a:gd name="connsiteX6" fmla="*/ 4539925 w 5992748"/>
              <a:gd name="connsiteY6" fmla="*/ 283101 h 2602018"/>
              <a:gd name="connsiteX7" fmla="*/ 5239537 w 5992748"/>
              <a:gd name="connsiteY7" fmla="*/ 591906 h 2602018"/>
              <a:gd name="connsiteX8" fmla="*/ 5520828 w 5992748"/>
              <a:gd name="connsiteY8" fmla="*/ 682213 h 2602018"/>
              <a:gd name="connsiteX9" fmla="*/ 5992748 w 5992748"/>
              <a:gd name="connsiteY9" fmla="*/ 843983 h 2602018"/>
              <a:gd name="connsiteX10" fmla="*/ 5857246 w 5992748"/>
              <a:gd name="connsiteY10" fmla="*/ 2602017 h 2602018"/>
              <a:gd name="connsiteX11" fmla="*/ 3920386 w 5992748"/>
              <a:gd name="connsiteY11" fmla="*/ 1972467 h 2602018"/>
              <a:gd name="connsiteX12" fmla="*/ 3020593 w 5992748"/>
              <a:gd name="connsiteY12" fmla="*/ 1397949 h 2602018"/>
              <a:gd name="connsiteX13" fmla="*/ 2213231 w 5992748"/>
              <a:gd name="connsiteY13" fmla="*/ 1414917 h 2602018"/>
              <a:gd name="connsiteX14" fmla="*/ 1047850 w 5992748"/>
              <a:gd name="connsiteY14" fmla="*/ 1688953 h 2602018"/>
              <a:gd name="connsiteX15" fmla="*/ 777635 w 5992748"/>
              <a:gd name="connsiteY15" fmla="*/ 2182693 h 2602018"/>
              <a:gd name="connsiteX16" fmla="*/ 309606 w 5992748"/>
              <a:gd name="connsiteY16" fmla="*/ 2331530 h 2602018"/>
              <a:gd name="connsiteX17" fmla="*/ 9178 w 5992748"/>
              <a:gd name="connsiteY17" fmla="*/ 2526814 h 2602018"/>
              <a:gd name="connsiteX0" fmla="*/ 9178 w 5992748"/>
              <a:gd name="connsiteY0" fmla="*/ 2562139 h 2637343"/>
              <a:gd name="connsiteX1" fmla="*/ 586556 w 5992748"/>
              <a:gd name="connsiteY1" fmla="*/ 1753004 h 2637343"/>
              <a:gd name="connsiteX2" fmla="*/ 1393693 w 5992748"/>
              <a:gd name="connsiteY2" fmla="*/ 877196 h 2637343"/>
              <a:gd name="connsiteX3" fmla="*/ 2082907 w 5992748"/>
              <a:gd name="connsiteY3" fmla="*/ 362888 h 2637343"/>
              <a:gd name="connsiteX4" fmla="*/ 3245019 w 5992748"/>
              <a:gd name="connsiteY4" fmla="*/ 244158 h 2637343"/>
              <a:gd name="connsiteX5" fmla="*/ 3892299 w 5992748"/>
              <a:gd name="connsiteY5" fmla="*/ 35325 h 2637343"/>
              <a:gd name="connsiteX6" fmla="*/ 4546513 w 5992748"/>
              <a:gd name="connsiteY6" fmla="*/ 59870 h 2637343"/>
              <a:gd name="connsiteX7" fmla="*/ 5239537 w 5992748"/>
              <a:gd name="connsiteY7" fmla="*/ 627231 h 2637343"/>
              <a:gd name="connsiteX8" fmla="*/ 5520828 w 5992748"/>
              <a:gd name="connsiteY8" fmla="*/ 717538 h 2637343"/>
              <a:gd name="connsiteX9" fmla="*/ 5992748 w 5992748"/>
              <a:gd name="connsiteY9" fmla="*/ 879308 h 2637343"/>
              <a:gd name="connsiteX10" fmla="*/ 5857246 w 5992748"/>
              <a:gd name="connsiteY10" fmla="*/ 2637342 h 2637343"/>
              <a:gd name="connsiteX11" fmla="*/ 3920386 w 5992748"/>
              <a:gd name="connsiteY11" fmla="*/ 2007792 h 2637343"/>
              <a:gd name="connsiteX12" fmla="*/ 3020593 w 5992748"/>
              <a:gd name="connsiteY12" fmla="*/ 1433274 h 2637343"/>
              <a:gd name="connsiteX13" fmla="*/ 2213231 w 5992748"/>
              <a:gd name="connsiteY13" fmla="*/ 1450242 h 2637343"/>
              <a:gd name="connsiteX14" fmla="*/ 1047850 w 5992748"/>
              <a:gd name="connsiteY14" fmla="*/ 1724278 h 2637343"/>
              <a:gd name="connsiteX15" fmla="*/ 777635 w 5992748"/>
              <a:gd name="connsiteY15" fmla="*/ 2218018 h 2637343"/>
              <a:gd name="connsiteX16" fmla="*/ 309606 w 5992748"/>
              <a:gd name="connsiteY16" fmla="*/ 2366855 h 2637343"/>
              <a:gd name="connsiteX17" fmla="*/ 9178 w 5992748"/>
              <a:gd name="connsiteY17" fmla="*/ 2562139 h 2637343"/>
              <a:gd name="connsiteX0" fmla="*/ 9178 w 5992748"/>
              <a:gd name="connsiteY0" fmla="*/ 2526814 h 2602018"/>
              <a:gd name="connsiteX1" fmla="*/ 586556 w 5992748"/>
              <a:gd name="connsiteY1" fmla="*/ 1717679 h 2602018"/>
              <a:gd name="connsiteX2" fmla="*/ 1393693 w 5992748"/>
              <a:gd name="connsiteY2" fmla="*/ 841871 h 2602018"/>
              <a:gd name="connsiteX3" fmla="*/ 2082907 w 5992748"/>
              <a:gd name="connsiteY3" fmla="*/ 327563 h 2602018"/>
              <a:gd name="connsiteX4" fmla="*/ 3245019 w 5992748"/>
              <a:gd name="connsiteY4" fmla="*/ 208833 h 2602018"/>
              <a:gd name="connsiteX5" fmla="*/ 3892299 w 5992748"/>
              <a:gd name="connsiteY5" fmla="*/ 0 h 2602018"/>
              <a:gd name="connsiteX6" fmla="*/ 4546513 w 5992748"/>
              <a:gd name="connsiteY6" fmla="*/ 24545 h 2602018"/>
              <a:gd name="connsiteX7" fmla="*/ 5239537 w 5992748"/>
              <a:gd name="connsiteY7" fmla="*/ 591906 h 2602018"/>
              <a:gd name="connsiteX8" fmla="*/ 5520828 w 5992748"/>
              <a:gd name="connsiteY8" fmla="*/ 682213 h 2602018"/>
              <a:gd name="connsiteX9" fmla="*/ 5992748 w 5992748"/>
              <a:gd name="connsiteY9" fmla="*/ 843983 h 2602018"/>
              <a:gd name="connsiteX10" fmla="*/ 5857246 w 5992748"/>
              <a:gd name="connsiteY10" fmla="*/ 2602017 h 2602018"/>
              <a:gd name="connsiteX11" fmla="*/ 3920386 w 5992748"/>
              <a:gd name="connsiteY11" fmla="*/ 1972467 h 2602018"/>
              <a:gd name="connsiteX12" fmla="*/ 3020593 w 5992748"/>
              <a:gd name="connsiteY12" fmla="*/ 1397949 h 2602018"/>
              <a:gd name="connsiteX13" fmla="*/ 2213231 w 5992748"/>
              <a:gd name="connsiteY13" fmla="*/ 1414917 h 2602018"/>
              <a:gd name="connsiteX14" fmla="*/ 1047850 w 5992748"/>
              <a:gd name="connsiteY14" fmla="*/ 1688953 h 2602018"/>
              <a:gd name="connsiteX15" fmla="*/ 777635 w 5992748"/>
              <a:gd name="connsiteY15" fmla="*/ 2182693 h 2602018"/>
              <a:gd name="connsiteX16" fmla="*/ 309606 w 5992748"/>
              <a:gd name="connsiteY16" fmla="*/ 2331530 h 2602018"/>
              <a:gd name="connsiteX17" fmla="*/ 9178 w 5992748"/>
              <a:gd name="connsiteY17" fmla="*/ 2526814 h 2602018"/>
              <a:gd name="connsiteX0" fmla="*/ 9178 w 5992748"/>
              <a:gd name="connsiteY0" fmla="*/ 2608795 h 2683999"/>
              <a:gd name="connsiteX1" fmla="*/ 586556 w 5992748"/>
              <a:gd name="connsiteY1" fmla="*/ 1799660 h 2683999"/>
              <a:gd name="connsiteX2" fmla="*/ 1393693 w 5992748"/>
              <a:gd name="connsiteY2" fmla="*/ 923852 h 2683999"/>
              <a:gd name="connsiteX3" fmla="*/ 2082907 w 5992748"/>
              <a:gd name="connsiteY3" fmla="*/ 409544 h 2683999"/>
              <a:gd name="connsiteX4" fmla="*/ 3245019 w 5992748"/>
              <a:gd name="connsiteY4" fmla="*/ 290814 h 2683999"/>
              <a:gd name="connsiteX5" fmla="*/ 3892299 w 5992748"/>
              <a:gd name="connsiteY5" fmla="*/ 81981 h 2683999"/>
              <a:gd name="connsiteX6" fmla="*/ 4546513 w 5992748"/>
              <a:gd name="connsiteY6" fmla="*/ 106526 h 2683999"/>
              <a:gd name="connsiteX7" fmla="*/ 5239537 w 5992748"/>
              <a:gd name="connsiteY7" fmla="*/ 673887 h 2683999"/>
              <a:gd name="connsiteX8" fmla="*/ 5520828 w 5992748"/>
              <a:gd name="connsiteY8" fmla="*/ 764194 h 2683999"/>
              <a:gd name="connsiteX9" fmla="*/ 5992748 w 5992748"/>
              <a:gd name="connsiteY9" fmla="*/ 925964 h 2683999"/>
              <a:gd name="connsiteX10" fmla="*/ 5857246 w 5992748"/>
              <a:gd name="connsiteY10" fmla="*/ 2683998 h 2683999"/>
              <a:gd name="connsiteX11" fmla="*/ 3920386 w 5992748"/>
              <a:gd name="connsiteY11" fmla="*/ 2054448 h 2683999"/>
              <a:gd name="connsiteX12" fmla="*/ 3020593 w 5992748"/>
              <a:gd name="connsiteY12" fmla="*/ 1479930 h 2683999"/>
              <a:gd name="connsiteX13" fmla="*/ 2213231 w 5992748"/>
              <a:gd name="connsiteY13" fmla="*/ 1496898 h 2683999"/>
              <a:gd name="connsiteX14" fmla="*/ 1047850 w 5992748"/>
              <a:gd name="connsiteY14" fmla="*/ 1770934 h 2683999"/>
              <a:gd name="connsiteX15" fmla="*/ 777635 w 5992748"/>
              <a:gd name="connsiteY15" fmla="*/ 2264674 h 2683999"/>
              <a:gd name="connsiteX16" fmla="*/ 309606 w 5992748"/>
              <a:gd name="connsiteY16" fmla="*/ 2413511 h 2683999"/>
              <a:gd name="connsiteX17" fmla="*/ 9178 w 5992748"/>
              <a:gd name="connsiteY17" fmla="*/ 2608795 h 2683999"/>
              <a:gd name="connsiteX0" fmla="*/ 9178 w 5992748"/>
              <a:gd name="connsiteY0" fmla="*/ 2583729 h 2658933"/>
              <a:gd name="connsiteX1" fmla="*/ 586556 w 5992748"/>
              <a:gd name="connsiteY1" fmla="*/ 1774594 h 2658933"/>
              <a:gd name="connsiteX2" fmla="*/ 1393693 w 5992748"/>
              <a:gd name="connsiteY2" fmla="*/ 898786 h 2658933"/>
              <a:gd name="connsiteX3" fmla="*/ 2082907 w 5992748"/>
              <a:gd name="connsiteY3" fmla="*/ 384478 h 2658933"/>
              <a:gd name="connsiteX4" fmla="*/ 3245019 w 5992748"/>
              <a:gd name="connsiteY4" fmla="*/ 265748 h 2658933"/>
              <a:gd name="connsiteX5" fmla="*/ 3892299 w 5992748"/>
              <a:gd name="connsiteY5" fmla="*/ 56915 h 2658933"/>
              <a:gd name="connsiteX6" fmla="*/ 4546513 w 5992748"/>
              <a:gd name="connsiteY6" fmla="*/ 81460 h 2658933"/>
              <a:gd name="connsiteX7" fmla="*/ 5239537 w 5992748"/>
              <a:gd name="connsiteY7" fmla="*/ 648821 h 2658933"/>
              <a:gd name="connsiteX8" fmla="*/ 5520828 w 5992748"/>
              <a:gd name="connsiteY8" fmla="*/ 739128 h 2658933"/>
              <a:gd name="connsiteX9" fmla="*/ 5992748 w 5992748"/>
              <a:gd name="connsiteY9" fmla="*/ 900898 h 2658933"/>
              <a:gd name="connsiteX10" fmla="*/ 5857246 w 5992748"/>
              <a:gd name="connsiteY10" fmla="*/ 2658932 h 2658933"/>
              <a:gd name="connsiteX11" fmla="*/ 3920386 w 5992748"/>
              <a:gd name="connsiteY11" fmla="*/ 2029382 h 2658933"/>
              <a:gd name="connsiteX12" fmla="*/ 3020593 w 5992748"/>
              <a:gd name="connsiteY12" fmla="*/ 1454864 h 2658933"/>
              <a:gd name="connsiteX13" fmla="*/ 2213231 w 5992748"/>
              <a:gd name="connsiteY13" fmla="*/ 1471832 h 2658933"/>
              <a:gd name="connsiteX14" fmla="*/ 1047850 w 5992748"/>
              <a:gd name="connsiteY14" fmla="*/ 1745868 h 2658933"/>
              <a:gd name="connsiteX15" fmla="*/ 777635 w 5992748"/>
              <a:gd name="connsiteY15" fmla="*/ 2239608 h 2658933"/>
              <a:gd name="connsiteX16" fmla="*/ 309606 w 5992748"/>
              <a:gd name="connsiteY16" fmla="*/ 2388445 h 2658933"/>
              <a:gd name="connsiteX17" fmla="*/ 9178 w 5992748"/>
              <a:gd name="connsiteY17" fmla="*/ 2583729 h 2658933"/>
              <a:gd name="connsiteX0" fmla="*/ 9178 w 5992748"/>
              <a:gd name="connsiteY0" fmla="*/ 2544857 h 2620061"/>
              <a:gd name="connsiteX1" fmla="*/ 586556 w 5992748"/>
              <a:gd name="connsiteY1" fmla="*/ 1735722 h 2620061"/>
              <a:gd name="connsiteX2" fmla="*/ 1393693 w 5992748"/>
              <a:gd name="connsiteY2" fmla="*/ 859914 h 2620061"/>
              <a:gd name="connsiteX3" fmla="*/ 2082907 w 5992748"/>
              <a:gd name="connsiteY3" fmla="*/ 345606 h 2620061"/>
              <a:gd name="connsiteX4" fmla="*/ 3245019 w 5992748"/>
              <a:gd name="connsiteY4" fmla="*/ 226876 h 2620061"/>
              <a:gd name="connsiteX5" fmla="*/ 3892299 w 5992748"/>
              <a:gd name="connsiteY5" fmla="*/ 18043 h 2620061"/>
              <a:gd name="connsiteX6" fmla="*/ 4546513 w 5992748"/>
              <a:gd name="connsiteY6" fmla="*/ 42588 h 2620061"/>
              <a:gd name="connsiteX7" fmla="*/ 5239537 w 5992748"/>
              <a:gd name="connsiteY7" fmla="*/ 609949 h 2620061"/>
              <a:gd name="connsiteX8" fmla="*/ 5520828 w 5992748"/>
              <a:gd name="connsiteY8" fmla="*/ 700256 h 2620061"/>
              <a:gd name="connsiteX9" fmla="*/ 5992748 w 5992748"/>
              <a:gd name="connsiteY9" fmla="*/ 862026 h 2620061"/>
              <a:gd name="connsiteX10" fmla="*/ 5857246 w 5992748"/>
              <a:gd name="connsiteY10" fmla="*/ 2620060 h 2620061"/>
              <a:gd name="connsiteX11" fmla="*/ 3920386 w 5992748"/>
              <a:gd name="connsiteY11" fmla="*/ 1990510 h 2620061"/>
              <a:gd name="connsiteX12" fmla="*/ 3020593 w 5992748"/>
              <a:gd name="connsiteY12" fmla="*/ 1415992 h 2620061"/>
              <a:gd name="connsiteX13" fmla="*/ 2213231 w 5992748"/>
              <a:gd name="connsiteY13" fmla="*/ 1432960 h 2620061"/>
              <a:gd name="connsiteX14" fmla="*/ 1047850 w 5992748"/>
              <a:gd name="connsiteY14" fmla="*/ 1706996 h 2620061"/>
              <a:gd name="connsiteX15" fmla="*/ 777635 w 5992748"/>
              <a:gd name="connsiteY15" fmla="*/ 2200736 h 2620061"/>
              <a:gd name="connsiteX16" fmla="*/ 309606 w 5992748"/>
              <a:gd name="connsiteY16" fmla="*/ 2349573 h 2620061"/>
              <a:gd name="connsiteX17" fmla="*/ 9178 w 5992748"/>
              <a:gd name="connsiteY17" fmla="*/ 2544857 h 2620061"/>
              <a:gd name="connsiteX0" fmla="*/ 9178 w 5992748"/>
              <a:gd name="connsiteY0" fmla="*/ 2653879 h 2729083"/>
              <a:gd name="connsiteX1" fmla="*/ 586556 w 5992748"/>
              <a:gd name="connsiteY1" fmla="*/ 1844744 h 2729083"/>
              <a:gd name="connsiteX2" fmla="*/ 1393693 w 5992748"/>
              <a:gd name="connsiteY2" fmla="*/ 968936 h 2729083"/>
              <a:gd name="connsiteX3" fmla="*/ 2082907 w 5992748"/>
              <a:gd name="connsiteY3" fmla="*/ 454628 h 2729083"/>
              <a:gd name="connsiteX4" fmla="*/ 3245019 w 5992748"/>
              <a:gd name="connsiteY4" fmla="*/ 335898 h 2729083"/>
              <a:gd name="connsiteX5" fmla="*/ 3892299 w 5992748"/>
              <a:gd name="connsiteY5" fmla="*/ 127065 h 2729083"/>
              <a:gd name="connsiteX6" fmla="*/ 4546513 w 5992748"/>
              <a:gd name="connsiteY6" fmla="*/ 151610 h 2729083"/>
              <a:gd name="connsiteX7" fmla="*/ 5239537 w 5992748"/>
              <a:gd name="connsiteY7" fmla="*/ 718971 h 2729083"/>
              <a:gd name="connsiteX8" fmla="*/ 5520828 w 5992748"/>
              <a:gd name="connsiteY8" fmla="*/ 809278 h 2729083"/>
              <a:gd name="connsiteX9" fmla="*/ 5992748 w 5992748"/>
              <a:gd name="connsiteY9" fmla="*/ 971048 h 2729083"/>
              <a:gd name="connsiteX10" fmla="*/ 5857246 w 5992748"/>
              <a:gd name="connsiteY10" fmla="*/ 2729082 h 2729083"/>
              <a:gd name="connsiteX11" fmla="*/ 3920386 w 5992748"/>
              <a:gd name="connsiteY11" fmla="*/ 2099532 h 2729083"/>
              <a:gd name="connsiteX12" fmla="*/ 3020593 w 5992748"/>
              <a:gd name="connsiteY12" fmla="*/ 1525014 h 2729083"/>
              <a:gd name="connsiteX13" fmla="*/ 2213231 w 5992748"/>
              <a:gd name="connsiteY13" fmla="*/ 1541982 h 2729083"/>
              <a:gd name="connsiteX14" fmla="*/ 1047850 w 5992748"/>
              <a:gd name="connsiteY14" fmla="*/ 1816018 h 2729083"/>
              <a:gd name="connsiteX15" fmla="*/ 777635 w 5992748"/>
              <a:gd name="connsiteY15" fmla="*/ 2309758 h 2729083"/>
              <a:gd name="connsiteX16" fmla="*/ 309606 w 5992748"/>
              <a:gd name="connsiteY16" fmla="*/ 2458595 h 2729083"/>
              <a:gd name="connsiteX17" fmla="*/ 9178 w 5992748"/>
              <a:gd name="connsiteY17" fmla="*/ 2653879 h 2729083"/>
              <a:gd name="connsiteX0" fmla="*/ 9178 w 5992748"/>
              <a:gd name="connsiteY0" fmla="*/ 2653879 h 2729083"/>
              <a:gd name="connsiteX1" fmla="*/ 586556 w 5992748"/>
              <a:gd name="connsiteY1" fmla="*/ 1844744 h 2729083"/>
              <a:gd name="connsiteX2" fmla="*/ 1393693 w 5992748"/>
              <a:gd name="connsiteY2" fmla="*/ 968936 h 2729083"/>
              <a:gd name="connsiteX3" fmla="*/ 2082907 w 5992748"/>
              <a:gd name="connsiteY3" fmla="*/ 454628 h 2729083"/>
              <a:gd name="connsiteX4" fmla="*/ 3245019 w 5992748"/>
              <a:gd name="connsiteY4" fmla="*/ 335898 h 2729083"/>
              <a:gd name="connsiteX5" fmla="*/ 3892299 w 5992748"/>
              <a:gd name="connsiteY5" fmla="*/ 127065 h 2729083"/>
              <a:gd name="connsiteX6" fmla="*/ 4546513 w 5992748"/>
              <a:gd name="connsiteY6" fmla="*/ 151610 h 2729083"/>
              <a:gd name="connsiteX7" fmla="*/ 5239537 w 5992748"/>
              <a:gd name="connsiteY7" fmla="*/ 718971 h 2729083"/>
              <a:gd name="connsiteX8" fmla="*/ 5520828 w 5992748"/>
              <a:gd name="connsiteY8" fmla="*/ 809278 h 2729083"/>
              <a:gd name="connsiteX9" fmla="*/ 5992748 w 5992748"/>
              <a:gd name="connsiteY9" fmla="*/ 971048 h 2729083"/>
              <a:gd name="connsiteX10" fmla="*/ 5857246 w 5992748"/>
              <a:gd name="connsiteY10" fmla="*/ 2729082 h 2729083"/>
              <a:gd name="connsiteX11" fmla="*/ 3920386 w 5992748"/>
              <a:gd name="connsiteY11" fmla="*/ 2099532 h 2729083"/>
              <a:gd name="connsiteX12" fmla="*/ 3020593 w 5992748"/>
              <a:gd name="connsiteY12" fmla="*/ 1525014 h 2729083"/>
              <a:gd name="connsiteX13" fmla="*/ 2213231 w 5992748"/>
              <a:gd name="connsiteY13" fmla="*/ 1541982 h 2729083"/>
              <a:gd name="connsiteX14" fmla="*/ 1047850 w 5992748"/>
              <a:gd name="connsiteY14" fmla="*/ 1816018 h 2729083"/>
              <a:gd name="connsiteX15" fmla="*/ 777635 w 5992748"/>
              <a:gd name="connsiteY15" fmla="*/ 2309758 h 2729083"/>
              <a:gd name="connsiteX16" fmla="*/ 309606 w 5992748"/>
              <a:gd name="connsiteY16" fmla="*/ 2458595 h 2729083"/>
              <a:gd name="connsiteX17" fmla="*/ 9178 w 5992748"/>
              <a:gd name="connsiteY17" fmla="*/ 2653879 h 2729083"/>
              <a:gd name="connsiteX0" fmla="*/ 9178 w 5992748"/>
              <a:gd name="connsiteY0" fmla="*/ 2653879 h 2729083"/>
              <a:gd name="connsiteX1" fmla="*/ 586556 w 5992748"/>
              <a:gd name="connsiteY1" fmla="*/ 1844744 h 2729083"/>
              <a:gd name="connsiteX2" fmla="*/ 1393693 w 5992748"/>
              <a:gd name="connsiteY2" fmla="*/ 968936 h 2729083"/>
              <a:gd name="connsiteX3" fmla="*/ 2082907 w 5992748"/>
              <a:gd name="connsiteY3" fmla="*/ 454628 h 2729083"/>
              <a:gd name="connsiteX4" fmla="*/ 3245019 w 5992748"/>
              <a:gd name="connsiteY4" fmla="*/ 335898 h 2729083"/>
              <a:gd name="connsiteX5" fmla="*/ 3892299 w 5992748"/>
              <a:gd name="connsiteY5" fmla="*/ 127065 h 2729083"/>
              <a:gd name="connsiteX6" fmla="*/ 4546513 w 5992748"/>
              <a:gd name="connsiteY6" fmla="*/ 151610 h 2729083"/>
              <a:gd name="connsiteX7" fmla="*/ 5240534 w 5992748"/>
              <a:gd name="connsiteY7" fmla="*/ 458479 h 2729083"/>
              <a:gd name="connsiteX8" fmla="*/ 5520828 w 5992748"/>
              <a:gd name="connsiteY8" fmla="*/ 809278 h 2729083"/>
              <a:gd name="connsiteX9" fmla="*/ 5992748 w 5992748"/>
              <a:gd name="connsiteY9" fmla="*/ 971048 h 2729083"/>
              <a:gd name="connsiteX10" fmla="*/ 5857246 w 5992748"/>
              <a:gd name="connsiteY10" fmla="*/ 2729082 h 2729083"/>
              <a:gd name="connsiteX11" fmla="*/ 3920386 w 5992748"/>
              <a:gd name="connsiteY11" fmla="*/ 2099532 h 2729083"/>
              <a:gd name="connsiteX12" fmla="*/ 3020593 w 5992748"/>
              <a:gd name="connsiteY12" fmla="*/ 1525014 h 2729083"/>
              <a:gd name="connsiteX13" fmla="*/ 2213231 w 5992748"/>
              <a:gd name="connsiteY13" fmla="*/ 1541982 h 2729083"/>
              <a:gd name="connsiteX14" fmla="*/ 1047850 w 5992748"/>
              <a:gd name="connsiteY14" fmla="*/ 1816018 h 2729083"/>
              <a:gd name="connsiteX15" fmla="*/ 777635 w 5992748"/>
              <a:gd name="connsiteY15" fmla="*/ 2309758 h 2729083"/>
              <a:gd name="connsiteX16" fmla="*/ 309606 w 5992748"/>
              <a:gd name="connsiteY16" fmla="*/ 2458595 h 2729083"/>
              <a:gd name="connsiteX17" fmla="*/ 9178 w 5992748"/>
              <a:gd name="connsiteY17" fmla="*/ 2653879 h 2729083"/>
              <a:gd name="connsiteX0" fmla="*/ 9178 w 5992748"/>
              <a:gd name="connsiteY0" fmla="*/ 2653879 h 2729083"/>
              <a:gd name="connsiteX1" fmla="*/ 586556 w 5992748"/>
              <a:gd name="connsiteY1" fmla="*/ 1844744 h 2729083"/>
              <a:gd name="connsiteX2" fmla="*/ 1393693 w 5992748"/>
              <a:gd name="connsiteY2" fmla="*/ 968936 h 2729083"/>
              <a:gd name="connsiteX3" fmla="*/ 2082907 w 5992748"/>
              <a:gd name="connsiteY3" fmla="*/ 454628 h 2729083"/>
              <a:gd name="connsiteX4" fmla="*/ 3245019 w 5992748"/>
              <a:gd name="connsiteY4" fmla="*/ 335898 h 2729083"/>
              <a:gd name="connsiteX5" fmla="*/ 3892299 w 5992748"/>
              <a:gd name="connsiteY5" fmla="*/ 127065 h 2729083"/>
              <a:gd name="connsiteX6" fmla="*/ 4546513 w 5992748"/>
              <a:gd name="connsiteY6" fmla="*/ 151610 h 2729083"/>
              <a:gd name="connsiteX7" fmla="*/ 5240534 w 5992748"/>
              <a:gd name="connsiteY7" fmla="*/ 458479 h 2729083"/>
              <a:gd name="connsiteX8" fmla="*/ 5520828 w 5992748"/>
              <a:gd name="connsiteY8" fmla="*/ 809278 h 2729083"/>
              <a:gd name="connsiteX9" fmla="*/ 5992748 w 5992748"/>
              <a:gd name="connsiteY9" fmla="*/ 971048 h 2729083"/>
              <a:gd name="connsiteX10" fmla="*/ 5857246 w 5992748"/>
              <a:gd name="connsiteY10" fmla="*/ 2729082 h 2729083"/>
              <a:gd name="connsiteX11" fmla="*/ 3920386 w 5992748"/>
              <a:gd name="connsiteY11" fmla="*/ 2099532 h 2729083"/>
              <a:gd name="connsiteX12" fmla="*/ 3020593 w 5992748"/>
              <a:gd name="connsiteY12" fmla="*/ 1525014 h 2729083"/>
              <a:gd name="connsiteX13" fmla="*/ 2213231 w 5992748"/>
              <a:gd name="connsiteY13" fmla="*/ 1541982 h 2729083"/>
              <a:gd name="connsiteX14" fmla="*/ 1047850 w 5992748"/>
              <a:gd name="connsiteY14" fmla="*/ 1816018 h 2729083"/>
              <a:gd name="connsiteX15" fmla="*/ 777635 w 5992748"/>
              <a:gd name="connsiteY15" fmla="*/ 2309758 h 2729083"/>
              <a:gd name="connsiteX16" fmla="*/ 309606 w 5992748"/>
              <a:gd name="connsiteY16" fmla="*/ 2458595 h 2729083"/>
              <a:gd name="connsiteX17" fmla="*/ 9178 w 5992748"/>
              <a:gd name="connsiteY17" fmla="*/ 2653879 h 2729083"/>
              <a:gd name="connsiteX0" fmla="*/ 9178 w 5992748"/>
              <a:gd name="connsiteY0" fmla="*/ 2653879 h 2729083"/>
              <a:gd name="connsiteX1" fmla="*/ 586556 w 5992748"/>
              <a:gd name="connsiteY1" fmla="*/ 1844744 h 2729083"/>
              <a:gd name="connsiteX2" fmla="*/ 1393693 w 5992748"/>
              <a:gd name="connsiteY2" fmla="*/ 968936 h 2729083"/>
              <a:gd name="connsiteX3" fmla="*/ 2082907 w 5992748"/>
              <a:gd name="connsiteY3" fmla="*/ 454628 h 2729083"/>
              <a:gd name="connsiteX4" fmla="*/ 3245019 w 5992748"/>
              <a:gd name="connsiteY4" fmla="*/ 335898 h 2729083"/>
              <a:gd name="connsiteX5" fmla="*/ 3892299 w 5992748"/>
              <a:gd name="connsiteY5" fmla="*/ 127065 h 2729083"/>
              <a:gd name="connsiteX6" fmla="*/ 4546513 w 5992748"/>
              <a:gd name="connsiteY6" fmla="*/ 151610 h 2729083"/>
              <a:gd name="connsiteX7" fmla="*/ 5240534 w 5992748"/>
              <a:gd name="connsiteY7" fmla="*/ 458479 h 2729083"/>
              <a:gd name="connsiteX8" fmla="*/ 5520828 w 5992748"/>
              <a:gd name="connsiteY8" fmla="*/ 809278 h 2729083"/>
              <a:gd name="connsiteX9" fmla="*/ 5992748 w 5992748"/>
              <a:gd name="connsiteY9" fmla="*/ 971048 h 2729083"/>
              <a:gd name="connsiteX10" fmla="*/ 5857246 w 5992748"/>
              <a:gd name="connsiteY10" fmla="*/ 2729082 h 2729083"/>
              <a:gd name="connsiteX11" fmla="*/ 3920386 w 5992748"/>
              <a:gd name="connsiteY11" fmla="*/ 2099532 h 2729083"/>
              <a:gd name="connsiteX12" fmla="*/ 3020593 w 5992748"/>
              <a:gd name="connsiteY12" fmla="*/ 1525014 h 2729083"/>
              <a:gd name="connsiteX13" fmla="*/ 2213231 w 5992748"/>
              <a:gd name="connsiteY13" fmla="*/ 1541982 h 2729083"/>
              <a:gd name="connsiteX14" fmla="*/ 1047850 w 5992748"/>
              <a:gd name="connsiteY14" fmla="*/ 1816018 h 2729083"/>
              <a:gd name="connsiteX15" fmla="*/ 777635 w 5992748"/>
              <a:gd name="connsiteY15" fmla="*/ 2309758 h 2729083"/>
              <a:gd name="connsiteX16" fmla="*/ 309606 w 5992748"/>
              <a:gd name="connsiteY16" fmla="*/ 2458595 h 2729083"/>
              <a:gd name="connsiteX17" fmla="*/ 9178 w 5992748"/>
              <a:gd name="connsiteY17" fmla="*/ 2653879 h 2729083"/>
              <a:gd name="connsiteX0" fmla="*/ 9178 w 5992748"/>
              <a:gd name="connsiteY0" fmla="*/ 2653879 h 2729083"/>
              <a:gd name="connsiteX1" fmla="*/ 586556 w 5992748"/>
              <a:gd name="connsiteY1" fmla="*/ 1844744 h 2729083"/>
              <a:gd name="connsiteX2" fmla="*/ 1393693 w 5992748"/>
              <a:gd name="connsiteY2" fmla="*/ 968936 h 2729083"/>
              <a:gd name="connsiteX3" fmla="*/ 2082907 w 5992748"/>
              <a:gd name="connsiteY3" fmla="*/ 454628 h 2729083"/>
              <a:gd name="connsiteX4" fmla="*/ 3245019 w 5992748"/>
              <a:gd name="connsiteY4" fmla="*/ 335898 h 2729083"/>
              <a:gd name="connsiteX5" fmla="*/ 3892299 w 5992748"/>
              <a:gd name="connsiteY5" fmla="*/ 127065 h 2729083"/>
              <a:gd name="connsiteX6" fmla="*/ 4546513 w 5992748"/>
              <a:gd name="connsiteY6" fmla="*/ 151610 h 2729083"/>
              <a:gd name="connsiteX7" fmla="*/ 5240534 w 5992748"/>
              <a:gd name="connsiteY7" fmla="*/ 458479 h 2729083"/>
              <a:gd name="connsiteX8" fmla="*/ 5520828 w 5992748"/>
              <a:gd name="connsiteY8" fmla="*/ 809278 h 2729083"/>
              <a:gd name="connsiteX9" fmla="*/ 5992748 w 5992748"/>
              <a:gd name="connsiteY9" fmla="*/ 971048 h 2729083"/>
              <a:gd name="connsiteX10" fmla="*/ 5857246 w 5992748"/>
              <a:gd name="connsiteY10" fmla="*/ 2729082 h 2729083"/>
              <a:gd name="connsiteX11" fmla="*/ 3920386 w 5992748"/>
              <a:gd name="connsiteY11" fmla="*/ 2099532 h 2729083"/>
              <a:gd name="connsiteX12" fmla="*/ 3020593 w 5992748"/>
              <a:gd name="connsiteY12" fmla="*/ 1525014 h 2729083"/>
              <a:gd name="connsiteX13" fmla="*/ 2213231 w 5992748"/>
              <a:gd name="connsiteY13" fmla="*/ 1541982 h 2729083"/>
              <a:gd name="connsiteX14" fmla="*/ 1047850 w 5992748"/>
              <a:gd name="connsiteY14" fmla="*/ 1816018 h 2729083"/>
              <a:gd name="connsiteX15" fmla="*/ 777635 w 5992748"/>
              <a:gd name="connsiteY15" fmla="*/ 2309758 h 2729083"/>
              <a:gd name="connsiteX16" fmla="*/ 309606 w 5992748"/>
              <a:gd name="connsiteY16" fmla="*/ 2458595 h 2729083"/>
              <a:gd name="connsiteX17" fmla="*/ 9178 w 5992748"/>
              <a:gd name="connsiteY17" fmla="*/ 2653879 h 272908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47835 w 5992748"/>
              <a:gd name="connsiteY10" fmla="*/ 2628007 h 2689093"/>
              <a:gd name="connsiteX11" fmla="*/ 3920386 w 5992748"/>
              <a:gd name="connsiteY11" fmla="*/ 2099532 h 2689093"/>
              <a:gd name="connsiteX12" fmla="*/ 3020593 w 5992748"/>
              <a:gd name="connsiteY12" fmla="*/ 1525014 h 2689093"/>
              <a:gd name="connsiteX13" fmla="*/ 2213231 w 5992748"/>
              <a:gd name="connsiteY13" fmla="*/ 1541982 h 2689093"/>
              <a:gd name="connsiteX14" fmla="*/ 1047850 w 5992748"/>
              <a:gd name="connsiteY14" fmla="*/ 1816018 h 2689093"/>
              <a:gd name="connsiteX15" fmla="*/ 777635 w 5992748"/>
              <a:gd name="connsiteY15" fmla="*/ 2309758 h 2689093"/>
              <a:gd name="connsiteX16" fmla="*/ 309606 w 5992748"/>
              <a:gd name="connsiteY16" fmla="*/ 2458595 h 2689093"/>
              <a:gd name="connsiteX17" fmla="*/ 9178 w 5992748"/>
              <a:gd name="connsiteY17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3920386 w 5992748"/>
              <a:gd name="connsiteY11" fmla="*/ 2099532 h 2689093"/>
              <a:gd name="connsiteX12" fmla="*/ 3020593 w 5992748"/>
              <a:gd name="connsiteY12" fmla="*/ 1525014 h 2689093"/>
              <a:gd name="connsiteX13" fmla="*/ 2213231 w 5992748"/>
              <a:gd name="connsiteY13" fmla="*/ 1541982 h 2689093"/>
              <a:gd name="connsiteX14" fmla="*/ 1047850 w 5992748"/>
              <a:gd name="connsiteY14" fmla="*/ 1816018 h 2689093"/>
              <a:gd name="connsiteX15" fmla="*/ 777635 w 5992748"/>
              <a:gd name="connsiteY15" fmla="*/ 2309758 h 2689093"/>
              <a:gd name="connsiteX16" fmla="*/ 309606 w 5992748"/>
              <a:gd name="connsiteY16" fmla="*/ 2458595 h 2689093"/>
              <a:gd name="connsiteX17" fmla="*/ 9178 w 5992748"/>
              <a:gd name="connsiteY17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3920386 w 5992748"/>
              <a:gd name="connsiteY11" fmla="*/ 2099532 h 2689093"/>
              <a:gd name="connsiteX12" fmla="*/ 3020593 w 5992748"/>
              <a:gd name="connsiteY12" fmla="*/ 1525014 h 2689093"/>
              <a:gd name="connsiteX13" fmla="*/ 2213231 w 5992748"/>
              <a:gd name="connsiteY13" fmla="*/ 1541982 h 2689093"/>
              <a:gd name="connsiteX14" fmla="*/ 1047850 w 5992748"/>
              <a:gd name="connsiteY14" fmla="*/ 1816018 h 2689093"/>
              <a:gd name="connsiteX15" fmla="*/ 777635 w 5992748"/>
              <a:gd name="connsiteY15" fmla="*/ 2309758 h 2689093"/>
              <a:gd name="connsiteX16" fmla="*/ 309606 w 5992748"/>
              <a:gd name="connsiteY16" fmla="*/ 2458595 h 2689093"/>
              <a:gd name="connsiteX17" fmla="*/ 9178 w 5992748"/>
              <a:gd name="connsiteY17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34809 w 5992748"/>
              <a:gd name="connsiteY11" fmla="*/ 2195540 h 2689093"/>
              <a:gd name="connsiteX12" fmla="*/ 3920386 w 5992748"/>
              <a:gd name="connsiteY12" fmla="*/ 2099532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047850 w 5992748"/>
              <a:gd name="connsiteY15" fmla="*/ 1816018 h 2689093"/>
              <a:gd name="connsiteX16" fmla="*/ 777635 w 5992748"/>
              <a:gd name="connsiteY16" fmla="*/ 2309758 h 2689093"/>
              <a:gd name="connsiteX17" fmla="*/ 309606 w 5992748"/>
              <a:gd name="connsiteY17" fmla="*/ 2458595 h 2689093"/>
              <a:gd name="connsiteX18" fmla="*/ 9178 w 5992748"/>
              <a:gd name="connsiteY18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920386 w 5992748"/>
              <a:gd name="connsiteY12" fmla="*/ 2099532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047850 w 5992748"/>
              <a:gd name="connsiteY15" fmla="*/ 1816018 h 2689093"/>
              <a:gd name="connsiteX16" fmla="*/ 777635 w 5992748"/>
              <a:gd name="connsiteY16" fmla="*/ 2309758 h 2689093"/>
              <a:gd name="connsiteX17" fmla="*/ 309606 w 5992748"/>
              <a:gd name="connsiteY17" fmla="*/ 2458595 h 2689093"/>
              <a:gd name="connsiteX18" fmla="*/ 9178 w 5992748"/>
              <a:gd name="connsiteY18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920386 w 5992748"/>
              <a:gd name="connsiteY12" fmla="*/ 2099532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047850 w 5992748"/>
              <a:gd name="connsiteY15" fmla="*/ 1816018 h 2689093"/>
              <a:gd name="connsiteX16" fmla="*/ 777635 w 5992748"/>
              <a:gd name="connsiteY16" fmla="*/ 2309758 h 2689093"/>
              <a:gd name="connsiteX17" fmla="*/ 309606 w 5992748"/>
              <a:gd name="connsiteY17" fmla="*/ 2458595 h 2689093"/>
              <a:gd name="connsiteX18" fmla="*/ 9178 w 5992748"/>
              <a:gd name="connsiteY18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920386 w 5992748"/>
              <a:gd name="connsiteY12" fmla="*/ 2099532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047850 w 5992748"/>
              <a:gd name="connsiteY15" fmla="*/ 1816018 h 2689093"/>
              <a:gd name="connsiteX16" fmla="*/ 777635 w 5992748"/>
              <a:gd name="connsiteY16" fmla="*/ 2309758 h 2689093"/>
              <a:gd name="connsiteX17" fmla="*/ 309606 w 5992748"/>
              <a:gd name="connsiteY17" fmla="*/ 2458595 h 2689093"/>
              <a:gd name="connsiteX18" fmla="*/ 9178 w 5992748"/>
              <a:gd name="connsiteY18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920386 w 5992748"/>
              <a:gd name="connsiteY12" fmla="*/ 2099532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047850 w 5992748"/>
              <a:gd name="connsiteY15" fmla="*/ 1816018 h 2689093"/>
              <a:gd name="connsiteX16" fmla="*/ 777635 w 5992748"/>
              <a:gd name="connsiteY16" fmla="*/ 2309758 h 2689093"/>
              <a:gd name="connsiteX17" fmla="*/ 309606 w 5992748"/>
              <a:gd name="connsiteY17" fmla="*/ 2458595 h 2689093"/>
              <a:gd name="connsiteX18" fmla="*/ 9178 w 5992748"/>
              <a:gd name="connsiteY18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902602 w 5992748"/>
              <a:gd name="connsiteY12" fmla="*/ 1859202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047850 w 5992748"/>
              <a:gd name="connsiteY15" fmla="*/ 1816018 h 2689093"/>
              <a:gd name="connsiteX16" fmla="*/ 777635 w 5992748"/>
              <a:gd name="connsiteY16" fmla="*/ 2309758 h 2689093"/>
              <a:gd name="connsiteX17" fmla="*/ 309606 w 5992748"/>
              <a:gd name="connsiteY17" fmla="*/ 2458595 h 2689093"/>
              <a:gd name="connsiteX18" fmla="*/ 9178 w 5992748"/>
              <a:gd name="connsiteY18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895540 w 5992748"/>
              <a:gd name="connsiteY12" fmla="*/ 1975313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047850 w 5992748"/>
              <a:gd name="connsiteY15" fmla="*/ 1816018 h 2689093"/>
              <a:gd name="connsiteX16" fmla="*/ 777635 w 5992748"/>
              <a:gd name="connsiteY16" fmla="*/ 2309758 h 2689093"/>
              <a:gd name="connsiteX17" fmla="*/ 309606 w 5992748"/>
              <a:gd name="connsiteY17" fmla="*/ 2458595 h 2689093"/>
              <a:gd name="connsiteX18" fmla="*/ 9178 w 5992748"/>
              <a:gd name="connsiteY18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895540 w 5992748"/>
              <a:gd name="connsiteY12" fmla="*/ 1975313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047850 w 5992748"/>
              <a:gd name="connsiteY15" fmla="*/ 1816018 h 2689093"/>
              <a:gd name="connsiteX16" fmla="*/ 777635 w 5992748"/>
              <a:gd name="connsiteY16" fmla="*/ 2309758 h 2689093"/>
              <a:gd name="connsiteX17" fmla="*/ 309606 w 5992748"/>
              <a:gd name="connsiteY17" fmla="*/ 2458595 h 2689093"/>
              <a:gd name="connsiteX18" fmla="*/ 9178 w 5992748"/>
              <a:gd name="connsiteY18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895540 w 5992748"/>
              <a:gd name="connsiteY12" fmla="*/ 1975313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047850 w 5992748"/>
              <a:gd name="connsiteY15" fmla="*/ 1816018 h 2689093"/>
              <a:gd name="connsiteX16" fmla="*/ 777635 w 5992748"/>
              <a:gd name="connsiteY16" fmla="*/ 2309758 h 2689093"/>
              <a:gd name="connsiteX17" fmla="*/ 309606 w 5992748"/>
              <a:gd name="connsiteY17" fmla="*/ 2458595 h 2689093"/>
              <a:gd name="connsiteX18" fmla="*/ 9178 w 5992748"/>
              <a:gd name="connsiteY18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895540 w 5992748"/>
              <a:gd name="connsiteY12" fmla="*/ 1975313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047850 w 5992748"/>
              <a:gd name="connsiteY15" fmla="*/ 1816018 h 2689093"/>
              <a:gd name="connsiteX16" fmla="*/ 777635 w 5992748"/>
              <a:gd name="connsiteY16" fmla="*/ 2309758 h 2689093"/>
              <a:gd name="connsiteX17" fmla="*/ 309606 w 5992748"/>
              <a:gd name="connsiteY17" fmla="*/ 2458595 h 2689093"/>
              <a:gd name="connsiteX18" fmla="*/ 9178 w 5992748"/>
              <a:gd name="connsiteY18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895540 w 5992748"/>
              <a:gd name="connsiteY12" fmla="*/ 1975313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047850 w 5992748"/>
              <a:gd name="connsiteY15" fmla="*/ 1816018 h 2689093"/>
              <a:gd name="connsiteX16" fmla="*/ 777635 w 5992748"/>
              <a:gd name="connsiteY16" fmla="*/ 2309758 h 2689093"/>
              <a:gd name="connsiteX17" fmla="*/ 309606 w 5992748"/>
              <a:gd name="connsiteY17" fmla="*/ 2458595 h 2689093"/>
              <a:gd name="connsiteX18" fmla="*/ 9178 w 5992748"/>
              <a:gd name="connsiteY18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895540 w 5992748"/>
              <a:gd name="connsiteY12" fmla="*/ 1975313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709125 w 5992748"/>
              <a:gd name="connsiteY15" fmla="*/ 1700286 h 2689093"/>
              <a:gd name="connsiteX16" fmla="*/ 1047850 w 5992748"/>
              <a:gd name="connsiteY16" fmla="*/ 1816018 h 2689093"/>
              <a:gd name="connsiteX17" fmla="*/ 777635 w 5992748"/>
              <a:gd name="connsiteY17" fmla="*/ 2309758 h 2689093"/>
              <a:gd name="connsiteX18" fmla="*/ 309606 w 5992748"/>
              <a:gd name="connsiteY18" fmla="*/ 2458595 h 2689093"/>
              <a:gd name="connsiteX19" fmla="*/ 9178 w 5992748"/>
              <a:gd name="connsiteY19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895540 w 5992748"/>
              <a:gd name="connsiteY12" fmla="*/ 1975313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703298 w 5992748"/>
              <a:gd name="connsiteY15" fmla="*/ 1627130 h 2689093"/>
              <a:gd name="connsiteX16" fmla="*/ 1047850 w 5992748"/>
              <a:gd name="connsiteY16" fmla="*/ 1816018 h 2689093"/>
              <a:gd name="connsiteX17" fmla="*/ 777635 w 5992748"/>
              <a:gd name="connsiteY17" fmla="*/ 2309758 h 2689093"/>
              <a:gd name="connsiteX18" fmla="*/ 309606 w 5992748"/>
              <a:gd name="connsiteY18" fmla="*/ 2458595 h 2689093"/>
              <a:gd name="connsiteX19" fmla="*/ 9178 w 5992748"/>
              <a:gd name="connsiteY19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895540 w 5992748"/>
              <a:gd name="connsiteY12" fmla="*/ 1975313 h 2689093"/>
              <a:gd name="connsiteX13" fmla="*/ 3020593 w 5992748"/>
              <a:gd name="connsiteY13" fmla="*/ 1525014 h 2689093"/>
              <a:gd name="connsiteX14" fmla="*/ 2213231 w 5992748"/>
              <a:gd name="connsiteY14" fmla="*/ 1541982 h 2689093"/>
              <a:gd name="connsiteX15" fmla="*/ 1703298 w 5992748"/>
              <a:gd name="connsiteY15" fmla="*/ 1627130 h 2689093"/>
              <a:gd name="connsiteX16" fmla="*/ 1047850 w 5992748"/>
              <a:gd name="connsiteY16" fmla="*/ 1816018 h 2689093"/>
              <a:gd name="connsiteX17" fmla="*/ 777635 w 5992748"/>
              <a:gd name="connsiteY17" fmla="*/ 2309758 h 2689093"/>
              <a:gd name="connsiteX18" fmla="*/ 309606 w 5992748"/>
              <a:gd name="connsiteY18" fmla="*/ 2458595 h 2689093"/>
              <a:gd name="connsiteX19" fmla="*/ 9178 w 5992748"/>
              <a:gd name="connsiteY19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895540 w 5992748"/>
              <a:gd name="connsiteY12" fmla="*/ 1975313 h 2689093"/>
              <a:gd name="connsiteX13" fmla="*/ 3003884 w 5992748"/>
              <a:gd name="connsiteY13" fmla="*/ 1468830 h 2689093"/>
              <a:gd name="connsiteX14" fmla="*/ 2213231 w 5992748"/>
              <a:gd name="connsiteY14" fmla="*/ 1541982 h 2689093"/>
              <a:gd name="connsiteX15" fmla="*/ 1703298 w 5992748"/>
              <a:gd name="connsiteY15" fmla="*/ 1627130 h 2689093"/>
              <a:gd name="connsiteX16" fmla="*/ 1047850 w 5992748"/>
              <a:gd name="connsiteY16" fmla="*/ 1816018 h 2689093"/>
              <a:gd name="connsiteX17" fmla="*/ 777635 w 5992748"/>
              <a:gd name="connsiteY17" fmla="*/ 2309758 h 2689093"/>
              <a:gd name="connsiteX18" fmla="*/ 309606 w 5992748"/>
              <a:gd name="connsiteY18" fmla="*/ 2458595 h 2689093"/>
              <a:gd name="connsiteX19" fmla="*/ 9178 w 5992748"/>
              <a:gd name="connsiteY19" fmla="*/ 2653879 h 2689093"/>
              <a:gd name="connsiteX0" fmla="*/ 9178 w 5992748"/>
              <a:gd name="connsiteY0" fmla="*/ 2653879 h 2689093"/>
              <a:gd name="connsiteX1" fmla="*/ 586556 w 5992748"/>
              <a:gd name="connsiteY1" fmla="*/ 1844744 h 2689093"/>
              <a:gd name="connsiteX2" fmla="*/ 1393693 w 5992748"/>
              <a:gd name="connsiteY2" fmla="*/ 968936 h 2689093"/>
              <a:gd name="connsiteX3" fmla="*/ 2082907 w 5992748"/>
              <a:gd name="connsiteY3" fmla="*/ 454628 h 2689093"/>
              <a:gd name="connsiteX4" fmla="*/ 3245019 w 5992748"/>
              <a:gd name="connsiteY4" fmla="*/ 335898 h 2689093"/>
              <a:gd name="connsiteX5" fmla="*/ 3892299 w 5992748"/>
              <a:gd name="connsiteY5" fmla="*/ 127065 h 2689093"/>
              <a:gd name="connsiteX6" fmla="*/ 4546513 w 5992748"/>
              <a:gd name="connsiteY6" fmla="*/ 151610 h 2689093"/>
              <a:gd name="connsiteX7" fmla="*/ 5240534 w 5992748"/>
              <a:gd name="connsiteY7" fmla="*/ 458479 h 2689093"/>
              <a:gd name="connsiteX8" fmla="*/ 5520828 w 5992748"/>
              <a:gd name="connsiteY8" fmla="*/ 809278 h 2689093"/>
              <a:gd name="connsiteX9" fmla="*/ 5992748 w 5992748"/>
              <a:gd name="connsiteY9" fmla="*/ 971048 h 2689093"/>
              <a:gd name="connsiteX10" fmla="*/ 5874151 w 5992748"/>
              <a:gd name="connsiteY10" fmla="*/ 2634175 h 2689093"/>
              <a:gd name="connsiteX11" fmla="*/ 4743339 w 5992748"/>
              <a:gd name="connsiteY11" fmla="*/ 1961375 h 2689093"/>
              <a:gd name="connsiteX12" fmla="*/ 3895540 w 5992748"/>
              <a:gd name="connsiteY12" fmla="*/ 1975313 h 2689093"/>
              <a:gd name="connsiteX13" fmla="*/ 3003884 w 5992748"/>
              <a:gd name="connsiteY13" fmla="*/ 1468830 h 2689093"/>
              <a:gd name="connsiteX14" fmla="*/ 2213231 w 5992748"/>
              <a:gd name="connsiteY14" fmla="*/ 1541982 h 2689093"/>
              <a:gd name="connsiteX15" fmla="*/ 1703298 w 5992748"/>
              <a:gd name="connsiteY15" fmla="*/ 1627130 h 2689093"/>
              <a:gd name="connsiteX16" fmla="*/ 1047850 w 5992748"/>
              <a:gd name="connsiteY16" fmla="*/ 1816018 h 2689093"/>
              <a:gd name="connsiteX17" fmla="*/ 777635 w 5992748"/>
              <a:gd name="connsiteY17" fmla="*/ 2309758 h 2689093"/>
              <a:gd name="connsiteX18" fmla="*/ 309606 w 5992748"/>
              <a:gd name="connsiteY18" fmla="*/ 2458595 h 2689093"/>
              <a:gd name="connsiteX19" fmla="*/ 9178 w 5992748"/>
              <a:gd name="connsiteY19" fmla="*/ 2653879 h 2689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992748" h="2689093">
                <a:moveTo>
                  <a:pt x="9178" y="2653879"/>
                </a:moveTo>
                <a:cubicBezTo>
                  <a:pt x="246206" y="2275893"/>
                  <a:pt x="342204" y="2293252"/>
                  <a:pt x="586556" y="1844744"/>
                </a:cubicBezTo>
                <a:cubicBezTo>
                  <a:pt x="900422" y="1759074"/>
                  <a:pt x="1194735" y="1327045"/>
                  <a:pt x="1393693" y="968936"/>
                </a:cubicBezTo>
                <a:cubicBezTo>
                  <a:pt x="1641836" y="769916"/>
                  <a:pt x="1942806" y="831974"/>
                  <a:pt x="2082907" y="454628"/>
                </a:cubicBezTo>
                <a:cubicBezTo>
                  <a:pt x="2391461" y="349122"/>
                  <a:pt x="3064487" y="268957"/>
                  <a:pt x="3245019" y="335898"/>
                </a:cubicBezTo>
                <a:cubicBezTo>
                  <a:pt x="3485763" y="-19569"/>
                  <a:pt x="3487386" y="226338"/>
                  <a:pt x="3892299" y="127065"/>
                </a:cubicBezTo>
                <a:cubicBezTo>
                  <a:pt x="3999786" y="430241"/>
                  <a:pt x="4155524" y="-299734"/>
                  <a:pt x="4546513" y="151610"/>
                </a:cubicBezTo>
                <a:cubicBezTo>
                  <a:pt x="4799224" y="232750"/>
                  <a:pt x="5006169" y="462545"/>
                  <a:pt x="5240534" y="458479"/>
                </a:cubicBezTo>
                <a:cubicBezTo>
                  <a:pt x="5379075" y="562629"/>
                  <a:pt x="5377939" y="553994"/>
                  <a:pt x="5520828" y="809278"/>
                </a:cubicBezTo>
                <a:cubicBezTo>
                  <a:pt x="5849453" y="551229"/>
                  <a:pt x="5930115" y="644101"/>
                  <a:pt x="5992748" y="971048"/>
                </a:cubicBezTo>
                <a:lnTo>
                  <a:pt x="5874151" y="2634175"/>
                </a:lnTo>
                <a:cubicBezTo>
                  <a:pt x="5602279" y="2603264"/>
                  <a:pt x="5091072" y="2259704"/>
                  <a:pt x="4743339" y="1961375"/>
                </a:cubicBezTo>
                <a:cubicBezTo>
                  <a:pt x="4417711" y="1872268"/>
                  <a:pt x="4181243" y="2087067"/>
                  <a:pt x="3895540" y="1975313"/>
                </a:cubicBezTo>
                <a:cubicBezTo>
                  <a:pt x="3618989" y="1243217"/>
                  <a:pt x="3221223" y="1871412"/>
                  <a:pt x="3003884" y="1468830"/>
                </a:cubicBezTo>
                <a:cubicBezTo>
                  <a:pt x="2755785" y="1540216"/>
                  <a:pt x="2443620" y="1413619"/>
                  <a:pt x="2213231" y="1541982"/>
                </a:cubicBezTo>
                <a:cubicBezTo>
                  <a:pt x="1982842" y="1670345"/>
                  <a:pt x="1897528" y="1581457"/>
                  <a:pt x="1703298" y="1627130"/>
                </a:cubicBezTo>
                <a:cubicBezTo>
                  <a:pt x="1509068" y="1672803"/>
                  <a:pt x="1203098" y="1714439"/>
                  <a:pt x="1047850" y="1816018"/>
                </a:cubicBezTo>
                <a:cubicBezTo>
                  <a:pt x="981920" y="2136712"/>
                  <a:pt x="885430" y="2050458"/>
                  <a:pt x="777635" y="2309758"/>
                </a:cubicBezTo>
                <a:cubicBezTo>
                  <a:pt x="588781" y="1993054"/>
                  <a:pt x="442763" y="2350680"/>
                  <a:pt x="309606" y="2458595"/>
                </a:cubicBezTo>
                <a:cubicBezTo>
                  <a:pt x="22098" y="2653864"/>
                  <a:pt x="-23752" y="2744343"/>
                  <a:pt x="9178" y="2653879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AOC text">
            <a:extLst>
              <a:ext uri="{FF2B5EF4-FFF2-40B4-BE49-F238E27FC236}">
                <a16:creationId xmlns:a16="http://schemas.microsoft.com/office/drawing/2014/main" id="{F4522E07-DD66-509F-038B-1B637CE64E23}"/>
              </a:ext>
            </a:extLst>
          </p:cNvPr>
          <p:cNvSpPr txBox="1"/>
          <p:nvPr/>
        </p:nvSpPr>
        <p:spPr>
          <a:xfrm>
            <a:off x="925037" y="3729977"/>
            <a:ext cx="312947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AOC =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Residual Mortality/Morbidity</a:t>
            </a:r>
          </a:p>
        </p:txBody>
      </p:sp>
      <p:sp>
        <p:nvSpPr>
          <p:cNvPr id="18" name="citations">
            <a:extLst>
              <a:ext uri="{FF2B5EF4-FFF2-40B4-BE49-F238E27FC236}">
                <a16:creationId xmlns:a16="http://schemas.microsoft.com/office/drawing/2014/main" id="{A8BC5DC7-CA4C-E962-37AB-F1BF30B6C377}"/>
              </a:ext>
            </a:extLst>
          </p:cNvPr>
          <p:cNvSpPr txBox="1">
            <a:spLocks/>
          </p:cNvSpPr>
          <p:nvPr/>
        </p:nvSpPr>
        <p:spPr>
          <a:xfrm>
            <a:off x="242507" y="6283514"/>
            <a:ext cx="6049423" cy="381373"/>
          </a:xfr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5496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98989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98989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98989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98989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9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cMurray, J. J., et al. "PARADIGM-HF." </a:t>
            </a:r>
            <a:r>
              <a:rPr kumimoji="0" lang="da-DK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Engl J Med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371.11 (2014): 993-1004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9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ker M, et al. N Engl J Med 2020;383:1413-1424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723688-5493-A2DD-3F47-E8954A782B0A}"/>
              </a:ext>
            </a:extLst>
          </p:cNvPr>
          <p:cNvSpPr/>
          <p:nvPr/>
        </p:nvSpPr>
        <p:spPr>
          <a:xfrm>
            <a:off x="1128922" y="4758430"/>
            <a:ext cx="5719832" cy="3588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C72E5A-EE69-63AF-A345-BDD42289AE94}"/>
              </a:ext>
            </a:extLst>
          </p:cNvPr>
          <p:cNvSpPr/>
          <p:nvPr/>
        </p:nvSpPr>
        <p:spPr>
          <a:xfrm>
            <a:off x="7132638" y="4980002"/>
            <a:ext cx="4276995" cy="3440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736F6C5E-223F-72A1-970F-0F1AEC03117E}"/>
              </a:ext>
            </a:extLst>
          </p:cNvPr>
          <p:cNvSpPr/>
          <p:nvPr/>
        </p:nvSpPr>
        <p:spPr>
          <a:xfrm rot="20107357" flipH="1">
            <a:off x="527301" y="2882524"/>
            <a:ext cx="6518149" cy="692906"/>
          </a:xfrm>
          <a:custGeom>
            <a:avLst/>
            <a:gdLst>
              <a:gd name="connsiteX0" fmla="*/ 0 w 6321603"/>
              <a:gd name="connsiteY0" fmla="*/ 764931 h 764931"/>
              <a:gd name="connsiteX1" fmla="*/ 0 w 6321603"/>
              <a:gd name="connsiteY1" fmla="*/ 0 h 764931"/>
              <a:gd name="connsiteX2" fmla="*/ 6321603 w 6321603"/>
              <a:gd name="connsiteY2" fmla="*/ 764931 h 764931"/>
              <a:gd name="connsiteX3" fmla="*/ 0 w 6321603"/>
              <a:gd name="connsiteY3" fmla="*/ 764931 h 764931"/>
              <a:gd name="connsiteX0" fmla="*/ 0 w 6382204"/>
              <a:gd name="connsiteY0" fmla="*/ 764931 h 910610"/>
              <a:gd name="connsiteX1" fmla="*/ 0 w 6382204"/>
              <a:gd name="connsiteY1" fmla="*/ 0 h 910610"/>
              <a:gd name="connsiteX2" fmla="*/ 6382204 w 6382204"/>
              <a:gd name="connsiteY2" fmla="*/ 910610 h 910610"/>
              <a:gd name="connsiteX3" fmla="*/ 0 w 6382204"/>
              <a:gd name="connsiteY3" fmla="*/ 764931 h 910610"/>
              <a:gd name="connsiteX0" fmla="*/ 0 w 6382204"/>
              <a:gd name="connsiteY0" fmla="*/ 764931 h 910610"/>
              <a:gd name="connsiteX1" fmla="*/ 0 w 6382204"/>
              <a:gd name="connsiteY1" fmla="*/ 0 h 910610"/>
              <a:gd name="connsiteX2" fmla="*/ 6382204 w 6382204"/>
              <a:gd name="connsiteY2" fmla="*/ 910610 h 910610"/>
              <a:gd name="connsiteX3" fmla="*/ 3661242 w 6382204"/>
              <a:gd name="connsiteY3" fmla="*/ 717515 h 910610"/>
              <a:gd name="connsiteX4" fmla="*/ 0 w 6382204"/>
              <a:gd name="connsiteY4" fmla="*/ 764931 h 910610"/>
              <a:gd name="connsiteX0" fmla="*/ 0 w 6602185"/>
              <a:gd name="connsiteY0" fmla="*/ 764931 h 950320"/>
              <a:gd name="connsiteX1" fmla="*/ 0 w 6602185"/>
              <a:gd name="connsiteY1" fmla="*/ 0 h 950320"/>
              <a:gd name="connsiteX2" fmla="*/ 6382204 w 6602185"/>
              <a:gd name="connsiteY2" fmla="*/ 910610 h 950320"/>
              <a:gd name="connsiteX3" fmla="*/ 5005572 w 6602185"/>
              <a:gd name="connsiteY3" fmla="*/ 768411 h 950320"/>
              <a:gd name="connsiteX4" fmla="*/ 3661242 w 6602185"/>
              <a:gd name="connsiteY4" fmla="*/ 717515 h 950320"/>
              <a:gd name="connsiteX5" fmla="*/ 0 w 6602185"/>
              <a:gd name="connsiteY5" fmla="*/ 764931 h 950320"/>
              <a:gd name="connsiteX0" fmla="*/ 205772 w 6602185"/>
              <a:gd name="connsiteY0" fmla="*/ 1058781 h 1058781"/>
              <a:gd name="connsiteX1" fmla="*/ 0 w 6602185"/>
              <a:gd name="connsiteY1" fmla="*/ 0 h 1058781"/>
              <a:gd name="connsiteX2" fmla="*/ 6382204 w 6602185"/>
              <a:gd name="connsiteY2" fmla="*/ 910610 h 1058781"/>
              <a:gd name="connsiteX3" fmla="*/ 5005572 w 6602185"/>
              <a:gd name="connsiteY3" fmla="*/ 768411 h 1058781"/>
              <a:gd name="connsiteX4" fmla="*/ 3661242 w 6602185"/>
              <a:gd name="connsiteY4" fmla="*/ 717515 h 1058781"/>
              <a:gd name="connsiteX5" fmla="*/ 205772 w 6602185"/>
              <a:gd name="connsiteY5" fmla="*/ 1058781 h 1058781"/>
              <a:gd name="connsiteX0" fmla="*/ 205772 w 6602185"/>
              <a:gd name="connsiteY0" fmla="*/ 1058781 h 1058781"/>
              <a:gd name="connsiteX1" fmla="*/ 0 w 6602185"/>
              <a:gd name="connsiteY1" fmla="*/ 0 h 1058781"/>
              <a:gd name="connsiteX2" fmla="*/ 4551973 w 6602185"/>
              <a:gd name="connsiteY2" fmla="*/ 554724 h 1058781"/>
              <a:gd name="connsiteX3" fmla="*/ 6382204 w 6602185"/>
              <a:gd name="connsiteY3" fmla="*/ 910610 h 1058781"/>
              <a:gd name="connsiteX4" fmla="*/ 5005572 w 6602185"/>
              <a:gd name="connsiteY4" fmla="*/ 768411 h 1058781"/>
              <a:gd name="connsiteX5" fmla="*/ 3661242 w 6602185"/>
              <a:gd name="connsiteY5" fmla="*/ 717515 h 1058781"/>
              <a:gd name="connsiteX6" fmla="*/ 205772 w 6602185"/>
              <a:gd name="connsiteY6" fmla="*/ 1058781 h 1058781"/>
              <a:gd name="connsiteX0" fmla="*/ 205772 w 6602185"/>
              <a:gd name="connsiteY0" fmla="*/ 1058781 h 1058781"/>
              <a:gd name="connsiteX1" fmla="*/ 0 w 6602185"/>
              <a:gd name="connsiteY1" fmla="*/ 0 h 1058781"/>
              <a:gd name="connsiteX2" fmla="*/ 4551973 w 6602185"/>
              <a:gd name="connsiteY2" fmla="*/ 554724 h 1058781"/>
              <a:gd name="connsiteX3" fmla="*/ 5895057 w 6602185"/>
              <a:gd name="connsiteY3" fmla="*/ 647904 h 1058781"/>
              <a:gd name="connsiteX4" fmla="*/ 6382204 w 6602185"/>
              <a:gd name="connsiteY4" fmla="*/ 910610 h 1058781"/>
              <a:gd name="connsiteX5" fmla="*/ 5005572 w 6602185"/>
              <a:gd name="connsiteY5" fmla="*/ 768411 h 1058781"/>
              <a:gd name="connsiteX6" fmla="*/ 3661242 w 6602185"/>
              <a:gd name="connsiteY6" fmla="*/ 717515 h 1058781"/>
              <a:gd name="connsiteX7" fmla="*/ 205772 w 6602185"/>
              <a:gd name="connsiteY7" fmla="*/ 1058781 h 1058781"/>
              <a:gd name="connsiteX0" fmla="*/ 205772 w 6602185"/>
              <a:gd name="connsiteY0" fmla="*/ 1058781 h 1058781"/>
              <a:gd name="connsiteX1" fmla="*/ 0 w 6602185"/>
              <a:gd name="connsiteY1" fmla="*/ 0 h 1058781"/>
              <a:gd name="connsiteX2" fmla="*/ 4376790 w 6602185"/>
              <a:gd name="connsiteY2" fmla="*/ 371812 h 1058781"/>
              <a:gd name="connsiteX3" fmla="*/ 5895057 w 6602185"/>
              <a:gd name="connsiteY3" fmla="*/ 647904 h 1058781"/>
              <a:gd name="connsiteX4" fmla="*/ 6382204 w 6602185"/>
              <a:gd name="connsiteY4" fmla="*/ 910610 h 1058781"/>
              <a:gd name="connsiteX5" fmla="*/ 5005572 w 6602185"/>
              <a:gd name="connsiteY5" fmla="*/ 768411 h 1058781"/>
              <a:gd name="connsiteX6" fmla="*/ 3661242 w 6602185"/>
              <a:gd name="connsiteY6" fmla="*/ 717515 h 1058781"/>
              <a:gd name="connsiteX7" fmla="*/ 205772 w 6602185"/>
              <a:gd name="connsiteY7" fmla="*/ 1058781 h 1058781"/>
              <a:gd name="connsiteX0" fmla="*/ 205772 w 6602185"/>
              <a:gd name="connsiteY0" fmla="*/ 1058781 h 1058781"/>
              <a:gd name="connsiteX1" fmla="*/ 0 w 6602185"/>
              <a:gd name="connsiteY1" fmla="*/ 0 h 1058781"/>
              <a:gd name="connsiteX2" fmla="*/ 4376790 w 6602185"/>
              <a:gd name="connsiteY2" fmla="*/ 371812 h 1058781"/>
              <a:gd name="connsiteX3" fmla="*/ 5895057 w 6602185"/>
              <a:gd name="connsiteY3" fmla="*/ 647904 h 1058781"/>
              <a:gd name="connsiteX4" fmla="*/ 6382204 w 6602185"/>
              <a:gd name="connsiteY4" fmla="*/ 910610 h 1058781"/>
              <a:gd name="connsiteX5" fmla="*/ 5005572 w 6602185"/>
              <a:gd name="connsiteY5" fmla="*/ 768411 h 1058781"/>
              <a:gd name="connsiteX6" fmla="*/ 3661242 w 6602185"/>
              <a:gd name="connsiteY6" fmla="*/ 717515 h 1058781"/>
              <a:gd name="connsiteX7" fmla="*/ 205772 w 6602185"/>
              <a:gd name="connsiteY7" fmla="*/ 1058781 h 1058781"/>
              <a:gd name="connsiteX0" fmla="*/ 108056 w 6504469"/>
              <a:gd name="connsiteY0" fmla="*/ 690574 h 690574"/>
              <a:gd name="connsiteX1" fmla="*/ 0 w 6504469"/>
              <a:gd name="connsiteY1" fmla="*/ 337212 h 690574"/>
              <a:gd name="connsiteX2" fmla="*/ 4279074 w 6504469"/>
              <a:gd name="connsiteY2" fmla="*/ 3605 h 690574"/>
              <a:gd name="connsiteX3" fmla="*/ 5797341 w 6504469"/>
              <a:gd name="connsiteY3" fmla="*/ 279697 h 690574"/>
              <a:gd name="connsiteX4" fmla="*/ 6284488 w 6504469"/>
              <a:gd name="connsiteY4" fmla="*/ 542403 h 690574"/>
              <a:gd name="connsiteX5" fmla="*/ 4907856 w 6504469"/>
              <a:gd name="connsiteY5" fmla="*/ 400204 h 690574"/>
              <a:gd name="connsiteX6" fmla="*/ 3563526 w 6504469"/>
              <a:gd name="connsiteY6" fmla="*/ 349308 h 690574"/>
              <a:gd name="connsiteX7" fmla="*/ 108056 w 6504469"/>
              <a:gd name="connsiteY7" fmla="*/ 690574 h 690574"/>
              <a:gd name="connsiteX0" fmla="*/ 108056 w 6504469"/>
              <a:gd name="connsiteY0" fmla="*/ 692665 h 692665"/>
              <a:gd name="connsiteX1" fmla="*/ 0 w 6504469"/>
              <a:gd name="connsiteY1" fmla="*/ 339303 h 692665"/>
              <a:gd name="connsiteX2" fmla="*/ 4279074 w 6504469"/>
              <a:gd name="connsiteY2" fmla="*/ 5696 h 692665"/>
              <a:gd name="connsiteX3" fmla="*/ 5797341 w 6504469"/>
              <a:gd name="connsiteY3" fmla="*/ 281788 h 692665"/>
              <a:gd name="connsiteX4" fmla="*/ 6284488 w 6504469"/>
              <a:gd name="connsiteY4" fmla="*/ 544494 h 692665"/>
              <a:gd name="connsiteX5" fmla="*/ 4907856 w 6504469"/>
              <a:gd name="connsiteY5" fmla="*/ 402295 h 692665"/>
              <a:gd name="connsiteX6" fmla="*/ 3563526 w 6504469"/>
              <a:gd name="connsiteY6" fmla="*/ 351399 h 692665"/>
              <a:gd name="connsiteX7" fmla="*/ 108056 w 6504469"/>
              <a:gd name="connsiteY7" fmla="*/ 692665 h 692665"/>
              <a:gd name="connsiteX0" fmla="*/ 121736 w 6518149"/>
              <a:gd name="connsiteY0" fmla="*/ 692906 h 692906"/>
              <a:gd name="connsiteX1" fmla="*/ 0 w 6518149"/>
              <a:gd name="connsiteY1" fmla="*/ 325033 h 692906"/>
              <a:gd name="connsiteX2" fmla="*/ 4292754 w 6518149"/>
              <a:gd name="connsiteY2" fmla="*/ 5937 h 692906"/>
              <a:gd name="connsiteX3" fmla="*/ 5811021 w 6518149"/>
              <a:gd name="connsiteY3" fmla="*/ 282029 h 692906"/>
              <a:gd name="connsiteX4" fmla="*/ 6298168 w 6518149"/>
              <a:gd name="connsiteY4" fmla="*/ 544735 h 692906"/>
              <a:gd name="connsiteX5" fmla="*/ 4921536 w 6518149"/>
              <a:gd name="connsiteY5" fmla="*/ 402536 h 692906"/>
              <a:gd name="connsiteX6" fmla="*/ 3577206 w 6518149"/>
              <a:gd name="connsiteY6" fmla="*/ 351640 h 692906"/>
              <a:gd name="connsiteX7" fmla="*/ 121736 w 6518149"/>
              <a:gd name="connsiteY7" fmla="*/ 692906 h 69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18149" h="692906">
                <a:moveTo>
                  <a:pt x="121736" y="692906"/>
                </a:moveTo>
                <a:lnTo>
                  <a:pt x="0" y="325033"/>
                </a:lnTo>
                <a:cubicBezTo>
                  <a:pt x="1060134" y="258528"/>
                  <a:pt x="3233290" y="-46040"/>
                  <a:pt x="4292754" y="5937"/>
                </a:cubicBezTo>
                <a:cubicBezTo>
                  <a:pt x="4598530" y="65732"/>
                  <a:pt x="5505245" y="222234"/>
                  <a:pt x="5811021" y="282029"/>
                </a:cubicBezTo>
                <a:lnTo>
                  <a:pt x="6298168" y="544735"/>
                </a:lnTo>
                <a:cubicBezTo>
                  <a:pt x="7128035" y="678317"/>
                  <a:pt x="5375030" y="434719"/>
                  <a:pt x="4921536" y="402536"/>
                </a:cubicBezTo>
                <a:cubicBezTo>
                  <a:pt x="4468042" y="370354"/>
                  <a:pt x="4407073" y="357733"/>
                  <a:pt x="3577206" y="351640"/>
                </a:cubicBezTo>
                <a:lnTo>
                  <a:pt x="121736" y="6929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ight Triangle 11">
            <a:extLst>
              <a:ext uri="{FF2B5EF4-FFF2-40B4-BE49-F238E27FC236}">
                <a16:creationId xmlns:a16="http://schemas.microsoft.com/office/drawing/2014/main" id="{76DD45B6-EDA7-1F94-13C9-0DE3A470B29B}"/>
              </a:ext>
            </a:extLst>
          </p:cNvPr>
          <p:cNvSpPr/>
          <p:nvPr/>
        </p:nvSpPr>
        <p:spPr>
          <a:xfrm rot="19471958" flipH="1">
            <a:off x="6651662" y="2898143"/>
            <a:ext cx="4680745" cy="692906"/>
          </a:xfrm>
          <a:custGeom>
            <a:avLst/>
            <a:gdLst>
              <a:gd name="connsiteX0" fmla="*/ 0 w 6321603"/>
              <a:gd name="connsiteY0" fmla="*/ 764931 h 764931"/>
              <a:gd name="connsiteX1" fmla="*/ 0 w 6321603"/>
              <a:gd name="connsiteY1" fmla="*/ 0 h 764931"/>
              <a:gd name="connsiteX2" fmla="*/ 6321603 w 6321603"/>
              <a:gd name="connsiteY2" fmla="*/ 764931 h 764931"/>
              <a:gd name="connsiteX3" fmla="*/ 0 w 6321603"/>
              <a:gd name="connsiteY3" fmla="*/ 764931 h 764931"/>
              <a:gd name="connsiteX0" fmla="*/ 0 w 6382204"/>
              <a:gd name="connsiteY0" fmla="*/ 764931 h 910610"/>
              <a:gd name="connsiteX1" fmla="*/ 0 w 6382204"/>
              <a:gd name="connsiteY1" fmla="*/ 0 h 910610"/>
              <a:gd name="connsiteX2" fmla="*/ 6382204 w 6382204"/>
              <a:gd name="connsiteY2" fmla="*/ 910610 h 910610"/>
              <a:gd name="connsiteX3" fmla="*/ 0 w 6382204"/>
              <a:gd name="connsiteY3" fmla="*/ 764931 h 910610"/>
              <a:gd name="connsiteX0" fmla="*/ 0 w 6382204"/>
              <a:gd name="connsiteY0" fmla="*/ 764931 h 910610"/>
              <a:gd name="connsiteX1" fmla="*/ 0 w 6382204"/>
              <a:gd name="connsiteY1" fmla="*/ 0 h 910610"/>
              <a:gd name="connsiteX2" fmla="*/ 6382204 w 6382204"/>
              <a:gd name="connsiteY2" fmla="*/ 910610 h 910610"/>
              <a:gd name="connsiteX3" fmla="*/ 3661242 w 6382204"/>
              <a:gd name="connsiteY3" fmla="*/ 717515 h 910610"/>
              <a:gd name="connsiteX4" fmla="*/ 0 w 6382204"/>
              <a:gd name="connsiteY4" fmla="*/ 764931 h 910610"/>
              <a:gd name="connsiteX0" fmla="*/ 0 w 6602185"/>
              <a:gd name="connsiteY0" fmla="*/ 764931 h 950320"/>
              <a:gd name="connsiteX1" fmla="*/ 0 w 6602185"/>
              <a:gd name="connsiteY1" fmla="*/ 0 h 950320"/>
              <a:gd name="connsiteX2" fmla="*/ 6382204 w 6602185"/>
              <a:gd name="connsiteY2" fmla="*/ 910610 h 950320"/>
              <a:gd name="connsiteX3" fmla="*/ 5005572 w 6602185"/>
              <a:gd name="connsiteY3" fmla="*/ 768411 h 950320"/>
              <a:gd name="connsiteX4" fmla="*/ 3661242 w 6602185"/>
              <a:gd name="connsiteY4" fmla="*/ 717515 h 950320"/>
              <a:gd name="connsiteX5" fmla="*/ 0 w 6602185"/>
              <a:gd name="connsiteY5" fmla="*/ 764931 h 950320"/>
              <a:gd name="connsiteX0" fmla="*/ 205772 w 6602185"/>
              <a:gd name="connsiteY0" fmla="*/ 1058781 h 1058781"/>
              <a:gd name="connsiteX1" fmla="*/ 0 w 6602185"/>
              <a:gd name="connsiteY1" fmla="*/ 0 h 1058781"/>
              <a:gd name="connsiteX2" fmla="*/ 6382204 w 6602185"/>
              <a:gd name="connsiteY2" fmla="*/ 910610 h 1058781"/>
              <a:gd name="connsiteX3" fmla="*/ 5005572 w 6602185"/>
              <a:gd name="connsiteY3" fmla="*/ 768411 h 1058781"/>
              <a:gd name="connsiteX4" fmla="*/ 3661242 w 6602185"/>
              <a:gd name="connsiteY4" fmla="*/ 717515 h 1058781"/>
              <a:gd name="connsiteX5" fmla="*/ 205772 w 6602185"/>
              <a:gd name="connsiteY5" fmla="*/ 1058781 h 1058781"/>
              <a:gd name="connsiteX0" fmla="*/ 205772 w 6602185"/>
              <a:gd name="connsiteY0" fmla="*/ 1058781 h 1058781"/>
              <a:gd name="connsiteX1" fmla="*/ 0 w 6602185"/>
              <a:gd name="connsiteY1" fmla="*/ 0 h 1058781"/>
              <a:gd name="connsiteX2" fmla="*/ 4551973 w 6602185"/>
              <a:gd name="connsiteY2" fmla="*/ 554724 h 1058781"/>
              <a:gd name="connsiteX3" fmla="*/ 6382204 w 6602185"/>
              <a:gd name="connsiteY3" fmla="*/ 910610 h 1058781"/>
              <a:gd name="connsiteX4" fmla="*/ 5005572 w 6602185"/>
              <a:gd name="connsiteY4" fmla="*/ 768411 h 1058781"/>
              <a:gd name="connsiteX5" fmla="*/ 3661242 w 6602185"/>
              <a:gd name="connsiteY5" fmla="*/ 717515 h 1058781"/>
              <a:gd name="connsiteX6" fmla="*/ 205772 w 6602185"/>
              <a:gd name="connsiteY6" fmla="*/ 1058781 h 1058781"/>
              <a:gd name="connsiteX0" fmla="*/ 205772 w 6602185"/>
              <a:gd name="connsiteY0" fmla="*/ 1058781 h 1058781"/>
              <a:gd name="connsiteX1" fmla="*/ 0 w 6602185"/>
              <a:gd name="connsiteY1" fmla="*/ 0 h 1058781"/>
              <a:gd name="connsiteX2" fmla="*/ 4551973 w 6602185"/>
              <a:gd name="connsiteY2" fmla="*/ 554724 h 1058781"/>
              <a:gd name="connsiteX3" fmla="*/ 5895057 w 6602185"/>
              <a:gd name="connsiteY3" fmla="*/ 647904 h 1058781"/>
              <a:gd name="connsiteX4" fmla="*/ 6382204 w 6602185"/>
              <a:gd name="connsiteY4" fmla="*/ 910610 h 1058781"/>
              <a:gd name="connsiteX5" fmla="*/ 5005572 w 6602185"/>
              <a:gd name="connsiteY5" fmla="*/ 768411 h 1058781"/>
              <a:gd name="connsiteX6" fmla="*/ 3661242 w 6602185"/>
              <a:gd name="connsiteY6" fmla="*/ 717515 h 1058781"/>
              <a:gd name="connsiteX7" fmla="*/ 205772 w 6602185"/>
              <a:gd name="connsiteY7" fmla="*/ 1058781 h 1058781"/>
              <a:gd name="connsiteX0" fmla="*/ 205772 w 6602185"/>
              <a:gd name="connsiteY0" fmla="*/ 1058781 h 1058781"/>
              <a:gd name="connsiteX1" fmla="*/ 0 w 6602185"/>
              <a:gd name="connsiteY1" fmla="*/ 0 h 1058781"/>
              <a:gd name="connsiteX2" fmla="*/ 4376790 w 6602185"/>
              <a:gd name="connsiteY2" fmla="*/ 371812 h 1058781"/>
              <a:gd name="connsiteX3" fmla="*/ 5895057 w 6602185"/>
              <a:gd name="connsiteY3" fmla="*/ 647904 h 1058781"/>
              <a:gd name="connsiteX4" fmla="*/ 6382204 w 6602185"/>
              <a:gd name="connsiteY4" fmla="*/ 910610 h 1058781"/>
              <a:gd name="connsiteX5" fmla="*/ 5005572 w 6602185"/>
              <a:gd name="connsiteY5" fmla="*/ 768411 h 1058781"/>
              <a:gd name="connsiteX6" fmla="*/ 3661242 w 6602185"/>
              <a:gd name="connsiteY6" fmla="*/ 717515 h 1058781"/>
              <a:gd name="connsiteX7" fmla="*/ 205772 w 6602185"/>
              <a:gd name="connsiteY7" fmla="*/ 1058781 h 1058781"/>
              <a:gd name="connsiteX0" fmla="*/ 205772 w 6602185"/>
              <a:gd name="connsiteY0" fmla="*/ 1058781 h 1058781"/>
              <a:gd name="connsiteX1" fmla="*/ 0 w 6602185"/>
              <a:gd name="connsiteY1" fmla="*/ 0 h 1058781"/>
              <a:gd name="connsiteX2" fmla="*/ 4376790 w 6602185"/>
              <a:gd name="connsiteY2" fmla="*/ 371812 h 1058781"/>
              <a:gd name="connsiteX3" fmla="*/ 5895057 w 6602185"/>
              <a:gd name="connsiteY3" fmla="*/ 647904 h 1058781"/>
              <a:gd name="connsiteX4" fmla="*/ 6382204 w 6602185"/>
              <a:gd name="connsiteY4" fmla="*/ 910610 h 1058781"/>
              <a:gd name="connsiteX5" fmla="*/ 5005572 w 6602185"/>
              <a:gd name="connsiteY5" fmla="*/ 768411 h 1058781"/>
              <a:gd name="connsiteX6" fmla="*/ 3661242 w 6602185"/>
              <a:gd name="connsiteY6" fmla="*/ 717515 h 1058781"/>
              <a:gd name="connsiteX7" fmla="*/ 205772 w 6602185"/>
              <a:gd name="connsiteY7" fmla="*/ 1058781 h 1058781"/>
              <a:gd name="connsiteX0" fmla="*/ 108056 w 6504469"/>
              <a:gd name="connsiteY0" fmla="*/ 690574 h 690574"/>
              <a:gd name="connsiteX1" fmla="*/ 0 w 6504469"/>
              <a:gd name="connsiteY1" fmla="*/ 337212 h 690574"/>
              <a:gd name="connsiteX2" fmla="*/ 4279074 w 6504469"/>
              <a:gd name="connsiteY2" fmla="*/ 3605 h 690574"/>
              <a:gd name="connsiteX3" fmla="*/ 5797341 w 6504469"/>
              <a:gd name="connsiteY3" fmla="*/ 279697 h 690574"/>
              <a:gd name="connsiteX4" fmla="*/ 6284488 w 6504469"/>
              <a:gd name="connsiteY4" fmla="*/ 542403 h 690574"/>
              <a:gd name="connsiteX5" fmla="*/ 4907856 w 6504469"/>
              <a:gd name="connsiteY5" fmla="*/ 400204 h 690574"/>
              <a:gd name="connsiteX6" fmla="*/ 3563526 w 6504469"/>
              <a:gd name="connsiteY6" fmla="*/ 349308 h 690574"/>
              <a:gd name="connsiteX7" fmla="*/ 108056 w 6504469"/>
              <a:gd name="connsiteY7" fmla="*/ 690574 h 690574"/>
              <a:gd name="connsiteX0" fmla="*/ 108056 w 6504469"/>
              <a:gd name="connsiteY0" fmla="*/ 692665 h 692665"/>
              <a:gd name="connsiteX1" fmla="*/ 0 w 6504469"/>
              <a:gd name="connsiteY1" fmla="*/ 339303 h 692665"/>
              <a:gd name="connsiteX2" fmla="*/ 4279074 w 6504469"/>
              <a:gd name="connsiteY2" fmla="*/ 5696 h 692665"/>
              <a:gd name="connsiteX3" fmla="*/ 5797341 w 6504469"/>
              <a:gd name="connsiteY3" fmla="*/ 281788 h 692665"/>
              <a:gd name="connsiteX4" fmla="*/ 6284488 w 6504469"/>
              <a:gd name="connsiteY4" fmla="*/ 544494 h 692665"/>
              <a:gd name="connsiteX5" fmla="*/ 4907856 w 6504469"/>
              <a:gd name="connsiteY5" fmla="*/ 402295 h 692665"/>
              <a:gd name="connsiteX6" fmla="*/ 3563526 w 6504469"/>
              <a:gd name="connsiteY6" fmla="*/ 351399 h 692665"/>
              <a:gd name="connsiteX7" fmla="*/ 108056 w 6504469"/>
              <a:gd name="connsiteY7" fmla="*/ 692665 h 692665"/>
              <a:gd name="connsiteX0" fmla="*/ 121736 w 6518149"/>
              <a:gd name="connsiteY0" fmla="*/ 692906 h 692906"/>
              <a:gd name="connsiteX1" fmla="*/ 0 w 6518149"/>
              <a:gd name="connsiteY1" fmla="*/ 325033 h 692906"/>
              <a:gd name="connsiteX2" fmla="*/ 4292754 w 6518149"/>
              <a:gd name="connsiteY2" fmla="*/ 5937 h 692906"/>
              <a:gd name="connsiteX3" fmla="*/ 5811021 w 6518149"/>
              <a:gd name="connsiteY3" fmla="*/ 282029 h 692906"/>
              <a:gd name="connsiteX4" fmla="*/ 6298168 w 6518149"/>
              <a:gd name="connsiteY4" fmla="*/ 544735 h 692906"/>
              <a:gd name="connsiteX5" fmla="*/ 4921536 w 6518149"/>
              <a:gd name="connsiteY5" fmla="*/ 402536 h 692906"/>
              <a:gd name="connsiteX6" fmla="*/ 3577206 w 6518149"/>
              <a:gd name="connsiteY6" fmla="*/ 351640 h 692906"/>
              <a:gd name="connsiteX7" fmla="*/ 121736 w 6518149"/>
              <a:gd name="connsiteY7" fmla="*/ 692906 h 69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18149" h="692906">
                <a:moveTo>
                  <a:pt x="121736" y="692906"/>
                </a:moveTo>
                <a:lnTo>
                  <a:pt x="0" y="325033"/>
                </a:lnTo>
                <a:cubicBezTo>
                  <a:pt x="1060134" y="258528"/>
                  <a:pt x="3233290" y="-46040"/>
                  <a:pt x="4292754" y="5937"/>
                </a:cubicBezTo>
                <a:cubicBezTo>
                  <a:pt x="4598530" y="65732"/>
                  <a:pt x="5505245" y="222234"/>
                  <a:pt x="5811021" y="282029"/>
                </a:cubicBezTo>
                <a:lnTo>
                  <a:pt x="6298168" y="544735"/>
                </a:lnTo>
                <a:cubicBezTo>
                  <a:pt x="7128035" y="678317"/>
                  <a:pt x="5375030" y="434719"/>
                  <a:pt x="4921536" y="402536"/>
                </a:cubicBezTo>
                <a:cubicBezTo>
                  <a:pt x="4468042" y="370354"/>
                  <a:pt x="4407073" y="357733"/>
                  <a:pt x="3577206" y="351640"/>
                </a:cubicBezTo>
                <a:lnTo>
                  <a:pt x="121736" y="6929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E367EDD-BFAB-EE9E-6DCF-D65966C38D67}"/>
              </a:ext>
            </a:extLst>
          </p:cNvPr>
          <p:cNvCxnSpPr>
            <a:cxnSpLocks/>
          </p:cNvCxnSpPr>
          <p:nvPr/>
        </p:nvCxnSpPr>
        <p:spPr>
          <a:xfrm flipH="1">
            <a:off x="1037575" y="3159372"/>
            <a:ext cx="3254126" cy="38784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phs (combined)">
            <a:extLst>
              <a:ext uri="{FF2B5EF4-FFF2-40B4-BE49-F238E27FC236}">
                <a16:creationId xmlns:a16="http://schemas.microsoft.com/office/drawing/2014/main" id="{180EA7C7-AE0A-06A4-9D21-3B26B122342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33" r="95951"/>
          <a:stretch/>
        </p:blipFill>
        <p:spPr>
          <a:xfrm>
            <a:off x="11379240" y="1360487"/>
            <a:ext cx="244831" cy="382252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81B9B71-8A88-00A9-3EA4-81E8697A5F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7463" y="1389238"/>
            <a:ext cx="237765" cy="338357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A03F2A8-AA42-B010-8229-EC23AA76F773}"/>
              </a:ext>
            </a:extLst>
          </p:cNvPr>
          <p:cNvCxnSpPr>
            <a:cxnSpLocks/>
          </p:cNvCxnSpPr>
          <p:nvPr/>
        </p:nvCxnSpPr>
        <p:spPr>
          <a:xfrm>
            <a:off x="4285725" y="3171324"/>
            <a:ext cx="7116" cy="1569118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9F467A3-085D-B298-584B-766AB39F3247}"/>
              </a:ext>
            </a:extLst>
          </p:cNvPr>
          <p:cNvCxnSpPr>
            <a:cxnSpLocks/>
          </p:cNvCxnSpPr>
          <p:nvPr/>
        </p:nvCxnSpPr>
        <p:spPr>
          <a:xfrm flipH="1">
            <a:off x="10493417" y="2711991"/>
            <a:ext cx="894294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DCE0F7-E63E-E4D7-2FBA-BBCE98C0748C}"/>
              </a:ext>
            </a:extLst>
          </p:cNvPr>
          <p:cNvCxnSpPr>
            <a:cxnSpLocks/>
          </p:cNvCxnSpPr>
          <p:nvPr/>
        </p:nvCxnSpPr>
        <p:spPr>
          <a:xfrm>
            <a:off x="10500533" y="2711991"/>
            <a:ext cx="0" cy="2016499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7693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xit" presetSubtype="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xit" presetSubtype="2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20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3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30" dur="3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324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1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2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39" dur="2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2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xit" presetSubtype="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2" presetClass="exit" presetSubtype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5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"/>
                            </p:stCondLst>
                            <p:childTnLst>
                              <p:par>
                                <p:cTn id="5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8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500"/>
                            </p:stCondLst>
                            <p:childTnLst>
                              <p:par>
                                <p:cTn id="6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250"/>
                            </p:stCondLst>
                            <p:childTnLst>
                              <p:par>
                                <p:cTn id="6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8" grpId="0" animBg="1"/>
      <p:bldP spid="8" grpId="1" animBg="1"/>
      <p:bldP spid="3" grpId="0" animBg="1"/>
      <p:bldP spid="3" grpId="1" animBg="1"/>
      <p:bldP spid="4" grpId="0" animBg="1"/>
      <p:bldP spid="4" grpId="1" animBg="1"/>
      <p:bldP spid="5" grpId="0"/>
      <p:bldP spid="5" grpId="1"/>
      <p:bldP spid="6" grpId="0" animBg="1"/>
      <p:bldP spid="7" grpId="0" animBg="1"/>
      <p:bldP spid="12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60615F-CF65-6E6B-3481-55813613B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Classic” Device-Based Therap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CDE0D8-EFE0-EAEE-8EF3-8B4196FC45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63C13F-A3EC-4D41-8C52-AB98F4053561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991789F4-B03D-FAB8-10FA-486648617C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6579806"/>
              </p:ext>
            </p:extLst>
          </p:nvPr>
        </p:nvGraphicFramePr>
        <p:xfrm>
          <a:off x="468193" y="1319581"/>
          <a:ext cx="10972800" cy="485462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1682421342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333223593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1704715493"/>
                    </a:ext>
                  </a:extLst>
                </a:gridCol>
                <a:gridCol w="2865120">
                  <a:extLst>
                    <a:ext uri="{9D8B030D-6E8A-4147-A177-3AD203B41FA5}">
                      <a16:colId xmlns:a16="http://schemas.microsoft.com/office/drawing/2014/main" val="3199583398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5700524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/>
                        <a:t>Device/Intervention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/>
                        <a:t>Relative Risk Reduction in Mortality vs. Medical Therapy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Key Trial(s) / HR (95% CI) or Rate Ratio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Patient Population/Notes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/>
                        <a:t>References</a:t>
                      </a:r>
                    </a:p>
                  </a:txBody>
                  <a:tcPr marL="47796" marR="47796" marT="23898" marB="23898" anchor="ctr"/>
                </a:tc>
                <a:extLst>
                  <a:ext uri="{0D108BD9-81ED-4DB2-BD59-A6C34878D82A}">
                    <a16:rowId xmlns:a16="http://schemas.microsoft.com/office/drawing/2014/main" val="10920157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Implantable Cardioverter-Defibrillator (ICD)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23–31%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nl-NL" sz="1800"/>
                        <a:t>SCD-HeFT: HR 0.77 (0.62–0.96); MADIT-II: HR 0.69 (0.51–0.93)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HFrEF, NYHA II–III, LVEF ≤35%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[1-4]</a:t>
                      </a:r>
                    </a:p>
                  </a:txBody>
                  <a:tcPr marL="47796" marR="47796" marT="23898" marB="23898" anchor="ctr"/>
                </a:tc>
                <a:extLst>
                  <a:ext uri="{0D108BD9-81ED-4DB2-BD59-A6C34878D82A}">
                    <a16:rowId xmlns:a16="http://schemas.microsoft.com/office/drawing/2014/main" val="19730726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Cardiac Resynchronization Therapy with Pacemaker (CRT-P)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/>
                        <a:t>19–32%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COMPANION: HR 0.81 (P=0.02); CARE-HF: HR 0.63 (0.51–0.77); Meta-analysis: HR 0.68 (0.56–0.81)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HFrEF, NYHA III–IV, LVEF ≤35%, QRS ≥120–130 ms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[1-3, 5]</a:t>
                      </a:r>
                    </a:p>
                  </a:txBody>
                  <a:tcPr marL="47796" marR="47796" marT="23898" marB="23898" anchor="ctr"/>
                </a:tc>
                <a:extLst>
                  <a:ext uri="{0D108BD9-81ED-4DB2-BD59-A6C34878D82A}">
                    <a16:rowId xmlns:a16="http://schemas.microsoft.com/office/drawing/2014/main" val="29535997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Cardiac Resynchronization Therapy with Defibrillator (CRT-D)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/>
                        <a:t>34–42%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Meta-analysis: 42% (32–50%) RRR; RAFT: HR 0.75 (0.64–0.87); MADIT-CRT: HR 0.66 (0.52–0.84)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HFrEF, NYHA II–IV, LVEF ≤30–35%, QRS ≥120–130 ms</a:t>
                      </a:r>
                    </a:p>
                  </a:txBody>
                  <a:tcPr marL="47796" marR="47796" marT="23898" marB="238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/>
                        <a:t>[1-3, 6]</a:t>
                      </a:r>
                    </a:p>
                  </a:txBody>
                  <a:tcPr marL="47796" marR="47796" marT="23898" marB="23898" anchor="ctr"/>
                </a:tc>
                <a:extLst>
                  <a:ext uri="{0D108BD9-81ED-4DB2-BD59-A6C34878D82A}">
                    <a16:rowId xmlns:a16="http://schemas.microsoft.com/office/drawing/2014/main" val="2872860533"/>
                  </a:ext>
                </a:extLst>
              </a:tr>
            </a:tbl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303F25F7-DA15-F8C3-F483-9386C524F1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193" y="6254752"/>
            <a:ext cx="10972800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en-US" altLang="en-US" sz="600" dirty="0">
                <a:latin typeface="var(--oe-sans)"/>
              </a:rPr>
              <a:t>1.Individual Patient Data Network Meta-Analysis of Mortality Effects of Implantable Cardiac Devices. Woods B, Hawkins N, Mealing S, et al. Heart (British Cardiac Society). 2015;101(22):1800-6. doi:10.1136/heartjnl-2015-307634.</a:t>
            </a:r>
          </a:p>
          <a:p>
            <a:pPr lvl="0"/>
            <a:r>
              <a:rPr lang="en-US" altLang="en-US" sz="600" dirty="0">
                <a:latin typeface="var(--oe-sans)"/>
              </a:rPr>
              <a:t>2.Cardiac Implantable Electronic Devices. Al-Khatib </a:t>
            </a:r>
            <a:r>
              <a:rPr lang="en-US" altLang="en-US" sz="600" dirty="0" err="1">
                <a:latin typeface="var(--oe-sans)"/>
              </a:rPr>
              <a:t>SM.The</a:t>
            </a:r>
            <a:r>
              <a:rPr lang="en-US" altLang="en-US" sz="600" dirty="0">
                <a:latin typeface="var(--oe-sans)"/>
              </a:rPr>
              <a:t> New England Journal of Medicine. 2024;390(5):442-454. doi:10.1056/NEJMra2308353.</a:t>
            </a:r>
          </a:p>
          <a:p>
            <a:pPr lvl="0"/>
            <a:r>
              <a:rPr lang="en-US" altLang="en-US" sz="600" dirty="0">
                <a:latin typeface="var(--oe-sans)"/>
              </a:rPr>
              <a:t>3.Heart Failure With Reduced Ejection Fraction: A </a:t>
            </a:r>
            <a:r>
              <a:rPr lang="en-US" altLang="en-US" sz="600" dirty="0" err="1">
                <a:latin typeface="var(--oe-sans)"/>
              </a:rPr>
              <a:t>Review.Murphy</a:t>
            </a:r>
            <a:r>
              <a:rPr lang="en-US" altLang="en-US" sz="600" dirty="0">
                <a:latin typeface="var(--oe-sans)"/>
              </a:rPr>
              <a:t> SP, Ibrahim NE, Januzzi JL.   JAMA. 2020;324(5):488-504. doi:10.1001/jama.2020.10262.</a:t>
            </a:r>
          </a:p>
          <a:p>
            <a:pPr lvl="0"/>
            <a:r>
              <a:rPr lang="en-US" altLang="en-US" sz="600" dirty="0">
                <a:latin typeface="var(--oe-sans)"/>
              </a:rPr>
              <a:t>4.Association Between Use of Primary-Prevention Implantable Cardioverter-Defibrillators and Mortality in Patients With Heart Failure: A Prospective Propensity Score-Matched Analysis From the Swedish Heart Failure </a:t>
            </a:r>
            <a:r>
              <a:rPr lang="en-US" altLang="en-US" sz="600" dirty="0" err="1">
                <a:latin typeface="var(--oe-sans)"/>
              </a:rPr>
              <a:t>Registry.Schrage</a:t>
            </a:r>
            <a:r>
              <a:rPr lang="en-US" altLang="en-US" sz="600" dirty="0">
                <a:latin typeface="var(--oe-sans)"/>
              </a:rPr>
              <a:t> B, </a:t>
            </a:r>
            <a:r>
              <a:rPr lang="en-US" altLang="en-US" sz="600" dirty="0" err="1">
                <a:latin typeface="var(--oe-sans)"/>
              </a:rPr>
              <a:t>Uijl</a:t>
            </a:r>
            <a:r>
              <a:rPr lang="en-US" altLang="en-US" sz="600" dirty="0">
                <a:latin typeface="var(--oe-sans)"/>
              </a:rPr>
              <a:t> A, Benson L, et </a:t>
            </a:r>
            <a:r>
              <a:rPr lang="en-US" altLang="en-US" sz="600" dirty="0" err="1">
                <a:latin typeface="var(--oe-sans)"/>
              </a:rPr>
              <a:t>al.Circulation</a:t>
            </a:r>
            <a:r>
              <a:rPr lang="en-US" altLang="en-US" sz="600" dirty="0">
                <a:latin typeface="var(--oe-sans)"/>
              </a:rPr>
              <a:t>. 2019;140(19):1530-1539. doi:10.1161/CIRCULATIONAHA.119.043012.</a:t>
            </a:r>
          </a:p>
          <a:p>
            <a:pPr lvl="0"/>
            <a:r>
              <a:rPr lang="en-US" altLang="en-US" sz="600" dirty="0">
                <a:latin typeface="var(--oe-sans)"/>
              </a:rPr>
              <a:t>5.The Effect of Cardiac Resynchronization Without a Defibrillator on Morbidity and Mortality: An Individual Patient Data Meta-Analysis of COMPANION and CARE-HF.</a:t>
            </a:r>
          </a:p>
          <a:p>
            <a:pPr lvl="0"/>
            <a:r>
              <a:rPr lang="en-US" altLang="en-US" sz="600" dirty="0">
                <a:latin typeface="var(--oe-sans)"/>
              </a:rPr>
              <a:t>Cleland JGF, Bristow MR, Freemantle N, et </a:t>
            </a:r>
            <a:r>
              <a:rPr lang="en-US" altLang="en-US" sz="600" dirty="0" err="1">
                <a:latin typeface="var(--oe-sans)"/>
              </a:rPr>
              <a:t>al.European</a:t>
            </a:r>
            <a:r>
              <a:rPr lang="en-US" altLang="en-US" sz="600" dirty="0">
                <a:latin typeface="var(--oe-sans)"/>
              </a:rPr>
              <a:t> Journal of Heart Failure. 2022;24(6):1080-1090. doi:10.1002/ejhf.2524.6.Long-Term Outcomes of Resynchronization–Defibrillation for Heart </a:t>
            </a:r>
            <a:r>
              <a:rPr lang="en-US" altLang="en-US" sz="600" dirty="0" err="1">
                <a:latin typeface="var(--oe-sans)"/>
              </a:rPr>
              <a:t>Failure.Sapp</a:t>
            </a:r>
            <a:r>
              <a:rPr lang="en-US" altLang="en-US" sz="600" dirty="0">
                <a:latin typeface="var(--oe-sans)"/>
              </a:rPr>
              <a:t> JL, Sivakumaran S, Redpath CJ, et </a:t>
            </a:r>
            <a:r>
              <a:rPr lang="en-US" altLang="en-US" sz="600" dirty="0" err="1">
                <a:latin typeface="var(--oe-sans)"/>
              </a:rPr>
              <a:t>al.The</a:t>
            </a:r>
            <a:r>
              <a:rPr lang="en-US" altLang="en-US" sz="600" dirty="0">
                <a:latin typeface="var(--oe-sans)"/>
              </a:rPr>
              <a:t> New England Journal of Medicine. 2024;390(3):212-220. doi:10.1056/NEJMoa2304542.</a:t>
            </a:r>
          </a:p>
        </p:txBody>
      </p:sp>
      <p:pic>
        <p:nvPicPr>
          <p:cNvPr id="2054" name="Picture 6" descr="JAMA logo">
            <a:extLst>
              <a:ext uri="{FF2B5EF4-FFF2-40B4-BE49-F238E27FC236}">
                <a16:creationId xmlns:a16="http://schemas.microsoft.com/office/drawing/2014/main" id="{99084E60-4203-67B7-908F-78DECEE550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" y="-922338"/>
            <a:ext cx="266700" cy="26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7217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8-1441_MAHI_Heart_Conference_PPTTemplate_press_2" id="{24FCF7A1-FC83-BE4C-9F2D-678A4F14B9DB}" vid="{F9E439B4-3DF4-6148-AE63-43CBB86E6794}"/>
    </a:ext>
  </a:extLst>
</a:theme>
</file>

<file path=ppt/theme/theme2.xml><?xml version="1.0" encoding="utf-8"?>
<a:theme xmlns:a="http://schemas.openxmlformats.org/drawingml/2006/main" name="Saint Luke's Whit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016 OSUWMC Template">
  <a:themeElements>
    <a:clrScheme name="OSUWMC Sept 2013">
      <a:dk1>
        <a:srgbClr val="000000"/>
      </a:dk1>
      <a:lt1>
        <a:srgbClr val="FFFFFF"/>
      </a:lt1>
      <a:dk2>
        <a:srgbClr val="666666"/>
      </a:dk2>
      <a:lt2>
        <a:srgbClr val="F2F2F2"/>
      </a:lt2>
      <a:accent1>
        <a:srgbClr val="BB0000"/>
      </a:accent1>
      <a:accent2>
        <a:srgbClr val="D25F15"/>
      </a:accent2>
      <a:accent3>
        <a:srgbClr val="7DA1C4"/>
      </a:accent3>
      <a:accent4>
        <a:srgbClr val="880063"/>
      </a:accent4>
      <a:accent5>
        <a:srgbClr val="999500"/>
      </a:accent5>
      <a:accent6>
        <a:srgbClr val="65513C"/>
      </a:accent6>
      <a:hlink>
        <a:srgbClr val="4B79A5"/>
      </a:hlink>
      <a:folHlink>
        <a:srgbClr val="A3A3A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5_CONTENT SLIDE">
  <a:themeElements>
    <a:clrScheme name="Custom 8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9ACA3C"/>
      </a:accent1>
      <a:accent2>
        <a:srgbClr val="005496"/>
      </a:accent2>
      <a:accent3>
        <a:srgbClr val="A5A5A5"/>
      </a:accent3>
      <a:accent4>
        <a:srgbClr val="00A1E3"/>
      </a:accent4>
      <a:accent5>
        <a:srgbClr val="E1F0FB"/>
      </a:accent5>
      <a:accent6>
        <a:srgbClr val="FAA61A"/>
      </a:accent6>
      <a:hlink>
        <a:srgbClr val="00A1E3"/>
      </a:hlink>
      <a:folHlink>
        <a:srgbClr val="00549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CONTENT SLIDE">
  <a:themeElements>
    <a:clrScheme name="Custom 8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9ACA3C"/>
      </a:accent1>
      <a:accent2>
        <a:srgbClr val="005496"/>
      </a:accent2>
      <a:accent3>
        <a:srgbClr val="A5A5A5"/>
      </a:accent3>
      <a:accent4>
        <a:srgbClr val="00A1E3"/>
      </a:accent4>
      <a:accent5>
        <a:srgbClr val="E1F0FB"/>
      </a:accent5>
      <a:accent6>
        <a:srgbClr val="FAA61A"/>
      </a:accent6>
      <a:hlink>
        <a:srgbClr val="00A1E3"/>
      </a:hlink>
      <a:folHlink>
        <a:srgbClr val="00549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-01-11 New ID PPT Template - Final  -  Read-Only" id="{4AADE24D-A185-43C2-94C0-3245FB7A36ED}" vid="{F5F28DA9-A352-46D9-BAD9-0485E6D8DDE8}"/>
    </a:ext>
  </a:extLst>
</a:theme>
</file>

<file path=ppt/theme/theme7.xml><?xml version="1.0" encoding="utf-8"?>
<a:theme xmlns:a="http://schemas.openxmlformats.org/drawingml/2006/main" name="Saint Lukes Mid America Heart Institute PPT_dark blu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8-1441_MAHI_Heart_Conference_PPTTemplate_press_2</Template>
  <TotalTime>9477</TotalTime>
  <Words>2397</Words>
  <Application>Microsoft Macintosh PowerPoint</Application>
  <PresentationFormat>Widescreen</PresentationFormat>
  <Paragraphs>383</Paragraphs>
  <Slides>2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4" baseType="lpstr">
      <vt:lpstr>Abadi Extra Light</vt:lpstr>
      <vt:lpstr>Aharoni</vt:lpstr>
      <vt:lpstr>Aptos Narrow</vt:lpstr>
      <vt:lpstr>Arial</vt:lpstr>
      <vt:lpstr>Calibri</vt:lpstr>
      <vt:lpstr>GillSansStd</vt:lpstr>
      <vt:lpstr>Montserrat</vt:lpstr>
      <vt:lpstr>Open Sans</vt:lpstr>
      <vt:lpstr>Symbol</vt:lpstr>
      <vt:lpstr>Times New Roman</vt:lpstr>
      <vt:lpstr>var(--oe-sans)</vt:lpstr>
      <vt:lpstr>Wingdings</vt:lpstr>
      <vt:lpstr>Office Theme</vt:lpstr>
      <vt:lpstr>Saint Luke's White Theme</vt:lpstr>
      <vt:lpstr>2016 OSUWMC Template</vt:lpstr>
      <vt:lpstr>5_CONTENT SLIDE</vt:lpstr>
      <vt:lpstr>3_Office Theme</vt:lpstr>
      <vt:lpstr>4_CONTENT SLIDE</vt:lpstr>
      <vt:lpstr>Saint Lukes Mid America Heart Institute PPT_dark blue</vt:lpstr>
      <vt:lpstr>think-cell Slide</vt:lpstr>
      <vt:lpstr>PowerPoint Presentation</vt:lpstr>
      <vt:lpstr>PowerPoint Presentation</vt:lpstr>
      <vt:lpstr>Disclosures</vt:lpstr>
      <vt:lpstr>Outline</vt:lpstr>
      <vt:lpstr>Current GDMT</vt:lpstr>
      <vt:lpstr>GDMT as an Ideal</vt:lpstr>
      <vt:lpstr>GDMT as an Ideal</vt:lpstr>
      <vt:lpstr>Residual Risks Persist Despite GDMT </vt:lpstr>
      <vt:lpstr>“Classic” Device-Based Therapies</vt:lpstr>
      <vt:lpstr>A Void in Device-based Care</vt:lpstr>
      <vt:lpstr>Cardiac Contractility Modulation</vt:lpstr>
      <vt:lpstr>PowerPoint Presentation</vt:lpstr>
      <vt:lpstr>PowerPoint Presentation</vt:lpstr>
      <vt:lpstr>CCM Effects</vt:lpstr>
      <vt:lpstr>Device-based Symptom Improvement</vt:lpstr>
      <vt:lpstr>Device-based LV Improvement</vt:lpstr>
      <vt:lpstr>Device-based Morbidity/Mortality Reduction</vt:lpstr>
      <vt:lpstr>Concerns?</vt:lpstr>
      <vt:lpstr>Where CCM Fits:</vt:lpstr>
      <vt:lpstr>Triggers for Device therapy in HF</vt:lpstr>
      <vt:lpstr>Our CCM Cohort (non-study)</vt:lpstr>
      <vt:lpstr>For the Future -- Better for Higher EF? </vt:lpstr>
      <vt:lpstr>Conclusions</vt:lpstr>
      <vt:lpstr>Thank you!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Daniel Steinhaus</cp:lastModifiedBy>
  <cp:revision>25</cp:revision>
  <dcterms:created xsi:type="dcterms:W3CDTF">2022-10-17T16:02:46Z</dcterms:created>
  <dcterms:modified xsi:type="dcterms:W3CDTF">2025-11-19T22:05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08-23T00:00:00Z</vt:filetime>
  </property>
  <property fmtid="{D5CDD505-2E9C-101B-9397-08002B2CF9AE}" pid="3" name="Creator">
    <vt:lpwstr>Adobe InDesign CC 2017 (Macintosh)</vt:lpwstr>
  </property>
  <property fmtid="{D5CDD505-2E9C-101B-9397-08002B2CF9AE}" pid="4" name="LastSaved">
    <vt:filetime>2018-08-23T00:00:00Z</vt:filetime>
  </property>
</Properties>
</file>